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15" r:id="rId2"/>
    <p:sldMasterId id="2147483717" r:id="rId3"/>
    <p:sldMasterId id="2147483684" r:id="rId4"/>
    <p:sldMasterId id="2147483728" r:id="rId5"/>
  </p:sldMasterIdLst>
  <p:notesMasterIdLst>
    <p:notesMasterId r:id="rId22"/>
  </p:notesMasterIdLst>
  <p:handoutMasterIdLst>
    <p:handoutMasterId r:id="rId23"/>
  </p:handoutMasterIdLst>
  <p:sldIdLst>
    <p:sldId id="279" r:id="rId6"/>
    <p:sldId id="2147471369" r:id="rId7"/>
    <p:sldId id="2078557886" r:id="rId8"/>
    <p:sldId id="2146848699" r:id="rId9"/>
    <p:sldId id="2147468738" r:id="rId10"/>
    <p:sldId id="2147471372" r:id="rId11"/>
    <p:sldId id="289" r:id="rId12"/>
    <p:sldId id="1110" r:id="rId13"/>
    <p:sldId id="2147471373" r:id="rId14"/>
    <p:sldId id="290" r:id="rId15"/>
    <p:sldId id="287" r:id="rId16"/>
    <p:sldId id="291" r:id="rId17"/>
    <p:sldId id="288" r:id="rId18"/>
    <p:sldId id="292" r:id="rId19"/>
    <p:sldId id="293" r:id="rId20"/>
    <p:sldId id="278" r:id="rId21"/>
  </p:sldIdLst>
  <p:sldSz cx="9144000" cy="5143500" type="screen16x9"/>
  <p:notesSz cx="9925050" cy="6665913"/>
  <p:custDataLst>
    <p:tags r:id="rId24"/>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Standardabschnitt" id="{140BD516-360E-4C79-A199-13F4DCA65760}">
          <p14:sldIdLst>
            <p14:sldId id="279"/>
            <p14:sldId id="2147471369"/>
            <p14:sldId id="2078557886"/>
            <p14:sldId id="2146848699"/>
            <p14:sldId id="2147468738"/>
          </p14:sldIdLst>
        </p14:section>
        <p14:section name="1 Problem/Biological System" id="{A1B793C3-1A59-496C-96A6-C046D360EAB3}">
          <p14:sldIdLst>
            <p14:sldId id="2147471372"/>
            <p14:sldId id="289"/>
            <p14:sldId id="1110"/>
          </p14:sldIdLst>
        </p14:section>
        <p14:section name="2 Abstraction" id="{DB28E4A8-E811-4CE3-8C22-CADAB2B79298}">
          <p14:sldIdLst>
            <p14:sldId id="2147471373"/>
            <p14:sldId id="290"/>
          </p14:sldIdLst>
        </p14:section>
        <p14:section name="3 Solution" id="{1ABE3124-5DCC-4621-82A9-8A5269AD8B1B}">
          <p14:sldIdLst>
            <p14:sldId id="287"/>
            <p14:sldId id="291"/>
          </p14:sldIdLst>
        </p14:section>
        <p14:section name="4 Prototyping" id="{593DBD81-D60A-4415-97C8-0B36F254B04C}">
          <p14:sldIdLst>
            <p14:sldId id="288"/>
            <p14:sldId id="292"/>
            <p14:sldId id="293"/>
          </p14:sldIdLst>
        </p14:section>
        <p14:section name="References" id="{EF5DB0B7-83D1-45E0-96C4-27491F5941F5}">
          <p14:sldIdLst>
            <p14:sldId id="278"/>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5BD"/>
    <a:srgbClr val="005293"/>
    <a:srgbClr val="999999"/>
    <a:srgbClr val="98C6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8431EF-4C9B-4D06-BE25-C290B76D5338}" v="6" dt="2023-04-21T11:08:17.474"/>
  </p1510:revLst>
</p1510:revInfo>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422" autoAdjust="0"/>
    <p:restoredTop sz="88283" autoAdjust="0"/>
  </p:normalViewPr>
  <p:slideViewPr>
    <p:cSldViewPr snapToGrid="0">
      <p:cViewPr varScale="1">
        <p:scale>
          <a:sx n="151" d="100"/>
          <a:sy n="151" d="100"/>
        </p:scale>
        <p:origin x="416" y="184"/>
      </p:cViewPr>
      <p:guideLst>
        <p:guide orient="horz" pos="2160"/>
        <p:guide pos="2880"/>
        <p:guide orient="horz" pos="16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31" d="100"/>
          <a:sy n="131" d="100"/>
        </p:scale>
        <p:origin x="-810" y="-96"/>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röder" userId="e9c194ac-a492-4021-99b0-1dadfd8e862e" providerId="ADAL" clId="{F68431EF-4C9B-4D06-BE25-C290B76D5338}"/>
    <pc:docChg chg="undo custSel addSld delSld modSld modSection">
      <pc:chgData name="Schröder" userId="e9c194ac-a492-4021-99b0-1dadfd8e862e" providerId="ADAL" clId="{F68431EF-4C9B-4D06-BE25-C290B76D5338}" dt="2023-04-26T07:04:13.635" v="156" actId="207"/>
      <pc:docMkLst>
        <pc:docMk/>
      </pc:docMkLst>
      <pc:sldChg chg="modSp mod">
        <pc:chgData name="Schröder" userId="e9c194ac-a492-4021-99b0-1dadfd8e862e" providerId="ADAL" clId="{F68431EF-4C9B-4D06-BE25-C290B76D5338}" dt="2023-04-26T07:04:13.635" v="156" actId="207"/>
        <pc:sldMkLst>
          <pc:docMk/>
          <pc:sldMk cId="981691933" sldId="289"/>
        </pc:sldMkLst>
        <pc:spChg chg="mod">
          <ac:chgData name="Schröder" userId="e9c194ac-a492-4021-99b0-1dadfd8e862e" providerId="ADAL" clId="{F68431EF-4C9B-4D06-BE25-C290B76D5338}" dt="2023-04-26T07:04:13.635" v="156" actId="207"/>
          <ac:spMkLst>
            <pc:docMk/>
            <pc:sldMk cId="981691933" sldId="289"/>
            <ac:spMk id="2" creationId="{EC653092-8C84-4D95-8555-AA87ABC0E031}"/>
          </ac:spMkLst>
        </pc:spChg>
      </pc:sldChg>
      <pc:sldChg chg="delSp new del mod">
        <pc:chgData name="Schröder" userId="e9c194ac-a492-4021-99b0-1dadfd8e862e" providerId="ADAL" clId="{F68431EF-4C9B-4D06-BE25-C290B76D5338}" dt="2023-04-21T11:08:12.549" v="151" actId="47"/>
        <pc:sldMkLst>
          <pc:docMk/>
          <pc:sldMk cId="2115342539" sldId="294"/>
        </pc:sldMkLst>
        <pc:spChg chg="del">
          <ac:chgData name="Schröder" userId="e9c194ac-a492-4021-99b0-1dadfd8e862e" providerId="ADAL" clId="{F68431EF-4C9B-4D06-BE25-C290B76D5338}" dt="2023-04-21T11:07:51.041" v="150" actId="478"/>
          <ac:spMkLst>
            <pc:docMk/>
            <pc:sldMk cId="2115342539" sldId="294"/>
            <ac:spMk id="2" creationId="{5CA4AC43-9245-EDF7-B880-52DB5CEE7A38}"/>
          </ac:spMkLst>
        </pc:spChg>
      </pc:sldChg>
      <pc:sldChg chg="modSp add del mod">
        <pc:chgData name="Schröder" userId="e9c194ac-a492-4021-99b0-1dadfd8e862e" providerId="ADAL" clId="{F68431EF-4C9B-4D06-BE25-C290B76D5338}" dt="2023-04-21T11:08:29.220" v="153"/>
        <pc:sldMkLst>
          <pc:docMk/>
          <pc:sldMk cId="4064814787" sldId="1110"/>
        </pc:sldMkLst>
        <pc:spChg chg="mod">
          <ac:chgData name="Schröder" userId="e9c194ac-a492-4021-99b0-1dadfd8e862e" providerId="ADAL" clId="{F68431EF-4C9B-4D06-BE25-C290B76D5338}" dt="2023-04-21T11:08:29.220" v="153"/>
          <ac:spMkLst>
            <pc:docMk/>
            <pc:sldMk cId="4064814787" sldId="1110"/>
            <ac:spMk id="5" creationId="{FD18836D-034F-41DD-9D03-F00FE97111E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09/05/2023</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09/05/2023</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99648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xplaining who we are: our capabilities, our assets and accelerators, our partnership with tech, our org chart</a:t>
            </a:r>
            <a:endParaRPr lang="de-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901503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xplaining who we are: our capabilities, our assets and accelerators, our partnership with tech, our org chart</a:t>
            </a:r>
            <a:endParaRPr lang="de-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6133961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a:t>
            </a:fld>
            <a:endParaRPr lang="de-DE" dirty="0"/>
          </a:p>
        </p:txBody>
      </p:sp>
      <p:sp>
        <p:nvSpPr>
          <p:cNvPr id="10" name="Fußzeilenplatzhalter 9"/>
          <p:cNvSpPr>
            <a:spLocks noGrp="1"/>
          </p:cNvSpPr>
          <p:nvPr>
            <p:ph type="ftr" sz="quarter" idx="13"/>
          </p:nvPr>
        </p:nvSpPr>
        <p:spPr/>
        <p:txBody>
          <a:bodyPr/>
          <a:lstStyle/>
          <a:p>
            <a:r>
              <a:rPr lang="de-DE"/>
              <a:t>LPL I Bio-inspired Design Seminar | Team xx </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chluss_deutsch">
    <p:spTree>
      <p:nvGrpSpPr>
        <p:cNvPr id="1" name=""/>
        <p:cNvGrpSpPr/>
        <p:nvPr/>
      </p:nvGrpSpPr>
      <p:grpSpPr>
        <a:xfrm>
          <a:off x="0" y="0"/>
          <a:ext cx="0" cy="0"/>
          <a:chOff x="0" y="0"/>
          <a:chExt cx="0" cy="0"/>
        </a:xfrm>
      </p:grpSpPr>
      <p:pic>
        <p:nvPicPr>
          <p:cNvPr id="5" name="Bild 4" descr="Fahnen_HG.jpg"/>
          <p:cNvPicPr>
            <a:picLocks noChangeAspect="1"/>
          </p:cNvPicPr>
          <p:nvPr userDrawn="1"/>
        </p:nvPicPr>
        <p:blipFill>
          <a:blip r:embed="rId2" cstate="screen"/>
          <a:srcRect l="398" t="14167" b="10833"/>
          <a:stretch>
            <a:fillRect/>
          </a:stretch>
        </p:blipFill>
        <p:spPr>
          <a:xfrm>
            <a:off x="0" y="0"/>
            <a:ext cx="9144000" cy="5143500"/>
          </a:xfrm>
          <a:prstGeom prst="rect">
            <a:avLst/>
          </a:prstGeom>
        </p:spPr>
      </p:pic>
      <p:pic>
        <p:nvPicPr>
          <p:cNvPr id="12" name="Bild 6" descr="20150416 tum logo blau png final.png"/>
          <p:cNvPicPr>
            <a:picLocks noChangeAspect="1"/>
          </p:cNvPicPr>
          <p:nvPr userDrawn="1"/>
        </p:nvPicPr>
        <p:blipFill>
          <a:blip r:embed="rId3"/>
          <a:stretch>
            <a:fillRect/>
          </a:stretch>
        </p:blipFill>
        <p:spPr>
          <a:xfrm>
            <a:off x="8218800" y="324000"/>
            <a:ext cx="599513" cy="320288"/>
          </a:xfrm>
          <a:prstGeom prst="rect">
            <a:avLst/>
          </a:prstGeom>
        </p:spPr>
      </p:pic>
      <p:sp>
        <p:nvSpPr>
          <p:cNvPr id="13" name="Textfeld 12"/>
          <p:cNvSpPr txBox="1"/>
          <p:nvPr userDrawn="1"/>
        </p:nvSpPr>
        <p:spPr>
          <a:xfrm>
            <a:off x="324000" y="792000"/>
            <a:ext cx="5760000" cy="432000"/>
          </a:xfrm>
          <a:prstGeom prst="rect">
            <a:avLst/>
          </a:prstGeom>
          <a:noFill/>
        </p:spPr>
        <p:txBody>
          <a:bodyPr wrap="none" lIns="0" tIns="0" rIns="0" bIns="0" rtlCol="0">
            <a:noAutofit/>
          </a:bodyPr>
          <a:lstStyle/>
          <a:p>
            <a:pPr>
              <a:lnSpc>
                <a:spcPct val="114000"/>
              </a:lnSpc>
            </a:pPr>
            <a:r>
              <a:rPr lang="de-DE" sz="2400" dirty="0">
                <a:solidFill>
                  <a:schemeClr val="bg1"/>
                </a:solidFill>
                <a:latin typeface="+mn-lt"/>
              </a:rPr>
              <a:t>Danke für</a:t>
            </a:r>
            <a:r>
              <a:rPr lang="de-DE" sz="2400" baseline="0" dirty="0">
                <a:solidFill>
                  <a:schemeClr val="bg1"/>
                </a:solidFill>
                <a:latin typeface="+mn-lt"/>
              </a:rPr>
              <a:t> Ihre Aufmerksamkeit!</a:t>
            </a:r>
            <a:endParaRPr lang="de-DE" sz="2400" dirty="0">
              <a:solidFill>
                <a:schemeClr val="bg1"/>
              </a:solidFill>
              <a:latin typeface="+mn-lt"/>
            </a:endParaRPr>
          </a:p>
        </p:txBody>
      </p:sp>
      <p:sp>
        <p:nvSpPr>
          <p:cNvPr id="8" name="Textfeld 7"/>
          <p:cNvSpPr txBox="1"/>
          <p:nvPr userDrawn="1"/>
        </p:nvSpPr>
        <p:spPr>
          <a:xfrm>
            <a:off x="360000" y="3708000"/>
            <a:ext cx="1918795" cy="894732"/>
          </a:xfrm>
          <a:prstGeom prst="rect">
            <a:avLst/>
          </a:prstGeom>
          <a:noFill/>
        </p:spPr>
        <p:txBody>
          <a:bodyPr wrap="none" lIns="0" tIns="0" rIns="0" bIns="0" rtlCol="0">
            <a:spAutoFit/>
          </a:bodyPr>
          <a:lstStyle/>
          <a:p>
            <a:pPr>
              <a:lnSpc>
                <a:spcPct val="114000"/>
              </a:lnSpc>
            </a:pPr>
            <a:endParaRPr lang="de-DE" sz="4000" dirty="0">
              <a:solidFill>
                <a:schemeClr val="bg1"/>
              </a:solidFill>
              <a:latin typeface="+mn-lt"/>
            </a:endParaRPr>
          </a:p>
          <a:p>
            <a:pPr>
              <a:lnSpc>
                <a:spcPct val="114000"/>
              </a:lnSpc>
            </a:pPr>
            <a:r>
              <a:rPr lang="de-DE" sz="1200" dirty="0">
                <a:solidFill>
                  <a:schemeClr val="bg1"/>
                </a:solidFill>
                <a:latin typeface="+mn-lt"/>
              </a:rPr>
              <a:t>Planen – Gestalten – Bauen</a:t>
            </a:r>
            <a:endParaRPr lang="de-DE" sz="1200" i="1" dirty="0">
              <a:solidFill>
                <a:schemeClr val="bg1"/>
              </a:solidFill>
              <a:latin typeface="+mn-lt"/>
            </a:endParaRPr>
          </a:p>
        </p:txBody>
      </p:sp>
      <p:pic>
        <p:nvPicPr>
          <p:cNvPr id="15" name="Grafik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4000" y="3744000"/>
            <a:ext cx="1385548" cy="566929"/>
          </a:xfrm>
          <a:prstGeom prst="rect">
            <a:avLst/>
          </a:prstGeom>
        </p:spPr>
      </p:pic>
    </p:spTree>
    <p:extLst>
      <p:ext uri="{BB962C8B-B14F-4D97-AF65-F5344CB8AC3E}">
        <p14:creationId xmlns:p14="http://schemas.microsoft.com/office/powerpoint/2010/main" val="11323402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_englisch">
    <p:spTree>
      <p:nvGrpSpPr>
        <p:cNvPr id="1" name=""/>
        <p:cNvGrpSpPr/>
        <p:nvPr/>
      </p:nvGrpSpPr>
      <p:grpSpPr>
        <a:xfrm>
          <a:off x="0" y="0"/>
          <a:ext cx="0" cy="0"/>
          <a:chOff x="0" y="0"/>
          <a:chExt cx="0" cy="0"/>
        </a:xfrm>
      </p:grpSpPr>
      <p:pic>
        <p:nvPicPr>
          <p:cNvPr id="5" name="Bild 4" descr="Fahnen_HG.jpg"/>
          <p:cNvPicPr>
            <a:picLocks noChangeAspect="1"/>
          </p:cNvPicPr>
          <p:nvPr userDrawn="1"/>
        </p:nvPicPr>
        <p:blipFill>
          <a:blip r:embed="rId2" cstate="screen"/>
          <a:srcRect l="398" t="14167" b="10833"/>
          <a:stretch>
            <a:fillRect/>
          </a:stretch>
        </p:blipFill>
        <p:spPr>
          <a:xfrm>
            <a:off x="0" y="0"/>
            <a:ext cx="9144000" cy="5143500"/>
          </a:xfrm>
          <a:prstGeom prst="rect">
            <a:avLst/>
          </a:prstGeom>
        </p:spPr>
      </p:pic>
      <p:pic>
        <p:nvPicPr>
          <p:cNvPr id="12" name="Bild 6" descr="20150416 tum logo blau png final.png"/>
          <p:cNvPicPr>
            <a:picLocks noChangeAspect="1"/>
          </p:cNvPicPr>
          <p:nvPr userDrawn="1"/>
        </p:nvPicPr>
        <p:blipFill>
          <a:blip r:embed="rId3"/>
          <a:stretch>
            <a:fillRect/>
          </a:stretch>
        </p:blipFill>
        <p:spPr>
          <a:xfrm>
            <a:off x="8218800" y="324000"/>
            <a:ext cx="599513" cy="320288"/>
          </a:xfrm>
          <a:prstGeom prst="rect">
            <a:avLst/>
          </a:prstGeom>
        </p:spPr>
      </p:pic>
      <p:sp>
        <p:nvSpPr>
          <p:cNvPr id="13" name="Textfeld 12"/>
          <p:cNvSpPr txBox="1"/>
          <p:nvPr userDrawn="1"/>
        </p:nvSpPr>
        <p:spPr>
          <a:xfrm>
            <a:off x="323999" y="792000"/>
            <a:ext cx="5760000" cy="432000"/>
          </a:xfrm>
          <a:prstGeom prst="rect">
            <a:avLst/>
          </a:prstGeom>
          <a:noFill/>
        </p:spPr>
        <p:txBody>
          <a:bodyPr wrap="none" lIns="0" tIns="0" rIns="0" bIns="0" rtlCol="0">
            <a:noAutofit/>
          </a:bodyPr>
          <a:lstStyle/>
          <a:p>
            <a:r>
              <a:rPr lang="en-US" sz="2400" dirty="0">
                <a:solidFill>
                  <a:schemeClr val="bg1"/>
                </a:solidFill>
              </a:rPr>
              <a:t>Thank you for your attention!</a:t>
            </a:r>
            <a:endParaRPr lang="de-DE" sz="2400" dirty="0">
              <a:solidFill>
                <a:schemeClr val="bg1"/>
              </a:solidFill>
            </a:endParaRPr>
          </a:p>
        </p:txBody>
      </p:sp>
      <p:pic>
        <p:nvPicPr>
          <p:cNvPr id="7" name="Grafi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4000" y="3744000"/>
            <a:ext cx="1385548" cy="566929"/>
          </a:xfrm>
          <a:prstGeom prst="rect">
            <a:avLst/>
          </a:prstGeom>
        </p:spPr>
      </p:pic>
      <p:sp>
        <p:nvSpPr>
          <p:cNvPr id="10" name="Textfeld 9"/>
          <p:cNvSpPr txBox="1"/>
          <p:nvPr userDrawn="1"/>
        </p:nvSpPr>
        <p:spPr>
          <a:xfrm>
            <a:off x="360000" y="3708000"/>
            <a:ext cx="1465145" cy="912237"/>
          </a:xfrm>
          <a:prstGeom prst="rect">
            <a:avLst/>
          </a:prstGeom>
          <a:noFill/>
        </p:spPr>
        <p:txBody>
          <a:bodyPr wrap="none" lIns="0" tIns="0" rIns="0" bIns="0" rtlCol="0">
            <a:spAutoFit/>
          </a:bodyPr>
          <a:lstStyle/>
          <a:p>
            <a:pPr>
              <a:lnSpc>
                <a:spcPct val="114000"/>
              </a:lnSpc>
            </a:pPr>
            <a:endParaRPr lang="de-DE" sz="4000" dirty="0">
              <a:solidFill>
                <a:schemeClr val="bg1"/>
              </a:solidFill>
              <a:latin typeface="+mn-lt"/>
            </a:endParaRPr>
          </a:p>
          <a:p>
            <a:pPr>
              <a:lnSpc>
                <a:spcPct val="114000"/>
              </a:lnSpc>
            </a:pPr>
            <a:r>
              <a:rPr lang="de-DE" sz="1200" dirty="0">
                <a:solidFill>
                  <a:schemeClr val="bg1"/>
                </a:solidFill>
                <a:latin typeface="+mn-lt"/>
              </a:rPr>
              <a:t>Plan – Design – </a:t>
            </a:r>
            <a:r>
              <a:rPr lang="de-DE" sz="1200" dirty="0" err="1">
                <a:solidFill>
                  <a:schemeClr val="bg1"/>
                </a:solidFill>
                <a:latin typeface="+mn-lt"/>
              </a:rPr>
              <a:t>Build</a:t>
            </a:r>
            <a:endParaRPr lang="de-DE" sz="1200" i="1" dirty="0">
              <a:solidFill>
                <a:schemeClr val="bg1"/>
              </a:solidFill>
              <a:latin typeface="+mn-lt"/>
            </a:endParaRPr>
          </a:p>
        </p:txBody>
      </p:sp>
    </p:spTree>
    <p:extLst>
      <p:ext uri="{BB962C8B-B14F-4D97-AF65-F5344CB8AC3E}">
        <p14:creationId xmlns:p14="http://schemas.microsoft.com/office/powerpoint/2010/main" val="32563906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onik Template">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368000"/>
            <a:ext cx="8508999" cy="495780"/>
          </a:xfrm>
          <a:prstGeom prst="rect">
            <a:avLst/>
          </a:prstGeom>
          <a:noFill/>
          <a:ln w="9525">
            <a:solidFill>
              <a:schemeClr val="tx1">
                <a:lumMod val="65000"/>
                <a:lumOff val="35000"/>
              </a:schemeClr>
            </a:solidFill>
            <a:miter lim="800000"/>
            <a:headEnd/>
            <a:tailEnd/>
          </a:ln>
        </p:spPr>
        <p:txBody>
          <a:bodyPr vert="horz" wrap="square" lIns="0" tIns="0" rIns="0" bIns="0" numCol="1" anchor="t" anchorCtr="0" compatLnSpc="1">
            <a:prstTxWarp prst="textNoShape">
              <a:avLst/>
            </a:prstTxWarp>
          </a:bodyPr>
          <a:lstStyle>
            <a:lvl1pPr>
              <a:lnSpc>
                <a:spcPct val="114000"/>
              </a:lnSpc>
              <a:defRPr lang="de-DE" sz="1200" noProof="0" dirty="0" smtClean="0"/>
            </a:lvl1pPr>
          </a:lstStyle>
          <a:p>
            <a:pPr lvl="0"/>
            <a:r>
              <a:rPr lang="de-DE" noProof="0" dirty="0"/>
              <a:t>Motivation</a:t>
            </a:r>
          </a:p>
        </p:txBody>
      </p:sp>
      <p:sp>
        <p:nvSpPr>
          <p:cNvPr id="13" name="Titel 1"/>
          <p:cNvSpPr>
            <a:spLocks noGrp="1"/>
          </p:cNvSpPr>
          <p:nvPr>
            <p:ph type="title" hasCustomPrompt="1"/>
          </p:nvPr>
        </p:nvSpPr>
        <p:spPr>
          <a:xfrm>
            <a:off x="319090" y="791999"/>
            <a:ext cx="8508999" cy="4320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4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a:t>
            </a:fld>
            <a:endParaRPr lang="de-DE" dirty="0"/>
          </a:p>
        </p:txBody>
      </p:sp>
      <p:sp>
        <p:nvSpPr>
          <p:cNvPr id="12" name="Fußzeilenplatzhalter 11"/>
          <p:cNvSpPr>
            <a:spLocks noGrp="1"/>
          </p:cNvSpPr>
          <p:nvPr>
            <p:ph type="ftr" sz="quarter" idx="16"/>
          </p:nvPr>
        </p:nvSpPr>
        <p:spPr/>
        <p:txBody>
          <a:bodyPr/>
          <a:lstStyle/>
          <a:p>
            <a:r>
              <a:rPr lang="de-DE" noProof="0"/>
              <a:t>LPL I Name</a:t>
            </a:r>
          </a:p>
        </p:txBody>
      </p:sp>
      <p:sp>
        <p:nvSpPr>
          <p:cNvPr id="8" name="Inhaltsplatzhalter 9"/>
          <p:cNvSpPr>
            <a:spLocks noGrp="1"/>
          </p:cNvSpPr>
          <p:nvPr>
            <p:ph sz="quarter" idx="18" hasCustomPrompt="1"/>
          </p:nvPr>
        </p:nvSpPr>
        <p:spPr>
          <a:xfrm>
            <a:off x="311162" y="1908000"/>
            <a:ext cx="2960096" cy="1228993"/>
          </a:xfrm>
          <a:prstGeom prst="rect">
            <a:avLst/>
          </a:prstGeom>
          <a:ln>
            <a:solidFill>
              <a:srgbClr val="98C6EA"/>
            </a:solidFill>
          </a:ln>
        </p:spPr>
        <p:txBody>
          <a:bodyPr lIns="0" rIns="0"/>
          <a:lstStyle>
            <a:lvl1pPr marL="0">
              <a:lnSpc>
                <a:spcPct val="114000"/>
              </a:lnSpc>
              <a:defRPr lang="de-DE" sz="1200" kern="1200" noProof="0" dirty="0" smtClean="0">
                <a:solidFill>
                  <a:schemeClr val="tx1"/>
                </a:solidFill>
                <a:latin typeface="+mn-lt"/>
                <a:ea typeface="+mn-ea"/>
                <a:cs typeface="+mn-cs"/>
              </a:defRPr>
            </a:lvl1pPr>
            <a:lvl2pPr marL="0" indent="-176213">
              <a:lnSpc>
                <a:spcPct val="114000"/>
              </a:lnSpc>
              <a:buFont typeface="Symbol" panose="05050102010706020507" pitchFamily="18" charset="2"/>
              <a:buChar char="-"/>
              <a:defRPr sz="1200"/>
            </a:lvl2pPr>
            <a:lvl3pPr>
              <a:defRPr sz="1400" baseline="0"/>
            </a:lvl3pPr>
          </a:lstStyle>
          <a:p>
            <a:pPr lvl="0"/>
            <a:r>
              <a:rPr lang="de-DE" dirty="0"/>
              <a:t>Phenomenon in nature</a:t>
            </a:r>
          </a:p>
          <a:p>
            <a:pPr lvl="0"/>
            <a:r>
              <a:rPr lang="de-DE" dirty="0"/>
              <a:t>Textmasterformate durch Klicken bearbeiten</a:t>
            </a:r>
          </a:p>
          <a:p>
            <a:pPr lvl="1"/>
            <a:r>
              <a:rPr lang="de-DE" dirty="0"/>
              <a:t>Zweite Ebene</a:t>
            </a:r>
          </a:p>
        </p:txBody>
      </p:sp>
      <p:sp>
        <p:nvSpPr>
          <p:cNvPr id="10" name="Inhaltsplatzhalter 9">
            <a:extLst>
              <a:ext uri="{FF2B5EF4-FFF2-40B4-BE49-F238E27FC236}">
                <a16:creationId xmlns:a16="http://schemas.microsoft.com/office/drawing/2014/main" id="{D8306660-0E89-4573-9677-4C43DFC35ADD}"/>
              </a:ext>
            </a:extLst>
          </p:cNvPr>
          <p:cNvSpPr>
            <a:spLocks noGrp="1"/>
          </p:cNvSpPr>
          <p:nvPr>
            <p:ph sz="quarter" idx="20" hasCustomPrompt="1"/>
          </p:nvPr>
        </p:nvSpPr>
        <p:spPr>
          <a:xfrm>
            <a:off x="3323876" y="1912218"/>
            <a:ext cx="2769899" cy="2573015"/>
          </a:xfrm>
          <a:prstGeom prst="rect">
            <a:avLst/>
          </a:prstGeom>
          <a:ln>
            <a:solidFill>
              <a:schemeClr val="accent5">
                <a:lumMod val="60000"/>
                <a:lumOff val="40000"/>
              </a:schemeClr>
            </a:solidFill>
          </a:ln>
        </p:spPr>
        <p:txBody>
          <a:bodyPr lIns="0" rIns="0"/>
          <a:lstStyle>
            <a:lvl1pPr marL="0">
              <a:lnSpc>
                <a:spcPct val="114000"/>
              </a:lnSpc>
              <a:defRPr lang="de-DE" sz="1200" kern="1200" noProof="0" dirty="0" smtClean="0">
                <a:solidFill>
                  <a:schemeClr val="tx1"/>
                </a:solidFill>
                <a:latin typeface="+mn-lt"/>
                <a:ea typeface="+mn-ea"/>
                <a:cs typeface="+mn-cs"/>
              </a:defRPr>
            </a:lvl1pPr>
            <a:lvl2pPr marL="0" indent="-176213">
              <a:lnSpc>
                <a:spcPct val="114000"/>
              </a:lnSpc>
              <a:buFont typeface="Symbol" panose="05050102010706020507" pitchFamily="18" charset="2"/>
              <a:buChar char="-"/>
              <a:defRPr sz="1200"/>
            </a:lvl2pPr>
            <a:lvl3pPr>
              <a:defRPr sz="1400" baseline="0"/>
            </a:lvl3pPr>
          </a:lstStyle>
          <a:p>
            <a:pPr lvl="0"/>
            <a:r>
              <a:rPr lang="en-US" dirty="0"/>
              <a:t>Problem formulation / design goal / possibly requirements</a:t>
            </a:r>
          </a:p>
          <a:p>
            <a:pPr lvl="0"/>
            <a:r>
              <a:rPr lang="de-DE" dirty="0"/>
              <a:t>Textmasterformate durch Klicken bearbeiten</a:t>
            </a:r>
          </a:p>
          <a:p>
            <a:pPr lvl="1"/>
            <a:r>
              <a:rPr lang="de-DE" dirty="0"/>
              <a:t>Zweite Ebene</a:t>
            </a:r>
          </a:p>
        </p:txBody>
      </p:sp>
      <p:sp>
        <p:nvSpPr>
          <p:cNvPr id="14" name="Inhaltsplatzhalter 9">
            <a:extLst>
              <a:ext uri="{FF2B5EF4-FFF2-40B4-BE49-F238E27FC236}">
                <a16:creationId xmlns:a16="http://schemas.microsoft.com/office/drawing/2014/main" id="{751F6A63-6C1B-43E4-B78E-EE1936052E65}"/>
              </a:ext>
            </a:extLst>
          </p:cNvPr>
          <p:cNvSpPr>
            <a:spLocks noGrp="1"/>
          </p:cNvSpPr>
          <p:nvPr>
            <p:ph sz="quarter" idx="21" hasCustomPrompt="1"/>
          </p:nvPr>
        </p:nvSpPr>
        <p:spPr>
          <a:xfrm>
            <a:off x="6146393" y="1908000"/>
            <a:ext cx="2680615" cy="1435901"/>
          </a:xfrm>
          <a:prstGeom prst="rect">
            <a:avLst/>
          </a:prstGeom>
          <a:ln>
            <a:solidFill>
              <a:srgbClr val="92D050"/>
            </a:solidFill>
          </a:ln>
        </p:spPr>
        <p:txBody>
          <a:bodyPr lIns="0" rIns="0"/>
          <a:lstStyle>
            <a:lvl1pPr marL="0">
              <a:lnSpc>
                <a:spcPct val="114000"/>
              </a:lnSpc>
              <a:defRPr lang="de-DE" sz="1200" kern="1200" noProof="0" dirty="0" smtClean="0">
                <a:solidFill>
                  <a:schemeClr val="tx1"/>
                </a:solidFill>
                <a:latin typeface="+mn-lt"/>
                <a:ea typeface="+mn-ea"/>
                <a:cs typeface="+mn-cs"/>
              </a:defRPr>
            </a:lvl1pPr>
            <a:lvl2pPr marL="0" indent="-176213">
              <a:lnSpc>
                <a:spcPct val="114000"/>
              </a:lnSpc>
              <a:buFont typeface="Symbol" panose="05050102010706020507" pitchFamily="18" charset="2"/>
              <a:buChar char="-"/>
              <a:defRPr sz="1200"/>
            </a:lvl2pPr>
            <a:lvl3pPr>
              <a:defRPr sz="1400" baseline="0"/>
            </a:lvl3pPr>
          </a:lstStyle>
          <a:p>
            <a:pPr lvl="0"/>
            <a:r>
              <a:rPr lang="de-DE" dirty="0"/>
              <a:t>Initial Ideas</a:t>
            </a:r>
          </a:p>
          <a:p>
            <a:pPr lvl="0"/>
            <a:r>
              <a:rPr lang="de-DE" dirty="0"/>
              <a:t>Textmasterformate durch Klicken bearbeiten</a:t>
            </a:r>
          </a:p>
          <a:p>
            <a:pPr lvl="1"/>
            <a:r>
              <a:rPr lang="de-DE" dirty="0"/>
              <a:t>Zweite Ebene</a:t>
            </a:r>
          </a:p>
        </p:txBody>
      </p:sp>
      <p:sp>
        <p:nvSpPr>
          <p:cNvPr id="15" name="Inhaltsplatzhalter 9">
            <a:extLst>
              <a:ext uri="{FF2B5EF4-FFF2-40B4-BE49-F238E27FC236}">
                <a16:creationId xmlns:a16="http://schemas.microsoft.com/office/drawing/2014/main" id="{7D2310A6-C663-45C4-8B69-6DED3398CFA2}"/>
              </a:ext>
            </a:extLst>
          </p:cNvPr>
          <p:cNvSpPr>
            <a:spLocks noGrp="1"/>
          </p:cNvSpPr>
          <p:nvPr>
            <p:ph sz="quarter" idx="22" hasCustomPrompt="1"/>
          </p:nvPr>
        </p:nvSpPr>
        <p:spPr>
          <a:xfrm>
            <a:off x="311162" y="3174587"/>
            <a:ext cx="2960096" cy="1310646"/>
          </a:xfrm>
          <a:prstGeom prst="rect">
            <a:avLst/>
          </a:prstGeom>
          <a:ln>
            <a:solidFill>
              <a:srgbClr val="98C6EA"/>
            </a:solidFill>
          </a:ln>
        </p:spPr>
        <p:txBody>
          <a:bodyPr lIns="0" rIns="0"/>
          <a:lstStyle>
            <a:lvl1pPr marL="0">
              <a:lnSpc>
                <a:spcPct val="114000"/>
              </a:lnSpc>
              <a:defRPr lang="de-DE" sz="1200" kern="1200" noProof="0" dirty="0" smtClean="0">
                <a:solidFill>
                  <a:schemeClr val="tx1"/>
                </a:solidFill>
                <a:latin typeface="+mn-lt"/>
                <a:ea typeface="+mn-ea"/>
                <a:cs typeface="+mn-cs"/>
              </a:defRPr>
            </a:lvl1pPr>
            <a:lvl2pPr marL="0" indent="-176213">
              <a:lnSpc>
                <a:spcPct val="114000"/>
              </a:lnSpc>
              <a:buFont typeface="Symbol" panose="05050102010706020507" pitchFamily="18" charset="2"/>
              <a:buChar char="-"/>
              <a:defRPr sz="1200"/>
            </a:lvl2pPr>
            <a:lvl3pPr>
              <a:defRPr sz="1400" baseline="0"/>
            </a:lvl3pPr>
          </a:lstStyle>
          <a:p>
            <a:pPr lvl="0"/>
            <a:r>
              <a:rPr lang="de-DE" dirty="0"/>
              <a:t>Phenomenon in nature - Picture</a:t>
            </a:r>
          </a:p>
        </p:txBody>
      </p:sp>
      <p:sp>
        <p:nvSpPr>
          <p:cNvPr id="16" name="Inhaltsplatzhalter 9">
            <a:extLst>
              <a:ext uri="{FF2B5EF4-FFF2-40B4-BE49-F238E27FC236}">
                <a16:creationId xmlns:a16="http://schemas.microsoft.com/office/drawing/2014/main" id="{2F36FC32-0D4E-4957-A95A-CF83E030F301}"/>
              </a:ext>
            </a:extLst>
          </p:cNvPr>
          <p:cNvSpPr>
            <a:spLocks noGrp="1"/>
          </p:cNvSpPr>
          <p:nvPr>
            <p:ph sz="quarter" idx="23" hasCustomPrompt="1"/>
          </p:nvPr>
        </p:nvSpPr>
        <p:spPr>
          <a:xfrm>
            <a:off x="6132708" y="3381491"/>
            <a:ext cx="2694300" cy="1435901"/>
          </a:xfrm>
          <a:prstGeom prst="rect">
            <a:avLst/>
          </a:prstGeom>
          <a:ln>
            <a:solidFill>
              <a:srgbClr val="92D050"/>
            </a:solidFill>
          </a:ln>
        </p:spPr>
        <p:txBody>
          <a:bodyPr lIns="0" rIns="0"/>
          <a:lstStyle>
            <a:lvl1pPr marL="0">
              <a:lnSpc>
                <a:spcPct val="114000"/>
              </a:lnSpc>
              <a:defRPr lang="de-DE" sz="1200" kern="1200" noProof="0" dirty="0" smtClean="0">
                <a:solidFill>
                  <a:schemeClr val="tx1"/>
                </a:solidFill>
                <a:latin typeface="+mn-lt"/>
                <a:ea typeface="+mn-ea"/>
                <a:cs typeface="+mn-cs"/>
              </a:defRPr>
            </a:lvl1pPr>
            <a:lvl2pPr marL="0" indent="-176213">
              <a:lnSpc>
                <a:spcPct val="114000"/>
              </a:lnSpc>
              <a:buFont typeface="Symbol" panose="05050102010706020507" pitchFamily="18" charset="2"/>
              <a:buChar char="-"/>
              <a:defRPr sz="1200"/>
            </a:lvl2pPr>
            <a:lvl3pPr>
              <a:defRPr sz="1400" baseline="0"/>
            </a:lvl3pPr>
          </a:lstStyle>
          <a:p>
            <a:pPr lvl="0"/>
            <a:r>
              <a:rPr lang="de-DE" dirty="0"/>
              <a:t>Idea sketch</a:t>
            </a:r>
          </a:p>
        </p:txBody>
      </p:sp>
      <p:sp>
        <p:nvSpPr>
          <p:cNvPr id="11" name="Textplatzhalter 7">
            <a:extLst>
              <a:ext uri="{FF2B5EF4-FFF2-40B4-BE49-F238E27FC236}">
                <a16:creationId xmlns:a16="http://schemas.microsoft.com/office/drawing/2014/main" id="{0C7BF2D9-AD08-4F43-AF64-2A3628517CAB}"/>
              </a:ext>
            </a:extLst>
          </p:cNvPr>
          <p:cNvSpPr>
            <a:spLocks noGrp="1"/>
          </p:cNvSpPr>
          <p:nvPr>
            <p:ph type="body" sz="quarter" idx="24" hasCustomPrompt="1"/>
          </p:nvPr>
        </p:nvSpPr>
        <p:spPr>
          <a:xfrm>
            <a:off x="311162" y="4494752"/>
            <a:ext cx="5782613" cy="360233"/>
          </a:xfrm>
          <a:prstGeom prst="rect">
            <a:avLst/>
          </a:prstGeom>
          <a:noFill/>
          <a:ln w="9525">
            <a:solidFill>
              <a:schemeClr val="tx1">
                <a:lumMod val="65000"/>
                <a:lumOff val="35000"/>
              </a:schemeClr>
            </a:solidFill>
            <a:miter lim="800000"/>
            <a:headEnd/>
            <a:tailEnd/>
          </a:ln>
        </p:spPr>
        <p:txBody>
          <a:bodyPr vert="horz" wrap="square" lIns="0" tIns="0" rIns="0" bIns="0" numCol="1" anchor="t" anchorCtr="0" compatLnSpc="1">
            <a:prstTxWarp prst="textNoShape">
              <a:avLst/>
            </a:prstTxWarp>
          </a:bodyPr>
          <a:lstStyle>
            <a:lvl1pPr>
              <a:lnSpc>
                <a:spcPct val="114000"/>
              </a:lnSpc>
              <a:defRPr lang="de-DE" sz="1200" noProof="0" dirty="0" smtClean="0"/>
            </a:lvl1pPr>
          </a:lstStyle>
          <a:p>
            <a:pPr lvl="0"/>
            <a:r>
              <a:rPr lang="de-DE" noProof="0" dirty="0"/>
              <a:t>State of the art/ Reference url</a:t>
            </a:r>
          </a:p>
        </p:txBody>
      </p:sp>
    </p:spTree>
    <p:extLst>
      <p:ext uri="{BB962C8B-B14F-4D97-AF65-F5344CB8AC3E}">
        <p14:creationId xmlns:p14="http://schemas.microsoft.com/office/powerpoint/2010/main" val="35848136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325880" y="1511944"/>
            <a:ext cx="6492240" cy="2119613"/>
          </a:xfrm>
        </p:spPr>
        <p:txBody>
          <a:bodyPr anchor="ctr"/>
          <a:lstStyle>
            <a:lvl1pPr algn="ctr">
              <a:defRPr sz="405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86102" y="4861887"/>
            <a:ext cx="143315" cy="151746"/>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6238417" y="4862512"/>
            <a:ext cx="2334083" cy="152402"/>
          </a:xfrm>
          <a:prstGeom prst="rect">
            <a:avLst/>
          </a:prstGeom>
          <a:noFill/>
        </p:spPr>
        <p:txBody>
          <a:bodyPr wrap="square" lIns="0" tIns="0" rIns="0" bIns="0" rtlCol="0" anchor="ctr">
            <a:noAutofit/>
          </a:bodyPr>
          <a:lstStyle/>
          <a:p>
            <a:pPr marL="0" marR="0" lvl="0" indent="0" algn="r" defTabSz="171450" eaLnBrk="1" fontAlgn="auto" latinLnBrk="0" hangingPunct="1">
              <a:lnSpc>
                <a:spcPct val="100000"/>
              </a:lnSpc>
              <a:spcBef>
                <a:spcPts val="0"/>
              </a:spcBef>
              <a:spcAft>
                <a:spcPts val="900"/>
              </a:spcAft>
              <a:buClrTx/>
              <a:buSzTx/>
              <a:buFontTx/>
              <a:buNone/>
              <a:tabLst/>
              <a:defRPr/>
            </a:pPr>
            <a:r>
              <a:rPr kumimoji="0" lang="en-GB" sz="6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35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8572500" y="4861548"/>
            <a:ext cx="285750" cy="154331"/>
          </a:xfrm>
          <a:prstGeom prst="rect">
            <a:avLst/>
          </a:prstGeom>
          <a:noFill/>
        </p:spPr>
        <p:txBody>
          <a:bodyPr wrap="square" lIns="0" tIns="0" rIns="0" bIns="0" rtlCol="0" anchor="ctr">
            <a:noAutofit/>
          </a:bodyPr>
          <a:lstStyle/>
          <a:p>
            <a:pPr marL="0" marR="0" lvl="0" indent="0" algn="r" defTabSz="171450" eaLnBrk="1" fontAlgn="auto" latinLnBrk="0" hangingPunct="1">
              <a:lnSpc>
                <a:spcPct val="100000"/>
              </a:lnSpc>
              <a:spcBef>
                <a:spcPts val="0"/>
              </a:spcBef>
              <a:spcAft>
                <a:spcPts val="900"/>
              </a:spcAft>
              <a:buClrTx/>
              <a:buSzTx/>
              <a:buFontTx/>
              <a:buNone/>
              <a:tabLst/>
              <a:defRPr/>
            </a:pPr>
            <a:fld id="{8A1971D9-5B62-3C46-9EC9-FDAAB88557B2}" type="slidenum">
              <a:rPr kumimoji="0" lang="en-GB" sz="600" b="0" i="0" u="none" strike="noStrike" kern="0" cap="none" spc="0" normalizeH="0" baseline="0" noProof="0" smtClean="0">
                <a:ln>
                  <a:noFill/>
                </a:ln>
                <a:solidFill>
                  <a:srgbClr val="FFFFFF">
                    <a:alpha val="75000"/>
                  </a:srgbClr>
                </a:solidFill>
                <a:effectLst/>
                <a:uLnTx/>
                <a:uFillTx/>
              </a:rPr>
              <a:pPr marL="0" marR="0" lvl="0" indent="0" algn="r" defTabSz="171450" eaLnBrk="1" fontAlgn="auto" latinLnBrk="0" hangingPunct="1">
                <a:lnSpc>
                  <a:spcPct val="100000"/>
                </a:lnSpc>
                <a:spcBef>
                  <a:spcPts val="0"/>
                </a:spcBef>
                <a:spcAft>
                  <a:spcPts val="900"/>
                </a:spcAft>
                <a:buClrTx/>
                <a:buSzTx/>
                <a:buFontTx/>
                <a:buNone/>
                <a:tabLst/>
                <a:defRPr/>
              </a:pPr>
              <a:t>‹#›</a:t>
            </a:fld>
            <a:endParaRPr kumimoji="0" lang="en-US" sz="1350" b="0" i="0" u="none" strike="noStrike" kern="0" cap="none" spc="0" normalizeH="0" baseline="0" noProof="0">
              <a:ln>
                <a:noFill/>
              </a:ln>
              <a:solidFill>
                <a:srgbClr val="FFFFFF">
                  <a:alpha val="75000"/>
                </a:srgbClr>
              </a:solidFill>
              <a:effectLst/>
              <a:uLnTx/>
              <a:uFillTx/>
            </a:endParaRPr>
          </a:p>
        </p:txBody>
      </p:sp>
      <p:cxnSp>
        <p:nvCxnSpPr>
          <p:cNvPr id="8" name="Straight Connector 41">
            <a:extLst>
              <a:ext uri="{FF2B5EF4-FFF2-40B4-BE49-F238E27FC236}">
                <a16:creationId xmlns:a16="http://schemas.microsoft.com/office/drawing/2014/main" id="{078C07C1-551F-4AAE-8B41-271FD6C44491}"/>
              </a:ext>
            </a:extLst>
          </p:cNvPr>
          <p:cNvCxnSpPr/>
          <p:nvPr userDrawn="1"/>
        </p:nvCxnSpPr>
        <p:spPr>
          <a:xfrm>
            <a:off x="-189480" y="1035033"/>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792C5396-7EA2-417E-9F8C-17F606EE0E62}"/>
              </a:ext>
            </a:extLst>
          </p:cNvPr>
          <p:cNvCxnSpPr/>
          <p:nvPr userDrawn="1"/>
        </p:nvCxnSpPr>
        <p:spPr>
          <a:xfrm>
            <a:off x="-189480" y="1247046"/>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61041389-1F9C-4DC9-B7E8-6A1767596B18}"/>
              </a:ext>
            </a:extLst>
          </p:cNvPr>
          <p:cNvSpPr txBox="1"/>
          <p:nvPr userDrawn="1"/>
        </p:nvSpPr>
        <p:spPr>
          <a:xfrm>
            <a:off x="-1577059" y="1162268"/>
            <a:ext cx="1334149" cy="16691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Upper Guide Content</a:t>
            </a:r>
          </a:p>
        </p:txBody>
      </p:sp>
      <p:sp>
        <p:nvSpPr>
          <p:cNvPr id="11" name="TextBox 52">
            <a:extLst>
              <a:ext uri="{FF2B5EF4-FFF2-40B4-BE49-F238E27FC236}">
                <a16:creationId xmlns:a16="http://schemas.microsoft.com/office/drawing/2014/main" id="{63E93547-D28A-4ED7-8435-98F986CAD2A6}"/>
              </a:ext>
            </a:extLst>
          </p:cNvPr>
          <p:cNvSpPr txBox="1"/>
          <p:nvPr userDrawn="1"/>
        </p:nvSpPr>
        <p:spPr>
          <a:xfrm>
            <a:off x="-1574910" y="231306"/>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Tagline</a:t>
            </a:r>
          </a:p>
        </p:txBody>
      </p:sp>
      <p:cxnSp>
        <p:nvCxnSpPr>
          <p:cNvPr id="12" name="Straight Connector 53">
            <a:extLst>
              <a:ext uri="{FF2B5EF4-FFF2-40B4-BE49-F238E27FC236}">
                <a16:creationId xmlns:a16="http://schemas.microsoft.com/office/drawing/2014/main" id="{A81079E3-37A3-4C31-AFE8-A8385B82713C}"/>
              </a:ext>
            </a:extLst>
          </p:cNvPr>
          <p:cNvCxnSpPr>
            <a:cxnSpLocks/>
          </p:cNvCxnSpPr>
          <p:nvPr userDrawn="1"/>
        </p:nvCxnSpPr>
        <p:spPr>
          <a:xfrm flipV="1">
            <a:off x="-189480" y="287465"/>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0ED34561-138A-4716-A216-1A7CF7BA6703}"/>
              </a:ext>
            </a:extLst>
          </p:cNvPr>
          <p:cNvSpPr txBox="1">
            <a:spLocks/>
          </p:cNvSpPr>
          <p:nvPr userDrawn="1"/>
        </p:nvSpPr>
        <p:spPr>
          <a:xfrm>
            <a:off x="-1394910" y="2326947"/>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Primary color 3</a:t>
            </a:r>
          </a:p>
        </p:txBody>
      </p:sp>
      <p:sp>
        <p:nvSpPr>
          <p:cNvPr id="14" name="Rectangle 55">
            <a:extLst>
              <a:ext uri="{FF2B5EF4-FFF2-40B4-BE49-F238E27FC236}">
                <a16:creationId xmlns:a16="http://schemas.microsoft.com/office/drawing/2014/main" id="{B5F0178F-B62F-4B38-A604-97479AEA9C2D}"/>
              </a:ext>
            </a:extLst>
          </p:cNvPr>
          <p:cNvSpPr/>
          <p:nvPr userDrawn="1"/>
        </p:nvSpPr>
        <p:spPr bwMode="gray">
          <a:xfrm>
            <a:off x="-243540" y="2326949"/>
            <a:ext cx="135000" cy="135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16" name="TextBox 56">
            <a:extLst>
              <a:ext uri="{FF2B5EF4-FFF2-40B4-BE49-F238E27FC236}">
                <a16:creationId xmlns:a16="http://schemas.microsoft.com/office/drawing/2014/main" id="{4C645998-651D-4BA5-BA7D-C488B2F3CD06}"/>
              </a:ext>
            </a:extLst>
          </p:cNvPr>
          <p:cNvSpPr txBox="1">
            <a:spLocks/>
          </p:cNvSpPr>
          <p:nvPr userDrawn="1"/>
        </p:nvSpPr>
        <p:spPr>
          <a:xfrm>
            <a:off x="-1394910" y="2005451"/>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Primary color 1</a:t>
            </a:r>
          </a:p>
        </p:txBody>
      </p:sp>
      <p:sp>
        <p:nvSpPr>
          <p:cNvPr id="17" name="Rectangle 57">
            <a:extLst>
              <a:ext uri="{FF2B5EF4-FFF2-40B4-BE49-F238E27FC236}">
                <a16:creationId xmlns:a16="http://schemas.microsoft.com/office/drawing/2014/main" id="{D29EE68C-AF9C-4A4C-AC73-51BC8B2B4C65}"/>
              </a:ext>
            </a:extLst>
          </p:cNvPr>
          <p:cNvSpPr/>
          <p:nvPr userDrawn="1"/>
        </p:nvSpPr>
        <p:spPr bwMode="gray">
          <a:xfrm>
            <a:off x="-243540" y="2005451"/>
            <a:ext cx="135000" cy="135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8" name="Rectangle 58">
            <a:extLst>
              <a:ext uri="{FF2B5EF4-FFF2-40B4-BE49-F238E27FC236}">
                <a16:creationId xmlns:a16="http://schemas.microsoft.com/office/drawing/2014/main" id="{6DF04AC0-8C20-4DD3-A9DD-7C81B8444EEE}"/>
              </a:ext>
            </a:extLst>
          </p:cNvPr>
          <p:cNvSpPr/>
          <p:nvPr userDrawn="1"/>
        </p:nvSpPr>
        <p:spPr bwMode="gray">
          <a:xfrm>
            <a:off x="-243540" y="2166200"/>
            <a:ext cx="135000" cy="135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19" name="TextBox 59">
            <a:extLst>
              <a:ext uri="{FF2B5EF4-FFF2-40B4-BE49-F238E27FC236}">
                <a16:creationId xmlns:a16="http://schemas.microsoft.com/office/drawing/2014/main" id="{DAD2B414-9DE2-428B-8F3C-D6E279535288}"/>
              </a:ext>
            </a:extLst>
          </p:cNvPr>
          <p:cNvSpPr txBox="1">
            <a:spLocks/>
          </p:cNvSpPr>
          <p:nvPr userDrawn="1"/>
        </p:nvSpPr>
        <p:spPr>
          <a:xfrm>
            <a:off x="-1394910" y="2166200"/>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Primary color 2</a:t>
            </a:r>
          </a:p>
        </p:txBody>
      </p:sp>
      <p:sp>
        <p:nvSpPr>
          <p:cNvPr id="20" name="TextBox 65">
            <a:extLst>
              <a:ext uri="{FF2B5EF4-FFF2-40B4-BE49-F238E27FC236}">
                <a16:creationId xmlns:a16="http://schemas.microsoft.com/office/drawing/2014/main" id="{EB7954A0-BB5F-449F-83EB-18DEF908575A}"/>
              </a:ext>
            </a:extLst>
          </p:cNvPr>
          <p:cNvSpPr txBox="1"/>
          <p:nvPr userDrawn="1"/>
        </p:nvSpPr>
        <p:spPr>
          <a:xfrm>
            <a:off x="-1394910" y="4364925"/>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White</a:t>
            </a:r>
          </a:p>
        </p:txBody>
      </p:sp>
      <p:sp>
        <p:nvSpPr>
          <p:cNvPr id="21" name="Rectangle 67">
            <a:extLst>
              <a:ext uri="{FF2B5EF4-FFF2-40B4-BE49-F238E27FC236}">
                <a16:creationId xmlns:a16="http://schemas.microsoft.com/office/drawing/2014/main" id="{4B68D771-17B4-44F4-A9D2-734672BB4056}"/>
              </a:ext>
            </a:extLst>
          </p:cNvPr>
          <p:cNvSpPr/>
          <p:nvPr userDrawn="1"/>
        </p:nvSpPr>
        <p:spPr bwMode="gray">
          <a:xfrm>
            <a:off x="-243540" y="4364927"/>
            <a:ext cx="135000" cy="135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8">
            <a:extLst>
              <a:ext uri="{FF2B5EF4-FFF2-40B4-BE49-F238E27FC236}">
                <a16:creationId xmlns:a16="http://schemas.microsoft.com/office/drawing/2014/main" id="{906E4161-7178-4BDD-9ABB-6991A6C28237}"/>
              </a:ext>
            </a:extLst>
          </p:cNvPr>
          <p:cNvSpPr>
            <a:spLocks/>
          </p:cNvSpPr>
          <p:nvPr userDrawn="1"/>
        </p:nvSpPr>
        <p:spPr bwMode="gray">
          <a:xfrm>
            <a:off x="-243663" y="3721933"/>
            <a:ext cx="135000" cy="135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23" name="TextBox 69">
            <a:extLst>
              <a:ext uri="{FF2B5EF4-FFF2-40B4-BE49-F238E27FC236}">
                <a16:creationId xmlns:a16="http://schemas.microsoft.com/office/drawing/2014/main" id="{D944F459-8C34-49FC-86D8-7BF8841AF5D7}"/>
              </a:ext>
            </a:extLst>
          </p:cNvPr>
          <p:cNvSpPr txBox="1">
            <a:spLocks/>
          </p:cNvSpPr>
          <p:nvPr userDrawn="1"/>
        </p:nvSpPr>
        <p:spPr>
          <a:xfrm>
            <a:off x="-1394910" y="3721931"/>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4" name="TextBox 70">
            <a:extLst>
              <a:ext uri="{FF2B5EF4-FFF2-40B4-BE49-F238E27FC236}">
                <a16:creationId xmlns:a16="http://schemas.microsoft.com/office/drawing/2014/main" id="{3EA1FA29-D2E5-4E87-BFA2-3A3234DFC1DF}"/>
              </a:ext>
            </a:extLst>
          </p:cNvPr>
          <p:cNvSpPr txBox="1"/>
          <p:nvPr userDrawn="1"/>
        </p:nvSpPr>
        <p:spPr>
          <a:xfrm>
            <a:off x="-1574910" y="977158"/>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Sub-Headline Line</a:t>
            </a:r>
          </a:p>
        </p:txBody>
      </p:sp>
      <p:cxnSp>
        <p:nvCxnSpPr>
          <p:cNvPr id="25" name="Straight Connector 71">
            <a:extLst>
              <a:ext uri="{FF2B5EF4-FFF2-40B4-BE49-F238E27FC236}">
                <a16:creationId xmlns:a16="http://schemas.microsoft.com/office/drawing/2014/main" id="{7DAF8E0F-69A8-46C0-A553-8F7AEB8DE9F8}"/>
              </a:ext>
            </a:extLst>
          </p:cNvPr>
          <p:cNvCxnSpPr/>
          <p:nvPr userDrawn="1"/>
        </p:nvCxnSpPr>
        <p:spPr>
          <a:xfrm>
            <a:off x="-204720" y="4706304"/>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6" name="TextBox 54">
            <a:extLst>
              <a:ext uri="{FF2B5EF4-FFF2-40B4-BE49-F238E27FC236}">
                <a16:creationId xmlns:a16="http://schemas.microsoft.com/office/drawing/2014/main" id="{C3BF8CAB-2B52-4268-A0F8-7C3911F1884E}"/>
              </a:ext>
            </a:extLst>
          </p:cNvPr>
          <p:cNvSpPr txBox="1">
            <a:spLocks/>
          </p:cNvSpPr>
          <p:nvPr userDrawn="1"/>
        </p:nvSpPr>
        <p:spPr>
          <a:xfrm>
            <a:off x="-944910" y="2979469"/>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3</a:t>
            </a:r>
          </a:p>
        </p:txBody>
      </p:sp>
      <p:sp>
        <p:nvSpPr>
          <p:cNvPr id="27" name="Rectangle 55">
            <a:extLst>
              <a:ext uri="{FF2B5EF4-FFF2-40B4-BE49-F238E27FC236}">
                <a16:creationId xmlns:a16="http://schemas.microsoft.com/office/drawing/2014/main" id="{9C8ABB66-0F3D-452F-9D5C-84728B06FEA9}"/>
              </a:ext>
            </a:extLst>
          </p:cNvPr>
          <p:cNvSpPr/>
          <p:nvPr userDrawn="1"/>
        </p:nvSpPr>
        <p:spPr bwMode="gray">
          <a:xfrm>
            <a:off x="-243663" y="2979469"/>
            <a:ext cx="135000" cy="135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28" name="TextBox 56">
            <a:extLst>
              <a:ext uri="{FF2B5EF4-FFF2-40B4-BE49-F238E27FC236}">
                <a16:creationId xmlns:a16="http://schemas.microsoft.com/office/drawing/2014/main" id="{CECA7EC2-36A2-484A-B6D2-098E572F54CC}"/>
              </a:ext>
            </a:extLst>
          </p:cNvPr>
          <p:cNvSpPr txBox="1">
            <a:spLocks/>
          </p:cNvSpPr>
          <p:nvPr userDrawn="1"/>
        </p:nvSpPr>
        <p:spPr>
          <a:xfrm>
            <a:off x="-944910" y="2651854"/>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1</a:t>
            </a:r>
          </a:p>
        </p:txBody>
      </p:sp>
      <p:sp>
        <p:nvSpPr>
          <p:cNvPr id="29" name="Rectangle 57">
            <a:extLst>
              <a:ext uri="{FF2B5EF4-FFF2-40B4-BE49-F238E27FC236}">
                <a16:creationId xmlns:a16="http://schemas.microsoft.com/office/drawing/2014/main" id="{BF1416A3-67B1-4A11-9530-7D420FB4B25E}"/>
              </a:ext>
            </a:extLst>
          </p:cNvPr>
          <p:cNvSpPr/>
          <p:nvPr userDrawn="1"/>
        </p:nvSpPr>
        <p:spPr bwMode="gray">
          <a:xfrm>
            <a:off x="-243663" y="2651854"/>
            <a:ext cx="135000" cy="135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30" name="Rectangle 58">
            <a:extLst>
              <a:ext uri="{FF2B5EF4-FFF2-40B4-BE49-F238E27FC236}">
                <a16:creationId xmlns:a16="http://schemas.microsoft.com/office/drawing/2014/main" id="{ED469E8A-F7B6-4C6C-9002-9F30A16BB313}"/>
              </a:ext>
            </a:extLst>
          </p:cNvPr>
          <p:cNvSpPr/>
          <p:nvPr userDrawn="1"/>
        </p:nvSpPr>
        <p:spPr bwMode="gray">
          <a:xfrm>
            <a:off x="-243663" y="2815661"/>
            <a:ext cx="135000" cy="135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31" name="TextBox 59">
            <a:extLst>
              <a:ext uri="{FF2B5EF4-FFF2-40B4-BE49-F238E27FC236}">
                <a16:creationId xmlns:a16="http://schemas.microsoft.com/office/drawing/2014/main" id="{30754393-B662-466F-90E3-E5C3A2116B1E}"/>
              </a:ext>
            </a:extLst>
          </p:cNvPr>
          <p:cNvSpPr txBox="1">
            <a:spLocks/>
          </p:cNvSpPr>
          <p:nvPr userDrawn="1"/>
        </p:nvSpPr>
        <p:spPr>
          <a:xfrm>
            <a:off x="-944910" y="2815661"/>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2</a:t>
            </a:r>
          </a:p>
        </p:txBody>
      </p:sp>
      <p:sp>
        <p:nvSpPr>
          <p:cNvPr id="32" name="Rectangle 66">
            <a:extLst>
              <a:ext uri="{FF2B5EF4-FFF2-40B4-BE49-F238E27FC236}">
                <a16:creationId xmlns:a16="http://schemas.microsoft.com/office/drawing/2014/main" id="{C3AB98F8-963F-4AA1-8E85-631653F5C3A9}"/>
              </a:ext>
            </a:extLst>
          </p:cNvPr>
          <p:cNvSpPr/>
          <p:nvPr userDrawn="1"/>
        </p:nvSpPr>
        <p:spPr bwMode="gray">
          <a:xfrm>
            <a:off x="-243540" y="4206391"/>
            <a:ext cx="135000" cy="135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33" name="TextBox 54">
            <a:extLst>
              <a:ext uri="{FF2B5EF4-FFF2-40B4-BE49-F238E27FC236}">
                <a16:creationId xmlns:a16="http://schemas.microsoft.com/office/drawing/2014/main" id="{66E416EE-BFA8-4699-98D6-4BB87BEDB994}"/>
              </a:ext>
            </a:extLst>
          </p:cNvPr>
          <p:cNvSpPr txBox="1"/>
          <p:nvPr userDrawn="1"/>
        </p:nvSpPr>
        <p:spPr>
          <a:xfrm>
            <a:off x="-647910" y="4206391"/>
            <a:ext cx="405000" cy="135000"/>
          </a:xfrm>
          <a:prstGeom prst="rect">
            <a:avLst/>
          </a:prstGeom>
          <a:noFill/>
        </p:spPr>
        <p:txBody>
          <a:bodyPr wrap="square" lIns="0" tIns="0" rIns="99692"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Grey 3</a:t>
            </a:r>
          </a:p>
        </p:txBody>
      </p:sp>
      <p:sp>
        <p:nvSpPr>
          <p:cNvPr id="34" name="Rectangle 60">
            <a:extLst>
              <a:ext uri="{FF2B5EF4-FFF2-40B4-BE49-F238E27FC236}">
                <a16:creationId xmlns:a16="http://schemas.microsoft.com/office/drawing/2014/main" id="{6CD9662E-4002-4CEE-B538-DADB2F958DB6}"/>
              </a:ext>
            </a:extLst>
          </p:cNvPr>
          <p:cNvSpPr/>
          <p:nvPr userDrawn="1"/>
        </p:nvSpPr>
        <p:spPr bwMode="gray">
          <a:xfrm>
            <a:off x="-243540" y="3887659"/>
            <a:ext cx="135000" cy="135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35" name="TextBox 56">
            <a:extLst>
              <a:ext uri="{FF2B5EF4-FFF2-40B4-BE49-F238E27FC236}">
                <a16:creationId xmlns:a16="http://schemas.microsoft.com/office/drawing/2014/main" id="{ABAE4B02-322B-4630-AA3D-3C24BC62B292}"/>
              </a:ext>
            </a:extLst>
          </p:cNvPr>
          <p:cNvSpPr txBox="1"/>
          <p:nvPr userDrawn="1"/>
        </p:nvSpPr>
        <p:spPr>
          <a:xfrm>
            <a:off x="-647910" y="3887659"/>
            <a:ext cx="405000" cy="135000"/>
          </a:xfrm>
          <a:prstGeom prst="rect">
            <a:avLst/>
          </a:prstGeom>
          <a:noFill/>
        </p:spPr>
        <p:txBody>
          <a:bodyPr wrap="square" lIns="0" tIns="0" rIns="99692"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Grey 1</a:t>
            </a:r>
          </a:p>
        </p:txBody>
      </p:sp>
      <p:sp>
        <p:nvSpPr>
          <p:cNvPr id="36" name="Rectangle 61">
            <a:extLst>
              <a:ext uri="{FF2B5EF4-FFF2-40B4-BE49-F238E27FC236}">
                <a16:creationId xmlns:a16="http://schemas.microsoft.com/office/drawing/2014/main" id="{2B4069F8-6CF5-4D6B-9CAB-FC596587F35D}"/>
              </a:ext>
            </a:extLst>
          </p:cNvPr>
          <p:cNvSpPr/>
          <p:nvPr userDrawn="1"/>
        </p:nvSpPr>
        <p:spPr bwMode="gray">
          <a:xfrm>
            <a:off x="-243663" y="4047025"/>
            <a:ext cx="135000" cy="135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37" name="TextBox 59">
            <a:extLst>
              <a:ext uri="{FF2B5EF4-FFF2-40B4-BE49-F238E27FC236}">
                <a16:creationId xmlns:a16="http://schemas.microsoft.com/office/drawing/2014/main" id="{BEA551D9-B919-4578-8384-C858F5A7D73E}"/>
              </a:ext>
            </a:extLst>
          </p:cNvPr>
          <p:cNvSpPr txBox="1"/>
          <p:nvPr userDrawn="1"/>
        </p:nvSpPr>
        <p:spPr>
          <a:xfrm>
            <a:off x="-647910" y="4047025"/>
            <a:ext cx="405000" cy="135000"/>
          </a:xfrm>
          <a:prstGeom prst="rect">
            <a:avLst/>
          </a:prstGeom>
          <a:noFill/>
        </p:spPr>
        <p:txBody>
          <a:bodyPr wrap="square" lIns="0" tIns="0" rIns="99692"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Grey 2</a:t>
            </a:r>
          </a:p>
        </p:txBody>
      </p:sp>
      <p:sp>
        <p:nvSpPr>
          <p:cNvPr id="38" name="TextBox 73">
            <a:extLst>
              <a:ext uri="{FF2B5EF4-FFF2-40B4-BE49-F238E27FC236}">
                <a16:creationId xmlns:a16="http://schemas.microsoft.com/office/drawing/2014/main" id="{F70C6268-9316-402C-9F74-B5C242CA1B99}"/>
              </a:ext>
            </a:extLst>
          </p:cNvPr>
          <p:cNvSpPr txBox="1"/>
          <p:nvPr userDrawn="1"/>
        </p:nvSpPr>
        <p:spPr>
          <a:xfrm>
            <a:off x="315535" y="-174789"/>
            <a:ext cx="1403859" cy="95729"/>
          </a:xfrm>
          <a:prstGeom prst="rect">
            <a:avLst/>
          </a:prstGeom>
          <a:noFill/>
        </p:spPr>
        <p:txBody>
          <a:bodyPr wrap="square" lIns="66461" tIns="0" rIns="0"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Begin Content Area</a:t>
            </a:r>
          </a:p>
        </p:txBody>
      </p:sp>
      <p:sp>
        <p:nvSpPr>
          <p:cNvPr id="39" name="TextBox 74">
            <a:extLst>
              <a:ext uri="{FF2B5EF4-FFF2-40B4-BE49-F238E27FC236}">
                <a16:creationId xmlns:a16="http://schemas.microsoft.com/office/drawing/2014/main" id="{3B2681FE-B05A-4DC6-A6CE-2D6D53AE237B}"/>
              </a:ext>
            </a:extLst>
          </p:cNvPr>
          <p:cNvSpPr txBox="1"/>
          <p:nvPr userDrawn="1"/>
        </p:nvSpPr>
        <p:spPr>
          <a:xfrm>
            <a:off x="7521731" y="-166674"/>
            <a:ext cx="1370452" cy="108000"/>
          </a:xfrm>
          <a:prstGeom prst="rect">
            <a:avLst/>
          </a:prstGeom>
          <a:noFill/>
        </p:spPr>
        <p:txBody>
          <a:bodyPr wrap="square" lIns="0" tIns="0" rIns="66461"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End Content Area</a:t>
            </a:r>
          </a:p>
        </p:txBody>
      </p:sp>
      <p:sp>
        <p:nvSpPr>
          <p:cNvPr id="40" name="TextBox 75">
            <a:extLst>
              <a:ext uri="{FF2B5EF4-FFF2-40B4-BE49-F238E27FC236}">
                <a16:creationId xmlns:a16="http://schemas.microsoft.com/office/drawing/2014/main" id="{F5660B5B-CEA6-478B-B0A8-E04317E25060}"/>
              </a:ext>
            </a:extLst>
          </p:cNvPr>
          <p:cNvSpPr txBox="1"/>
          <p:nvPr userDrawn="1"/>
        </p:nvSpPr>
        <p:spPr>
          <a:xfrm>
            <a:off x="4580404" y="-166674"/>
            <a:ext cx="1370452" cy="108000"/>
          </a:xfrm>
          <a:prstGeom prst="rect">
            <a:avLst/>
          </a:prstGeom>
          <a:noFill/>
        </p:spPr>
        <p:txBody>
          <a:bodyPr wrap="square" lIns="66461" tIns="0" rIns="0"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1" name="Straight Connector 77">
            <a:extLst>
              <a:ext uri="{FF2B5EF4-FFF2-40B4-BE49-F238E27FC236}">
                <a16:creationId xmlns:a16="http://schemas.microsoft.com/office/drawing/2014/main" id="{7B6333BB-4C76-49CC-8398-2E47EBF0E6D5}"/>
              </a:ext>
            </a:extLst>
          </p:cNvPr>
          <p:cNvCxnSpPr>
            <a:cxnSpLocks/>
          </p:cNvCxnSpPr>
          <p:nvPr userDrawn="1"/>
        </p:nvCxnSpPr>
        <p:spPr>
          <a:xfrm flipV="1">
            <a:off x="4572000" y="-146561"/>
            <a:ext cx="0" cy="135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76">
            <a:extLst>
              <a:ext uri="{FF2B5EF4-FFF2-40B4-BE49-F238E27FC236}">
                <a16:creationId xmlns:a16="http://schemas.microsoft.com/office/drawing/2014/main" id="{DFA9F1EC-3869-4908-B543-F6E8BB7954F5}"/>
              </a:ext>
            </a:extLst>
          </p:cNvPr>
          <p:cNvCxnSpPr>
            <a:cxnSpLocks/>
          </p:cNvCxnSpPr>
          <p:nvPr userDrawn="1"/>
        </p:nvCxnSpPr>
        <p:spPr>
          <a:xfrm flipV="1">
            <a:off x="285750" y="-146561"/>
            <a:ext cx="0" cy="135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3" name="TextBox 70">
            <a:extLst>
              <a:ext uri="{FF2B5EF4-FFF2-40B4-BE49-F238E27FC236}">
                <a16:creationId xmlns:a16="http://schemas.microsoft.com/office/drawing/2014/main" id="{8DDD5E7A-53D8-4C19-930F-0C240C39DB7E}"/>
              </a:ext>
            </a:extLst>
          </p:cNvPr>
          <p:cNvSpPr txBox="1"/>
          <p:nvPr userDrawn="1"/>
        </p:nvSpPr>
        <p:spPr>
          <a:xfrm>
            <a:off x="-1574910" y="763610"/>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Headline Line</a:t>
            </a:r>
          </a:p>
        </p:txBody>
      </p:sp>
      <p:cxnSp>
        <p:nvCxnSpPr>
          <p:cNvPr id="44" name="Straight Connector 71">
            <a:extLst>
              <a:ext uri="{FF2B5EF4-FFF2-40B4-BE49-F238E27FC236}">
                <a16:creationId xmlns:a16="http://schemas.microsoft.com/office/drawing/2014/main" id="{EE860C1A-0543-4B1D-8368-6897A7EC6D8B}"/>
              </a:ext>
            </a:extLst>
          </p:cNvPr>
          <p:cNvCxnSpPr/>
          <p:nvPr userDrawn="1"/>
        </p:nvCxnSpPr>
        <p:spPr>
          <a:xfrm>
            <a:off x="-204720" y="4839893"/>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1">
            <a:extLst>
              <a:ext uri="{FF2B5EF4-FFF2-40B4-BE49-F238E27FC236}">
                <a16:creationId xmlns:a16="http://schemas.microsoft.com/office/drawing/2014/main" id="{EB996C1E-D37F-44CE-BC75-F006793749F0}"/>
              </a:ext>
            </a:extLst>
          </p:cNvPr>
          <p:cNvCxnSpPr/>
          <p:nvPr userDrawn="1"/>
        </p:nvCxnSpPr>
        <p:spPr>
          <a:xfrm>
            <a:off x="-189480" y="815720"/>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6" name="TextBox 54">
            <a:extLst>
              <a:ext uri="{FF2B5EF4-FFF2-40B4-BE49-F238E27FC236}">
                <a16:creationId xmlns:a16="http://schemas.microsoft.com/office/drawing/2014/main" id="{723C54E6-F15E-40E9-BA40-3E6B79647CED}"/>
              </a:ext>
            </a:extLst>
          </p:cNvPr>
          <p:cNvSpPr txBox="1">
            <a:spLocks/>
          </p:cNvSpPr>
          <p:nvPr userDrawn="1"/>
        </p:nvSpPr>
        <p:spPr>
          <a:xfrm>
            <a:off x="-944910" y="3307082"/>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5</a:t>
            </a:r>
          </a:p>
        </p:txBody>
      </p:sp>
      <p:sp>
        <p:nvSpPr>
          <p:cNvPr id="47" name="Rectangle 55">
            <a:extLst>
              <a:ext uri="{FF2B5EF4-FFF2-40B4-BE49-F238E27FC236}">
                <a16:creationId xmlns:a16="http://schemas.microsoft.com/office/drawing/2014/main" id="{DDFDD0E5-1D4A-41C9-A3AF-778B3C57EA43}"/>
              </a:ext>
            </a:extLst>
          </p:cNvPr>
          <p:cNvSpPr/>
          <p:nvPr userDrawn="1"/>
        </p:nvSpPr>
        <p:spPr bwMode="gray">
          <a:xfrm>
            <a:off x="-243663" y="3307084"/>
            <a:ext cx="135000" cy="135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48" name="Rectangle 58">
            <a:extLst>
              <a:ext uri="{FF2B5EF4-FFF2-40B4-BE49-F238E27FC236}">
                <a16:creationId xmlns:a16="http://schemas.microsoft.com/office/drawing/2014/main" id="{2CB8800B-B132-40C4-B9C1-534E3E39922A}"/>
              </a:ext>
            </a:extLst>
          </p:cNvPr>
          <p:cNvSpPr/>
          <p:nvPr userDrawn="1"/>
        </p:nvSpPr>
        <p:spPr bwMode="gray">
          <a:xfrm>
            <a:off x="-243663" y="3143276"/>
            <a:ext cx="135000" cy="135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49" name="TextBox 59">
            <a:extLst>
              <a:ext uri="{FF2B5EF4-FFF2-40B4-BE49-F238E27FC236}">
                <a16:creationId xmlns:a16="http://schemas.microsoft.com/office/drawing/2014/main" id="{6ED75C68-0418-4675-8D74-D913F119451F}"/>
              </a:ext>
            </a:extLst>
          </p:cNvPr>
          <p:cNvSpPr txBox="1">
            <a:spLocks/>
          </p:cNvSpPr>
          <p:nvPr userDrawn="1"/>
        </p:nvSpPr>
        <p:spPr>
          <a:xfrm>
            <a:off x="-944910" y="3143276"/>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4</a:t>
            </a:r>
          </a:p>
        </p:txBody>
      </p:sp>
      <p:cxnSp>
        <p:nvCxnSpPr>
          <p:cNvPr id="50" name="Straight Connector 77">
            <a:extLst>
              <a:ext uri="{FF2B5EF4-FFF2-40B4-BE49-F238E27FC236}">
                <a16:creationId xmlns:a16="http://schemas.microsoft.com/office/drawing/2014/main" id="{5A7C8021-455A-455B-B9DB-C12CAAED8A4C}"/>
              </a:ext>
            </a:extLst>
          </p:cNvPr>
          <p:cNvCxnSpPr>
            <a:cxnSpLocks/>
          </p:cNvCxnSpPr>
          <p:nvPr userDrawn="1"/>
        </p:nvCxnSpPr>
        <p:spPr>
          <a:xfrm flipV="1">
            <a:off x="8855963" y="-146561"/>
            <a:ext cx="0" cy="135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1" name="TextBox 72">
            <a:extLst>
              <a:ext uri="{FF2B5EF4-FFF2-40B4-BE49-F238E27FC236}">
                <a16:creationId xmlns:a16="http://schemas.microsoft.com/office/drawing/2014/main" id="{309029D0-FBD1-4081-8F3F-1E9D71335AED}"/>
              </a:ext>
            </a:extLst>
          </p:cNvPr>
          <p:cNvSpPr txBox="1"/>
          <p:nvPr userDrawn="1"/>
        </p:nvSpPr>
        <p:spPr>
          <a:xfrm>
            <a:off x="-1574910" y="4653466"/>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281052747"/>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4" name="Titel 1"/>
          <p:cNvSpPr>
            <a:spLocks noGrp="1"/>
          </p:cNvSpPr>
          <p:nvPr>
            <p:ph type="title" hasCustomPrompt="1"/>
          </p:nvPr>
        </p:nvSpPr>
        <p:spPr>
          <a:xfrm>
            <a:off x="319090" y="1296000"/>
            <a:ext cx="8508999" cy="43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buFontTx/>
              <a:buNone/>
              <a:defRPr lang="de-DE" sz="2400" noProof="0" dirty="0">
                <a:solidFill>
                  <a:schemeClr val="tx1"/>
                </a:solidFill>
                <a:latin typeface="Arial" panose="020B0604020202020204" pitchFamily="34" charset="0"/>
                <a:cs typeface="Arial" panose="020B0604020202020204" pitchFamily="34" charset="0"/>
              </a:defRPr>
            </a:lvl1pPr>
          </a:lstStyle>
          <a:p>
            <a:pPr lvl="0"/>
            <a:r>
              <a:rPr lang="de-DE" noProof="0" dirty="0"/>
              <a:t>Titel der Präsentation durch Klicken bearbeiten</a:t>
            </a:r>
          </a:p>
        </p:txBody>
      </p:sp>
      <p:sp>
        <p:nvSpPr>
          <p:cNvPr id="7" name="Inhaltsplatzhalter 2"/>
          <p:cNvSpPr>
            <a:spLocks noGrp="1"/>
          </p:cNvSpPr>
          <p:nvPr>
            <p:ph idx="10" hasCustomPrompt="1"/>
          </p:nvPr>
        </p:nvSpPr>
        <p:spPr>
          <a:xfrm>
            <a:off x="319088" y="2160000"/>
            <a:ext cx="8508999" cy="45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nSpc>
                <a:spcPct val="150000"/>
              </a:lnSpc>
              <a:buFontTx/>
              <a:buNone/>
              <a:defRPr lang="de-DE" sz="1600" b="1" baseline="0" noProof="0" dirty="0" smtClean="0">
                <a:solidFill>
                  <a:schemeClr val="tx1"/>
                </a:solidFill>
                <a:latin typeface="Arial" panose="020B0604020202020204" pitchFamily="34" charset="0"/>
                <a:cs typeface="Arial" panose="020B0604020202020204" pitchFamily="34" charset="0"/>
              </a:defRPr>
            </a:lvl1pPr>
            <a:lvl2pPr>
              <a:defRPr lang="de-DE" noProof="0" dirty="0" smtClean="0"/>
            </a:lvl2pPr>
          </a:lstStyle>
          <a:p>
            <a:pPr lvl="0"/>
            <a:r>
              <a:rPr lang="de-DE" noProof="0" dirty="0"/>
              <a:t>Referent</a:t>
            </a:r>
          </a:p>
        </p:txBody>
      </p:sp>
      <p:sp>
        <p:nvSpPr>
          <p:cNvPr id="8" name="Inhaltsplatzhalter 2"/>
          <p:cNvSpPr>
            <a:spLocks noGrp="1"/>
          </p:cNvSpPr>
          <p:nvPr>
            <p:ph idx="11" hasCustomPrompt="1"/>
          </p:nvPr>
        </p:nvSpPr>
        <p:spPr>
          <a:xfrm>
            <a:off x="319088" y="2700000"/>
            <a:ext cx="8508999" cy="108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nSpc>
                <a:spcPct val="150000"/>
              </a:lnSpc>
              <a:buFontTx/>
              <a:buNone/>
              <a:defRPr lang="de-DE" sz="1600" baseline="0" noProof="0" dirty="0" smtClean="0">
                <a:solidFill>
                  <a:schemeClr val="tx1"/>
                </a:solidFill>
                <a:latin typeface="Arial" panose="020B0604020202020204" pitchFamily="34" charset="0"/>
                <a:cs typeface="Arial" panose="020B0604020202020204" pitchFamily="34" charset="0"/>
              </a:defRPr>
            </a:lvl1pPr>
            <a:lvl2pPr>
              <a:defRPr lang="de-DE" noProof="0" dirty="0" smtClean="0"/>
            </a:lvl2pPr>
          </a:lstStyle>
          <a:p>
            <a:pPr lvl="0"/>
            <a:r>
              <a:rPr lang="de-DE" noProof="0" dirty="0"/>
              <a:t>Ort, Datum (Schreibweise: 00. Januar 2018)</a:t>
            </a:r>
          </a:p>
        </p:txBody>
      </p:sp>
    </p:spTree>
    <p:extLst>
      <p:ext uri="{BB962C8B-B14F-4D97-AF65-F5344CB8AC3E}">
        <p14:creationId xmlns:p14="http://schemas.microsoft.com/office/powerpoint/2010/main" val="9323911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61A02E-BD3D-4B4B-98F0-DA743470F0DA}"/>
              </a:ext>
            </a:extLst>
          </p:cNvPr>
          <p:cNvSpPr>
            <a:spLocks noGrp="1"/>
          </p:cNvSpPr>
          <p:nvPr>
            <p:ph type="title"/>
          </p:nvPr>
        </p:nvSpPr>
        <p:spPr>
          <a:xfrm>
            <a:off x="628650" y="274638"/>
            <a:ext cx="7886700" cy="993775"/>
          </a:xfrm>
          <a:prstGeom prst="rect">
            <a:avLst/>
          </a:prstGeom>
        </p:spPr>
        <p:txBody>
          <a:bodyPr/>
          <a:lstStyle/>
          <a:p>
            <a:r>
              <a:rPr lang="de-DE"/>
              <a:t>Mastertitelformat bearbeiten</a:t>
            </a:r>
            <a:endParaRPr lang="en-US"/>
          </a:p>
        </p:txBody>
      </p:sp>
    </p:spTree>
    <p:extLst>
      <p:ext uri="{BB962C8B-B14F-4D97-AF65-F5344CB8AC3E}">
        <p14:creationId xmlns:p14="http://schemas.microsoft.com/office/powerpoint/2010/main" val="10817465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9" name="Titel 1"/>
          <p:cNvSpPr>
            <a:spLocks noGrp="1"/>
          </p:cNvSpPr>
          <p:nvPr>
            <p:ph type="title" hasCustomPrompt="1"/>
          </p:nvPr>
        </p:nvSpPr>
        <p:spPr>
          <a:xfrm>
            <a:off x="319090" y="1296000"/>
            <a:ext cx="8508999" cy="43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buFontTx/>
              <a:buNone/>
              <a:defRPr lang="de-DE" sz="2400" noProof="0" dirty="0">
                <a:solidFill>
                  <a:schemeClr val="tx1"/>
                </a:solidFill>
                <a:latin typeface="Arial" panose="020B0604020202020204" pitchFamily="34" charset="0"/>
                <a:cs typeface="Arial" panose="020B0604020202020204" pitchFamily="34" charset="0"/>
              </a:defRPr>
            </a:lvl1pPr>
          </a:lstStyle>
          <a:p>
            <a:pPr lvl="0"/>
            <a:r>
              <a:rPr lang="de-DE" noProof="0" dirty="0"/>
              <a:t>Titel der Präsentation durch Klicken bearbeiten</a:t>
            </a:r>
          </a:p>
        </p:txBody>
      </p:sp>
      <p:sp>
        <p:nvSpPr>
          <p:cNvPr id="10" name="Inhaltsplatzhalter 2"/>
          <p:cNvSpPr>
            <a:spLocks noGrp="1"/>
          </p:cNvSpPr>
          <p:nvPr>
            <p:ph idx="10" hasCustomPrompt="1"/>
          </p:nvPr>
        </p:nvSpPr>
        <p:spPr>
          <a:xfrm>
            <a:off x="319088" y="2160000"/>
            <a:ext cx="8508999" cy="45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nSpc>
                <a:spcPct val="150000"/>
              </a:lnSpc>
              <a:buFontTx/>
              <a:buNone/>
              <a:defRPr lang="de-DE" sz="1600" b="1" baseline="0" noProof="0" dirty="0" smtClean="0">
                <a:solidFill>
                  <a:schemeClr val="tx1"/>
                </a:solidFill>
                <a:latin typeface="Arial" panose="020B0604020202020204" pitchFamily="34" charset="0"/>
                <a:cs typeface="Arial" panose="020B0604020202020204" pitchFamily="34" charset="0"/>
              </a:defRPr>
            </a:lvl1pPr>
            <a:lvl2pPr>
              <a:defRPr lang="de-DE" noProof="0" dirty="0" smtClean="0"/>
            </a:lvl2pPr>
          </a:lstStyle>
          <a:p>
            <a:pPr lvl="0"/>
            <a:r>
              <a:rPr lang="de-DE" noProof="0" dirty="0"/>
              <a:t>Referent</a:t>
            </a:r>
          </a:p>
        </p:txBody>
      </p:sp>
      <p:sp>
        <p:nvSpPr>
          <p:cNvPr id="11" name="Inhaltsplatzhalter 2"/>
          <p:cNvSpPr>
            <a:spLocks noGrp="1"/>
          </p:cNvSpPr>
          <p:nvPr>
            <p:ph idx="11" hasCustomPrompt="1"/>
          </p:nvPr>
        </p:nvSpPr>
        <p:spPr>
          <a:xfrm>
            <a:off x="319088" y="2700000"/>
            <a:ext cx="8508999" cy="108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nSpc>
                <a:spcPct val="150000"/>
              </a:lnSpc>
              <a:buFontTx/>
              <a:buNone/>
              <a:defRPr lang="de-DE" sz="1600" baseline="0" noProof="0" dirty="0" smtClean="0">
                <a:solidFill>
                  <a:schemeClr val="tx1"/>
                </a:solidFill>
                <a:latin typeface="Arial" panose="020B0604020202020204" pitchFamily="34" charset="0"/>
                <a:cs typeface="Arial" panose="020B0604020202020204" pitchFamily="34" charset="0"/>
              </a:defRPr>
            </a:lvl1pPr>
            <a:lvl2pPr>
              <a:defRPr lang="de-DE" noProof="0" dirty="0" smtClean="0"/>
            </a:lvl2pPr>
          </a:lstStyle>
          <a:p>
            <a:pPr lvl="0"/>
            <a:r>
              <a:rPr lang="de-DE" noProof="0" dirty="0"/>
              <a:t>Ort, Datum (englisch: </a:t>
            </a:r>
            <a:r>
              <a:rPr lang="de-DE" noProof="0" dirty="0" err="1"/>
              <a:t>January</a:t>
            </a:r>
            <a:r>
              <a:rPr lang="de-DE" noProof="0" dirty="0"/>
              <a:t> 00, 2016)</a:t>
            </a:r>
          </a:p>
        </p:txBody>
      </p:sp>
    </p:spTree>
    <p:extLst>
      <p:ext uri="{BB962C8B-B14F-4D97-AF65-F5344CB8AC3E}">
        <p14:creationId xmlns:p14="http://schemas.microsoft.com/office/powerpoint/2010/main" val="27722375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79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400" baseline="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a:t>
            </a:fld>
            <a:endParaRPr lang="de-DE" dirty="0"/>
          </a:p>
        </p:txBody>
      </p:sp>
      <p:sp>
        <p:nvSpPr>
          <p:cNvPr id="7" name="Fußzeilenplatzhalter 6"/>
          <p:cNvSpPr>
            <a:spLocks noGrp="1"/>
          </p:cNvSpPr>
          <p:nvPr>
            <p:ph type="ftr" sz="quarter" idx="12"/>
          </p:nvPr>
        </p:nvSpPr>
        <p:spPr/>
        <p:txBody>
          <a:bodyPr/>
          <a:lstStyle/>
          <a:p>
            <a:r>
              <a:rPr lang="de-DE"/>
              <a:t>LPL I Bio-inspired Design Seminar | Team xx </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apiteltrenner mit Fusszei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0400" y="792000"/>
            <a:ext cx="8510400" cy="1231200"/>
          </a:xfrm>
          <a:prstGeom prst="rect">
            <a:avLst/>
          </a:prstGeom>
        </p:spPr>
        <p:txBody>
          <a:bodyPr lIns="0" tIns="0" rIns="0" bIns="0"/>
          <a:lstStyle>
            <a:lvl1pPr>
              <a:lnSpc>
                <a:spcPts val="3200"/>
              </a:lnSpc>
              <a:defRPr sz="2400">
                <a:solidFill>
                  <a:schemeClr val="bg1"/>
                </a:solidFill>
              </a:defRPr>
            </a:lvl1pPr>
          </a:lstStyle>
          <a:p>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endParaRPr lang="de-DE" dirty="0"/>
          </a:p>
        </p:txBody>
      </p:sp>
      <p:sp>
        <p:nvSpPr>
          <p:cNvPr id="3" name="Foliennummernplatzhalter 2"/>
          <p:cNvSpPr>
            <a:spLocks noGrp="1"/>
          </p:cNvSpPr>
          <p:nvPr>
            <p:ph type="sldNum" sz="quarter" idx="10"/>
          </p:nvPr>
        </p:nvSpPr>
        <p:spPr/>
        <p:txBody>
          <a:bodyPr/>
          <a:lstStyle/>
          <a:p>
            <a:fld id="{CE58CB1E-F828-4F11-99E0-327109AF9DA4}" type="slidenum">
              <a:rPr lang="de-DE" smtClean="0"/>
              <a:pPr/>
              <a:t>‹#›</a:t>
            </a:fld>
            <a:endParaRPr lang="de-DE" dirty="0"/>
          </a:p>
        </p:txBody>
      </p:sp>
      <p:sp>
        <p:nvSpPr>
          <p:cNvPr id="4" name="Fußzeilenplatzhalter 3"/>
          <p:cNvSpPr>
            <a:spLocks noGrp="1"/>
          </p:cNvSpPr>
          <p:nvPr>
            <p:ph type="ftr" sz="quarter" idx="11"/>
          </p:nvPr>
        </p:nvSpPr>
        <p:spPr/>
        <p:txBody>
          <a:bodyPr/>
          <a:lstStyle/>
          <a:p>
            <a:r>
              <a:rPr lang="de-DE"/>
              <a:t>LPL I Bio-inspired Design Seminar | Team xx </a:t>
            </a:r>
            <a:endParaRPr lang="en-US" dirty="0"/>
          </a:p>
        </p:txBody>
      </p:sp>
    </p:spTree>
    <p:extLst>
      <p:ext uri="{BB962C8B-B14F-4D97-AF65-F5344CB8AC3E}">
        <p14:creationId xmlns:p14="http://schemas.microsoft.com/office/powerpoint/2010/main" val="12319196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ard Layout Title Sub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a:xfrm>
            <a:off x="285750" y="285751"/>
            <a:ext cx="8572500" cy="529352"/>
          </a:xfrm>
        </p:spPr>
        <p:txBody>
          <a:bodyPr/>
          <a:lstStyle>
            <a:lvl1pPr>
              <a:defRPr/>
            </a:lvl1pPr>
          </a:lstStyle>
          <a:p>
            <a:r>
              <a:rPr lang="en-US"/>
              <a:t>Click to edit Master title style</a:t>
            </a:r>
            <a:endParaRPr lang="de-DE"/>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171450">
              <a:spcAft>
                <a:spcPts val="900"/>
              </a:spcAft>
            </a:pPr>
            <a:fld id="{CC9E6EB9-168E-4914-8CC7-2E853AFB4F1B}" type="slidenum">
              <a:rPr lang="en-US" altLang="zh-CN" smtClean="0"/>
              <a:pPr algn="r" defTabSz="171450">
                <a:spcAft>
                  <a:spcPts val="900"/>
                </a:spcAft>
              </a:pPr>
              <a:t>‹#›</a:t>
            </a:fld>
            <a:endParaRPr lang="zh-CN" altLang="en-US"/>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285750" y="815103"/>
            <a:ext cx="8572500" cy="216694"/>
          </a:xfrm>
        </p:spPr>
        <p:txBody>
          <a:bodyPr anchor="b">
            <a:noAutofit/>
          </a:bodyPr>
          <a:lstStyle>
            <a:lvl1pPr>
              <a:lnSpc>
                <a:spcPct val="80000"/>
              </a:lnSpc>
              <a:defRPr sz="1500" b="1">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53169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368000"/>
            <a:ext cx="8508999" cy="342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a:lnSpc>
                <a:spcPct val="114000"/>
              </a:lnSpc>
              <a:defRPr lang="de-DE" sz="1200" noProof="0" dirty="0" smtClean="0"/>
            </a:lvl1pPr>
            <a:lvl2pPr marL="0" indent="-176213">
              <a:lnSpc>
                <a:spcPct val="114000"/>
              </a:lnSpc>
              <a:buFont typeface="Symbol" panose="05050102010706020507" pitchFamily="18" charset="2"/>
              <a:buChar char="-"/>
              <a:defRPr lang="de-DE" sz="1200" noProof="0" dirty="0" smtClean="0"/>
            </a:lvl2pPr>
            <a:lvl3pPr>
              <a:defRPr sz="1400"/>
            </a:lvl3pPr>
          </a:lstStyle>
          <a:p>
            <a:pPr lvl="0"/>
            <a:r>
              <a:rPr lang="de-DE" noProof="0" dirty="0"/>
              <a:t>Inhalt durch Klicken bearbeiten</a:t>
            </a:r>
          </a:p>
          <a:p>
            <a:pPr lvl="1"/>
            <a:r>
              <a:rPr lang="de-DE" noProof="0" dirty="0"/>
              <a:t>Zweite Ebene</a:t>
            </a:r>
          </a:p>
        </p:txBody>
      </p:sp>
      <p:sp>
        <p:nvSpPr>
          <p:cNvPr id="10" name="Titel 1"/>
          <p:cNvSpPr>
            <a:spLocks noGrp="1"/>
          </p:cNvSpPr>
          <p:nvPr>
            <p:ph type="title" hasCustomPrompt="1"/>
          </p:nvPr>
        </p:nvSpPr>
        <p:spPr>
          <a:xfrm>
            <a:off x="319090" y="792000"/>
            <a:ext cx="8508999" cy="4320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4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a:t>
            </a:fld>
            <a:endParaRPr lang="de-DE" dirty="0"/>
          </a:p>
        </p:txBody>
      </p:sp>
      <p:sp>
        <p:nvSpPr>
          <p:cNvPr id="7" name="Fußzeilenplatzhalter 6"/>
          <p:cNvSpPr>
            <a:spLocks noGrp="1"/>
          </p:cNvSpPr>
          <p:nvPr>
            <p:ph type="ftr" sz="quarter" idx="12"/>
          </p:nvPr>
        </p:nvSpPr>
        <p:spPr/>
        <p:txBody>
          <a:bodyPr/>
          <a:lstStyle/>
          <a:p>
            <a:r>
              <a:rPr lang="de-DE"/>
              <a:t>LPL I Bio-inspired Design Seminar | Team xx </a:t>
            </a:r>
            <a:endParaRPr lang="en-US" dirty="0"/>
          </a:p>
        </p:txBody>
      </p:sp>
    </p:spTree>
    <p:extLst>
      <p:ext uri="{BB962C8B-B14F-4D97-AF65-F5344CB8AC3E}">
        <p14:creationId xmlns:p14="http://schemas.microsoft.com/office/powerpoint/2010/main" val="21839487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285751" y="1636500"/>
            <a:ext cx="2450259" cy="2152178"/>
          </a:xfrm>
        </p:spPr>
        <p:txBody>
          <a:bodyPr/>
          <a:lstStyle>
            <a:lvl1pPr marL="0" indent="0">
              <a:lnSpc>
                <a:spcPct val="90000"/>
              </a:lnSpc>
              <a:buNone/>
              <a:defRPr sz="1800">
                <a:solidFill>
                  <a:schemeClr val="accent1"/>
                </a:solidFill>
                <a:latin typeface="GT Sectra Fine Rg" panose="00000500000000000000" pitchFamily="50" charset="0"/>
              </a:defRPr>
            </a:lvl1pPr>
            <a:lvl2pPr marL="0" indent="0">
              <a:buNone/>
              <a:defRPr sz="1350"/>
            </a:lvl2pPr>
            <a:lvl3pPr marL="171450">
              <a:buFont typeface="Arial" panose="020B0604020202020204" pitchFamily="34" charset="0"/>
              <a:buChar char="•"/>
              <a:defRPr sz="1350"/>
            </a:lvl3pPr>
            <a:lvl4pPr marL="342900">
              <a:buFont typeface="System Font"/>
              <a:buChar char="–"/>
              <a:defRPr sz="1200"/>
            </a:lvl4pPr>
            <a:lvl5pPr marL="514350">
              <a:buFont typeface="Arial" panose="020B0604020202020204" pitchFamily="34" charset="0"/>
              <a:buChar char="•"/>
              <a:defRPr sz="1200"/>
            </a:lvl5pPr>
          </a:lstStyle>
          <a:p>
            <a:pPr lvl="0"/>
            <a:r>
              <a:rPr lang="en-US"/>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285752" y="1028701"/>
            <a:ext cx="2450258" cy="607799"/>
          </a:xfrm>
        </p:spPr>
        <p:txBody>
          <a:bodyPr/>
          <a:lstStyle/>
          <a:p>
            <a:r>
              <a:rPr lang="en-GB"/>
              <a:t>Agenda</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3725229" y="1135328"/>
            <a:ext cx="2214779" cy="364005"/>
          </a:xfrm>
        </p:spPr>
        <p:txBody>
          <a:bodyPr anchor="ctr"/>
          <a:lstStyle>
            <a:lvl1pPr>
              <a:spcAft>
                <a:spcPts val="0"/>
              </a:spcAft>
              <a:defRPr sz="1200"/>
            </a:lvl1pPr>
          </a:lstStyle>
          <a:p>
            <a:pPr lvl="0"/>
            <a:r>
              <a:rPr lang="en-GB"/>
              <a:t>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3725229" y="1588986"/>
            <a:ext cx="2214779" cy="364005"/>
          </a:xfrm>
        </p:spPr>
        <p:txBody>
          <a:bodyPr anchor="ctr"/>
          <a:lstStyle>
            <a:lvl1pPr>
              <a:spcAft>
                <a:spcPts val="0"/>
              </a:spcAft>
              <a:defRPr sz="1200"/>
            </a:lvl1pPr>
          </a:lstStyle>
          <a:p>
            <a:pPr lvl="0"/>
            <a:r>
              <a:rPr lang="en-GB"/>
              <a:t>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3725229" y="2042645"/>
            <a:ext cx="2214779" cy="364005"/>
          </a:xfrm>
        </p:spPr>
        <p:txBody>
          <a:bodyPr anchor="ctr"/>
          <a:lstStyle>
            <a:lvl1pPr>
              <a:spcAft>
                <a:spcPts val="0"/>
              </a:spcAft>
              <a:defRPr sz="1200"/>
            </a:lvl1pPr>
          </a:lstStyle>
          <a:p>
            <a:pPr lvl="0"/>
            <a:r>
              <a:rPr lang="en-GB"/>
              <a:t>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3725229" y="2496303"/>
            <a:ext cx="2214779" cy="364005"/>
          </a:xfrm>
        </p:spPr>
        <p:txBody>
          <a:bodyPr anchor="ctr"/>
          <a:lstStyle>
            <a:lvl1pPr>
              <a:spcAft>
                <a:spcPts val="0"/>
              </a:spcAft>
              <a:defRPr sz="1200"/>
            </a:lvl1pPr>
          </a:lstStyle>
          <a:p>
            <a:pPr lvl="0"/>
            <a:r>
              <a:rPr lang="en-GB"/>
              <a:t>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3725229" y="2949962"/>
            <a:ext cx="2214779" cy="364005"/>
          </a:xfrm>
        </p:spPr>
        <p:txBody>
          <a:bodyPr anchor="ctr"/>
          <a:lstStyle>
            <a:lvl1pPr>
              <a:spcAft>
                <a:spcPts val="0"/>
              </a:spcAft>
              <a:defRPr sz="1200"/>
            </a:lvl1pPr>
          </a:lstStyle>
          <a:p>
            <a:pPr lvl="0"/>
            <a:r>
              <a:rPr lang="en-GB"/>
              <a:t>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3725229" y="3403620"/>
            <a:ext cx="2214779" cy="364005"/>
          </a:xfrm>
        </p:spPr>
        <p:txBody>
          <a:bodyPr anchor="ctr"/>
          <a:lstStyle>
            <a:lvl1pPr>
              <a:spcAft>
                <a:spcPts val="0"/>
              </a:spcAft>
              <a:defRPr sz="1200"/>
            </a:lvl1pPr>
          </a:lstStyle>
          <a:p>
            <a:pPr lvl="0"/>
            <a:r>
              <a:rPr lang="en-GB"/>
              <a:t>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3725229" y="3857279"/>
            <a:ext cx="2214779" cy="364005"/>
          </a:xfrm>
        </p:spPr>
        <p:txBody>
          <a:bodyPr anchor="ctr"/>
          <a:lstStyle>
            <a:lvl1pPr>
              <a:spcAft>
                <a:spcPts val="0"/>
              </a:spcAft>
              <a:defRPr sz="1200"/>
            </a:lvl1pPr>
          </a:lstStyle>
          <a:p>
            <a:pPr lvl="0"/>
            <a:r>
              <a:rPr lang="en-GB"/>
              <a:t>Agenda item</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3319681" y="1135328"/>
            <a:ext cx="303846" cy="364005"/>
          </a:xfrm>
        </p:spPr>
        <p:txBody>
          <a:bodyPr anchor="ctr"/>
          <a:lstStyle>
            <a:lvl1pPr marL="0" marR="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sz="1350" b="1">
                <a:solidFill>
                  <a:schemeClr val="accent1"/>
                </a:solidFill>
              </a:defRPr>
            </a:lvl1pPr>
          </a:lstStyle>
          <a:p>
            <a:pPr marL="0" marR="0" lvl="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3319681" y="1588986"/>
            <a:ext cx="303846" cy="364005"/>
          </a:xfrm>
        </p:spPr>
        <p:txBody>
          <a:bodyPr anchor="ctr"/>
          <a:lstStyle>
            <a:lvl1pPr marL="0" marR="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sz="1350" b="1">
                <a:solidFill>
                  <a:schemeClr val="accent1"/>
                </a:solidFill>
              </a:defRPr>
            </a:lvl1pPr>
          </a:lstStyle>
          <a:p>
            <a:pPr marL="0" marR="0" lvl="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3319681" y="2042645"/>
            <a:ext cx="303846" cy="364005"/>
          </a:xfrm>
        </p:spPr>
        <p:txBody>
          <a:bodyPr anchor="ctr"/>
          <a:lstStyle>
            <a:lvl1pPr marL="0" marR="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sz="1350" b="1">
                <a:solidFill>
                  <a:schemeClr val="accent1"/>
                </a:solidFill>
              </a:defRPr>
            </a:lvl1pPr>
          </a:lstStyle>
          <a:p>
            <a:pPr marL="0" marR="0" lvl="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3319681" y="2496303"/>
            <a:ext cx="303846" cy="364005"/>
          </a:xfrm>
        </p:spPr>
        <p:txBody>
          <a:bodyPr anchor="ctr"/>
          <a:lstStyle>
            <a:lvl1pPr marL="0" marR="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sz="1350" b="1">
                <a:solidFill>
                  <a:schemeClr val="accent1"/>
                </a:solidFill>
              </a:defRPr>
            </a:lvl1pPr>
          </a:lstStyle>
          <a:p>
            <a:pPr marL="0" marR="0" lvl="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3319681" y="2949962"/>
            <a:ext cx="303846" cy="364005"/>
          </a:xfrm>
        </p:spPr>
        <p:txBody>
          <a:bodyPr anchor="ctr"/>
          <a:lstStyle>
            <a:lvl1pPr marL="0" marR="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sz="1350" b="1">
                <a:solidFill>
                  <a:schemeClr val="accent1"/>
                </a:solidFill>
              </a:defRPr>
            </a:lvl1pPr>
          </a:lstStyle>
          <a:p>
            <a:pPr marL="0" marR="0" lvl="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3319681" y="3403620"/>
            <a:ext cx="303846" cy="364005"/>
          </a:xfrm>
        </p:spPr>
        <p:txBody>
          <a:bodyPr anchor="ctr"/>
          <a:lstStyle>
            <a:lvl1pPr marL="0" marR="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sz="1350" b="1">
                <a:solidFill>
                  <a:schemeClr val="accent1"/>
                </a:solidFill>
              </a:defRPr>
            </a:lvl1pPr>
          </a:lstStyle>
          <a:p>
            <a:pPr marL="0" marR="0" lvl="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3319681" y="3857279"/>
            <a:ext cx="303846" cy="364005"/>
          </a:xfrm>
        </p:spPr>
        <p:txBody>
          <a:bodyPr anchor="ctr"/>
          <a:lstStyle>
            <a:lvl1pPr marL="0" marR="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sz="1350" b="1">
                <a:solidFill>
                  <a:schemeClr val="accent1"/>
                </a:solidFill>
              </a:defRPr>
            </a:lvl1pPr>
          </a:lstStyle>
          <a:p>
            <a:pPr marL="0" marR="0" lvl="0" indent="0" algn="ctr" defTabSz="17145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3033931" y="1028701"/>
            <a:ext cx="0" cy="353961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DFC4F5B-DE83-214A-95EA-68339F579CF1}"/>
              </a:ext>
            </a:extLst>
          </p:cNvPr>
          <p:cNvSpPr txBox="1"/>
          <p:nvPr userDrawn="1"/>
        </p:nvSpPr>
        <p:spPr>
          <a:xfrm>
            <a:off x="6967728" y="4951476"/>
            <a:ext cx="0" cy="0"/>
          </a:xfrm>
          <a:prstGeom prst="rect">
            <a:avLst/>
          </a:prstGeom>
          <a:noFill/>
        </p:spPr>
        <p:txBody>
          <a:bodyPr wrap="none" lIns="0" tIns="0" rIns="0" bIns="0" rtlCol="0">
            <a:noAutofit/>
          </a:bodyPr>
          <a:lstStyle/>
          <a:p>
            <a:pPr algn="l" defTabSz="171450">
              <a:spcAft>
                <a:spcPts val="900"/>
              </a:spcAft>
            </a:pPr>
            <a:endParaRPr lang="en-US" noProof="0"/>
          </a:p>
        </p:txBody>
      </p:sp>
    </p:spTree>
    <p:extLst>
      <p:ext uri="{BB962C8B-B14F-4D97-AF65-F5344CB8AC3E}">
        <p14:creationId xmlns:p14="http://schemas.microsoft.com/office/powerpoint/2010/main" val="1317392721"/>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325880" y="1511944"/>
            <a:ext cx="6492240" cy="2119613"/>
          </a:xfrm>
        </p:spPr>
        <p:txBody>
          <a:bodyPr anchor="ctr"/>
          <a:lstStyle>
            <a:lvl1pPr algn="ctr">
              <a:defRPr sz="4050">
                <a:solidFill>
                  <a:schemeClr val="tx1"/>
                </a:solidFill>
              </a:defRPr>
            </a:lvl1pPr>
          </a:lstStyle>
          <a:p>
            <a:r>
              <a:rPr lang="en-US"/>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86102" y="4861887"/>
            <a:ext cx="143315" cy="151746"/>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6238417" y="4862512"/>
            <a:ext cx="2334083" cy="152402"/>
          </a:xfrm>
          <a:prstGeom prst="rect">
            <a:avLst/>
          </a:prstGeom>
          <a:noFill/>
        </p:spPr>
        <p:txBody>
          <a:bodyPr wrap="square" lIns="0" tIns="0" rIns="0" bIns="0" rtlCol="0" anchor="ctr">
            <a:noAutofit/>
          </a:bodyPr>
          <a:lstStyle/>
          <a:p>
            <a:pPr marL="0" marR="0" lvl="0" indent="0" algn="r" defTabSz="171450" eaLnBrk="1" fontAlgn="auto" latinLnBrk="0" hangingPunct="1">
              <a:lnSpc>
                <a:spcPct val="100000"/>
              </a:lnSpc>
              <a:spcBef>
                <a:spcPts val="0"/>
              </a:spcBef>
              <a:spcAft>
                <a:spcPts val="900"/>
              </a:spcAft>
              <a:buClrTx/>
              <a:buSzTx/>
              <a:buFontTx/>
              <a:buNone/>
              <a:tabLst/>
              <a:defRPr/>
            </a:pPr>
            <a:r>
              <a:rPr kumimoji="0" lang="en-GB" sz="600" b="0" i="0" u="none" strike="noStrike" kern="0" cap="none" spc="0" normalizeH="0" baseline="0" noProof="0">
                <a:ln>
                  <a:noFill/>
                </a:ln>
                <a:solidFill>
                  <a:srgbClr val="FFFFFF">
                    <a:alpha val="75000"/>
                  </a:srgbClr>
                </a:solidFill>
                <a:effectLst/>
                <a:uLnTx/>
                <a:uFillTx/>
              </a:rPr>
              <a:t>Copyright © 2022 Accenture. All rights reserved.</a:t>
            </a:r>
            <a:endParaRPr kumimoji="0" lang="en-US" sz="1350" b="0" i="0" u="none" strike="noStrike" kern="0" cap="none" spc="0" normalizeH="0" baseline="0" noProof="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8572500" y="4861548"/>
            <a:ext cx="285750" cy="154331"/>
          </a:xfrm>
          <a:prstGeom prst="rect">
            <a:avLst/>
          </a:prstGeom>
          <a:noFill/>
        </p:spPr>
        <p:txBody>
          <a:bodyPr wrap="square" lIns="0" tIns="0" rIns="0" bIns="0" rtlCol="0" anchor="ctr">
            <a:noAutofit/>
          </a:bodyPr>
          <a:lstStyle/>
          <a:p>
            <a:pPr marL="0" marR="0" lvl="0" indent="0" algn="r" defTabSz="171450" eaLnBrk="1" fontAlgn="auto" latinLnBrk="0" hangingPunct="1">
              <a:lnSpc>
                <a:spcPct val="100000"/>
              </a:lnSpc>
              <a:spcBef>
                <a:spcPts val="0"/>
              </a:spcBef>
              <a:spcAft>
                <a:spcPts val="900"/>
              </a:spcAft>
              <a:buClrTx/>
              <a:buSzTx/>
              <a:buFontTx/>
              <a:buNone/>
              <a:tabLst/>
              <a:defRPr/>
            </a:pPr>
            <a:fld id="{8A1971D9-5B62-3C46-9EC9-FDAAB88557B2}" type="slidenum">
              <a:rPr kumimoji="0" lang="en-GB" sz="600" b="0" i="0" u="none" strike="noStrike" kern="0" cap="none" spc="0" normalizeH="0" baseline="0" noProof="0" smtClean="0">
                <a:ln>
                  <a:noFill/>
                </a:ln>
                <a:solidFill>
                  <a:srgbClr val="FFFFFF">
                    <a:alpha val="75000"/>
                  </a:srgbClr>
                </a:solidFill>
                <a:effectLst/>
                <a:uLnTx/>
                <a:uFillTx/>
              </a:rPr>
              <a:pPr marL="0" marR="0" lvl="0" indent="0" algn="r" defTabSz="171450" eaLnBrk="1" fontAlgn="auto" latinLnBrk="0" hangingPunct="1">
                <a:lnSpc>
                  <a:spcPct val="100000"/>
                </a:lnSpc>
                <a:spcBef>
                  <a:spcPts val="0"/>
                </a:spcBef>
                <a:spcAft>
                  <a:spcPts val="900"/>
                </a:spcAft>
                <a:buClrTx/>
                <a:buSzTx/>
                <a:buFontTx/>
                <a:buNone/>
                <a:tabLst/>
                <a:defRPr/>
              </a:pPr>
              <a:t>‹#›</a:t>
            </a:fld>
            <a:endParaRPr kumimoji="0" lang="en-US" sz="1350" b="0" i="0" u="none" strike="noStrike" kern="0" cap="none" spc="0" normalizeH="0" baseline="0" noProof="0">
              <a:ln>
                <a:noFill/>
              </a:ln>
              <a:solidFill>
                <a:srgbClr val="FFFFFF">
                  <a:alpha val="75000"/>
                </a:srgbClr>
              </a:solidFill>
              <a:effectLst/>
              <a:uLnTx/>
              <a:uFillTx/>
            </a:endParaRPr>
          </a:p>
        </p:txBody>
      </p:sp>
      <p:cxnSp>
        <p:nvCxnSpPr>
          <p:cNvPr id="8" name="Straight Connector 41">
            <a:extLst>
              <a:ext uri="{FF2B5EF4-FFF2-40B4-BE49-F238E27FC236}">
                <a16:creationId xmlns:a16="http://schemas.microsoft.com/office/drawing/2014/main" id="{078C07C1-551F-4AAE-8B41-271FD6C44491}"/>
              </a:ext>
            </a:extLst>
          </p:cNvPr>
          <p:cNvCxnSpPr/>
          <p:nvPr userDrawn="1"/>
        </p:nvCxnSpPr>
        <p:spPr>
          <a:xfrm>
            <a:off x="-189480" y="1035033"/>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792C5396-7EA2-417E-9F8C-17F606EE0E62}"/>
              </a:ext>
            </a:extLst>
          </p:cNvPr>
          <p:cNvCxnSpPr/>
          <p:nvPr userDrawn="1"/>
        </p:nvCxnSpPr>
        <p:spPr>
          <a:xfrm>
            <a:off x="-189480" y="1247046"/>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61041389-1F9C-4DC9-B7E8-6A1767596B18}"/>
              </a:ext>
            </a:extLst>
          </p:cNvPr>
          <p:cNvSpPr txBox="1"/>
          <p:nvPr userDrawn="1"/>
        </p:nvSpPr>
        <p:spPr>
          <a:xfrm>
            <a:off x="-1577059" y="1162268"/>
            <a:ext cx="1334149" cy="16691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Upper Guide Content</a:t>
            </a:r>
          </a:p>
        </p:txBody>
      </p:sp>
      <p:sp>
        <p:nvSpPr>
          <p:cNvPr id="11" name="TextBox 52">
            <a:extLst>
              <a:ext uri="{FF2B5EF4-FFF2-40B4-BE49-F238E27FC236}">
                <a16:creationId xmlns:a16="http://schemas.microsoft.com/office/drawing/2014/main" id="{63E93547-D28A-4ED7-8435-98F986CAD2A6}"/>
              </a:ext>
            </a:extLst>
          </p:cNvPr>
          <p:cNvSpPr txBox="1"/>
          <p:nvPr userDrawn="1"/>
        </p:nvSpPr>
        <p:spPr>
          <a:xfrm>
            <a:off x="-1574910" y="231306"/>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Tagline</a:t>
            </a:r>
          </a:p>
        </p:txBody>
      </p:sp>
      <p:cxnSp>
        <p:nvCxnSpPr>
          <p:cNvPr id="12" name="Straight Connector 53">
            <a:extLst>
              <a:ext uri="{FF2B5EF4-FFF2-40B4-BE49-F238E27FC236}">
                <a16:creationId xmlns:a16="http://schemas.microsoft.com/office/drawing/2014/main" id="{A81079E3-37A3-4C31-AFE8-A8385B82713C}"/>
              </a:ext>
            </a:extLst>
          </p:cNvPr>
          <p:cNvCxnSpPr>
            <a:cxnSpLocks/>
          </p:cNvCxnSpPr>
          <p:nvPr userDrawn="1"/>
        </p:nvCxnSpPr>
        <p:spPr>
          <a:xfrm flipV="1">
            <a:off x="-189480" y="287465"/>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0ED34561-138A-4716-A216-1A7CF7BA6703}"/>
              </a:ext>
            </a:extLst>
          </p:cNvPr>
          <p:cNvSpPr txBox="1">
            <a:spLocks/>
          </p:cNvSpPr>
          <p:nvPr userDrawn="1"/>
        </p:nvSpPr>
        <p:spPr>
          <a:xfrm>
            <a:off x="-1394910" y="2326947"/>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Primary color 3</a:t>
            </a:r>
          </a:p>
        </p:txBody>
      </p:sp>
      <p:sp>
        <p:nvSpPr>
          <p:cNvPr id="14" name="Rectangle 55">
            <a:extLst>
              <a:ext uri="{FF2B5EF4-FFF2-40B4-BE49-F238E27FC236}">
                <a16:creationId xmlns:a16="http://schemas.microsoft.com/office/drawing/2014/main" id="{B5F0178F-B62F-4B38-A604-97479AEA9C2D}"/>
              </a:ext>
            </a:extLst>
          </p:cNvPr>
          <p:cNvSpPr/>
          <p:nvPr userDrawn="1"/>
        </p:nvSpPr>
        <p:spPr bwMode="gray">
          <a:xfrm>
            <a:off x="-243540" y="2326949"/>
            <a:ext cx="135000" cy="135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16" name="TextBox 56">
            <a:extLst>
              <a:ext uri="{FF2B5EF4-FFF2-40B4-BE49-F238E27FC236}">
                <a16:creationId xmlns:a16="http://schemas.microsoft.com/office/drawing/2014/main" id="{4C645998-651D-4BA5-BA7D-C488B2F3CD06}"/>
              </a:ext>
            </a:extLst>
          </p:cNvPr>
          <p:cNvSpPr txBox="1">
            <a:spLocks/>
          </p:cNvSpPr>
          <p:nvPr userDrawn="1"/>
        </p:nvSpPr>
        <p:spPr>
          <a:xfrm>
            <a:off x="-1394910" y="2005451"/>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Primary color 1</a:t>
            </a:r>
          </a:p>
        </p:txBody>
      </p:sp>
      <p:sp>
        <p:nvSpPr>
          <p:cNvPr id="17" name="Rectangle 57">
            <a:extLst>
              <a:ext uri="{FF2B5EF4-FFF2-40B4-BE49-F238E27FC236}">
                <a16:creationId xmlns:a16="http://schemas.microsoft.com/office/drawing/2014/main" id="{D29EE68C-AF9C-4A4C-AC73-51BC8B2B4C65}"/>
              </a:ext>
            </a:extLst>
          </p:cNvPr>
          <p:cNvSpPr/>
          <p:nvPr userDrawn="1"/>
        </p:nvSpPr>
        <p:spPr bwMode="gray">
          <a:xfrm>
            <a:off x="-243540" y="2005451"/>
            <a:ext cx="135000" cy="135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8" name="Rectangle 58">
            <a:extLst>
              <a:ext uri="{FF2B5EF4-FFF2-40B4-BE49-F238E27FC236}">
                <a16:creationId xmlns:a16="http://schemas.microsoft.com/office/drawing/2014/main" id="{6DF04AC0-8C20-4DD3-A9DD-7C81B8444EEE}"/>
              </a:ext>
            </a:extLst>
          </p:cNvPr>
          <p:cNvSpPr/>
          <p:nvPr userDrawn="1"/>
        </p:nvSpPr>
        <p:spPr bwMode="gray">
          <a:xfrm>
            <a:off x="-243540" y="2166200"/>
            <a:ext cx="135000" cy="135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19" name="TextBox 59">
            <a:extLst>
              <a:ext uri="{FF2B5EF4-FFF2-40B4-BE49-F238E27FC236}">
                <a16:creationId xmlns:a16="http://schemas.microsoft.com/office/drawing/2014/main" id="{DAD2B414-9DE2-428B-8F3C-D6E279535288}"/>
              </a:ext>
            </a:extLst>
          </p:cNvPr>
          <p:cNvSpPr txBox="1">
            <a:spLocks/>
          </p:cNvSpPr>
          <p:nvPr userDrawn="1"/>
        </p:nvSpPr>
        <p:spPr>
          <a:xfrm>
            <a:off x="-1394910" y="2166200"/>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Primary color 2</a:t>
            </a:r>
          </a:p>
        </p:txBody>
      </p:sp>
      <p:sp>
        <p:nvSpPr>
          <p:cNvPr id="20" name="TextBox 65">
            <a:extLst>
              <a:ext uri="{FF2B5EF4-FFF2-40B4-BE49-F238E27FC236}">
                <a16:creationId xmlns:a16="http://schemas.microsoft.com/office/drawing/2014/main" id="{EB7954A0-BB5F-449F-83EB-18DEF908575A}"/>
              </a:ext>
            </a:extLst>
          </p:cNvPr>
          <p:cNvSpPr txBox="1"/>
          <p:nvPr userDrawn="1"/>
        </p:nvSpPr>
        <p:spPr>
          <a:xfrm>
            <a:off x="-1394910" y="4364925"/>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White</a:t>
            </a:r>
          </a:p>
        </p:txBody>
      </p:sp>
      <p:sp>
        <p:nvSpPr>
          <p:cNvPr id="21" name="Rectangle 67">
            <a:extLst>
              <a:ext uri="{FF2B5EF4-FFF2-40B4-BE49-F238E27FC236}">
                <a16:creationId xmlns:a16="http://schemas.microsoft.com/office/drawing/2014/main" id="{4B68D771-17B4-44F4-A9D2-734672BB4056}"/>
              </a:ext>
            </a:extLst>
          </p:cNvPr>
          <p:cNvSpPr/>
          <p:nvPr userDrawn="1"/>
        </p:nvSpPr>
        <p:spPr bwMode="gray">
          <a:xfrm>
            <a:off x="-243540" y="4364927"/>
            <a:ext cx="135000" cy="135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8">
            <a:extLst>
              <a:ext uri="{FF2B5EF4-FFF2-40B4-BE49-F238E27FC236}">
                <a16:creationId xmlns:a16="http://schemas.microsoft.com/office/drawing/2014/main" id="{906E4161-7178-4BDD-9ABB-6991A6C28237}"/>
              </a:ext>
            </a:extLst>
          </p:cNvPr>
          <p:cNvSpPr>
            <a:spLocks/>
          </p:cNvSpPr>
          <p:nvPr userDrawn="1"/>
        </p:nvSpPr>
        <p:spPr bwMode="gray">
          <a:xfrm>
            <a:off x="-243663" y="3721933"/>
            <a:ext cx="135000" cy="135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23" name="TextBox 69">
            <a:extLst>
              <a:ext uri="{FF2B5EF4-FFF2-40B4-BE49-F238E27FC236}">
                <a16:creationId xmlns:a16="http://schemas.microsoft.com/office/drawing/2014/main" id="{D944F459-8C34-49FC-86D8-7BF8841AF5D7}"/>
              </a:ext>
            </a:extLst>
          </p:cNvPr>
          <p:cNvSpPr txBox="1">
            <a:spLocks/>
          </p:cNvSpPr>
          <p:nvPr userDrawn="1"/>
        </p:nvSpPr>
        <p:spPr>
          <a:xfrm>
            <a:off x="-1394910" y="3721931"/>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4" name="TextBox 70">
            <a:extLst>
              <a:ext uri="{FF2B5EF4-FFF2-40B4-BE49-F238E27FC236}">
                <a16:creationId xmlns:a16="http://schemas.microsoft.com/office/drawing/2014/main" id="{3EA1FA29-D2E5-4E87-BFA2-3A3234DFC1DF}"/>
              </a:ext>
            </a:extLst>
          </p:cNvPr>
          <p:cNvSpPr txBox="1"/>
          <p:nvPr userDrawn="1"/>
        </p:nvSpPr>
        <p:spPr>
          <a:xfrm>
            <a:off x="-1574910" y="977158"/>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Sub-Headline Line</a:t>
            </a:r>
          </a:p>
        </p:txBody>
      </p:sp>
      <p:cxnSp>
        <p:nvCxnSpPr>
          <p:cNvPr id="25" name="Straight Connector 71">
            <a:extLst>
              <a:ext uri="{FF2B5EF4-FFF2-40B4-BE49-F238E27FC236}">
                <a16:creationId xmlns:a16="http://schemas.microsoft.com/office/drawing/2014/main" id="{7DAF8E0F-69A8-46C0-A553-8F7AEB8DE9F8}"/>
              </a:ext>
            </a:extLst>
          </p:cNvPr>
          <p:cNvCxnSpPr/>
          <p:nvPr userDrawn="1"/>
        </p:nvCxnSpPr>
        <p:spPr>
          <a:xfrm>
            <a:off x="-204720" y="4706304"/>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6" name="TextBox 54">
            <a:extLst>
              <a:ext uri="{FF2B5EF4-FFF2-40B4-BE49-F238E27FC236}">
                <a16:creationId xmlns:a16="http://schemas.microsoft.com/office/drawing/2014/main" id="{C3BF8CAB-2B52-4268-A0F8-7C3911F1884E}"/>
              </a:ext>
            </a:extLst>
          </p:cNvPr>
          <p:cNvSpPr txBox="1">
            <a:spLocks/>
          </p:cNvSpPr>
          <p:nvPr userDrawn="1"/>
        </p:nvSpPr>
        <p:spPr>
          <a:xfrm>
            <a:off x="-944910" y="2979469"/>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3</a:t>
            </a:r>
          </a:p>
        </p:txBody>
      </p:sp>
      <p:sp>
        <p:nvSpPr>
          <p:cNvPr id="27" name="Rectangle 55">
            <a:extLst>
              <a:ext uri="{FF2B5EF4-FFF2-40B4-BE49-F238E27FC236}">
                <a16:creationId xmlns:a16="http://schemas.microsoft.com/office/drawing/2014/main" id="{9C8ABB66-0F3D-452F-9D5C-84728B06FEA9}"/>
              </a:ext>
            </a:extLst>
          </p:cNvPr>
          <p:cNvSpPr/>
          <p:nvPr userDrawn="1"/>
        </p:nvSpPr>
        <p:spPr bwMode="gray">
          <a:xfrm>
            <a:off x="-243663" y="2979469"/>
            <a:ext cx="135000" cy="135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28" name="TextBox 56">
            <a:extLst>
              <a:ext uri="{FF2B5EF4-FFF2-40B4-BE49-F238E27FC236}">
                <a16:creationId xmlns:a16="http://schemas.microsoft.com/office/drawing/2014/main" id="{CECA7EC2-36A2-484A-B6D2-098E572F54CC}"/>
              </a:ext>
            </a:extLst>
          </p:cNvPr>
          <p:cNvSpPr txBox="1">
            <a:spLocks/>
          </p:cNvSpPr>
          <p:nvPr userDrawn="1"/>
        </p:nvSpPr>
        <p:spPr>
          <a:xfrm>
            <a:off x="-944910" y="2651854"/>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1</a:t>
            </a:r>
          </a:p>
        </p:txBody>
      </p:sp>
      <p:sp>
        <p:nvSpPr>
          <p:cNvPr id="29" name="Rectangle 57">
            <a:extLst>
              <a:ext uri="{FF2B5EF4-FFF2-40B4-BE49-F238E27FC236}">
                <a16:creationId xmlns:a16="http://schemas.microsoft.com/office/drawing/2014/main" id="{BF1416A3-67B1-4A11-9530-7D420FB4B25E}"/>
              </a:ext>
            </a:extLst>
          </p:cNvPr>
          <p:cNvSpPr/>
          <p:nvPr userDrawn="1"/>
        </p:nvSpPr>
        <p:spPr bwMode="gray">
          <a:xfrm>
            <a:off x="-243663" y="2651854"/>
            <a:ext cx="135000" cy="135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30" name="Rectangle 58">
            <a:extLst>
              <a:ext uri="{FF2B5EF4-FFF2-40B4-BE49-F238E27FC236}">
                <a16:creationId xmlns:a16="http://schemas.microsoft.com/office/drawing/2014/main" id="{ED469E8A-F7B6-4C6C-9002-9F30A16BB313}"/>
              </a:ext>
            </a:extLst>
          </p:cNvPr>
          <p:cNvSpPr/>
          <p:nvPr userDrawn="1"/>
        </p:nvSpPr>
        <p:spPr bwMode="gray">
          <a:xfrm>
            <a:off x="-243663" y="2815661"/>
            <a:ext cx="135000" cy="135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31" name="TextBox 59">
            <a:extLst>
              <a:ext uri="{FF2B5EF4-FFF2-40B4-BE49-F238E27FC236}">
                <a16:creationId xmlns:a16="http://schemas.microsoft.com/office/drawing/2014/main" id="{30754393-B662-466F-90E3-E5C3A2116B1E}"/>
              </a:ext>
            </a:extLst>
          </p:cNvPr>
          <p:cNvSpPr txBox="1">
            <a:spLocks/>
          </p:cNvSpPr>
          <p:nvPr userDrawn="1"/>
        </p:nvSpPr>
        <p:spPr>
          <a:xfrm>
            <a:off x="-944910" y="2815661"/>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2</a:t>
            </a:r>
          </a:p>
        </p:txBody>
      </p:sp>
      <p:sp>
        <p:nvSpPr>
          <p:cNvPr id="32" name="Rectangle 66">
            <a:extLst>
              <a:ext uri="{FF2B5EF4-FFF2-40B4-BE49-F238E27FC236}">
                <a16:creationId xmlns:a16="http://schemas.microsoft.com/office/drawing/2014/main" id="{C3AB98F8-963F-4AA1-8E85-631653F5C3A9}"/>
              </a:ext>
            </a:extLst>
          </p:cNvPr>
          <p:cNvSpPr/>
          <p:nvPr userDrawn="1"/>
        </p:nvSpPr>
        <p:spPr bwMode="gray">
          <a:xfrm>
            <a:off x="-243540" y="4206391"/>
            <a:ext cx="135000" cy="135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33" name="TextBox 54">
            <a:extLst>
              <a:ext uri="{FF2B5EF4-FFF2-40B4-BE49-F238E27FC236}">
                <a16:creationId xmlns:a16="http://schemas.microsoft.com/office/drawing/2014/main" id="{66E416EE-BFA8-4699-98D6-4BB87BEDB994}"/>
              </a:ext>
            </a:extLst>
          </p:cNvPr>
          <p:cNvSpPr txBox="1"/>
          <p:nvPr userDrawn="1"/>
        </p:nvSpPr>
        <p:spPr>
          <a:xfrm>
            <a:off x="-647910" y="4206391"/>
            <a:ext cx="405000" cy="135000"/>
          </a:xfrm>
          <a:prstGeom prst="rect">
            <a:avLst/>
          </a:prstGeom>
          <a:noFill/>
        </p:spPr>
        <p:txBody>
          <a:bodyPr wrap="square" lIns="0" tIns="0" rIns="99692"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Grey 3</a:t>
            </a:r>
          </a:p>
        </p:txBody>
      </p:sp>
      <p:sp>
        <p:nvSpPr>
          <p:cNvPr id="34" name="Rectangle 60">
            <a:extLst>
              <a:ext uri="{FF2B5EF4-FFF2-40B4-BE49-F238E27FC236}">
                <a16:creationId xmlns:a16="http://schemas.microsoft.com/office/drawing/2014/main" id="{6CD9662E-4002-4CEE-B538-DADB2F958DB6}"/>
              </a:ext>
            </a:extLst>
          </p:cNvPr>
          <p:cNvSpPr/>
          <p:nvPr userDrawn="1"/>
        </p:nvSpPr>
        <p:spPr bwMode="gray">
          <a:xfrm>
            <a:off x="-243540" y="3887659"/>
            <a:ext cx="135000" cy="135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35" name="TextBox 56">
            <a:extLst>
              <a:ext uri="{FF2B5EF4-FFF2-40B4-BE49-F238E27FC236}">
                <a16:creationId xmlns:a16="http://schemas.microsoft.com/office/drawing/2014/main" id="{ABAE4B02-322B-4630-AA3D-3C24BC62B292}"/>
              </a:ext>
            </a:extLst>
          </p:cNvPr>
          <p:cNvSpPr txBox="1"/>
          <p:nvPr userDrawn="1"/>
        </p:nvSpPr>
        <p:spPr>
          <a:xfrm>
            <a:off x="-647910" y="3887659"/>
            <a:ext cx="405000" cy="135000"/>
          </a:xfrm>
          <a:prstGeom prst="rect">
            <a:avLst/>
          </a:prstGeom>
          <a:noFill/>
        </p:spPr>
        <p:txBody>
          <a:bodyPr wrap="square" lIns="0" tIns="0" rIns="99692"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Grey 1</a:t>
            </a:r>
          </a:p>
        </p:txBody>
      </p:sp>
      <p:sp>
        <p:nvSpPr>
          <p:cNvPr id="36" name="Rectangle 61">
            <a:extLst>
              <a:ext uri="{FF2B5EF4-FFF2-40B4-BE49-F238E27FC236}">
                <a16:creationId xmlns:a16="http://schemas.microsoft.com/office/drawing/2014/main" id="{2B4069F8-6CF5-4D6B-9CAB-FC596587F35D}"/>
              </a:ext>
            </a:extLst>
          </p:cNvPr>
          <p:cNvSpPr/>
          <p:nvPr userDrawn="1"/>
        </p:nvSpPr>
        <p:spPr bwMode="gray">
          <a:xfrm>
            <a:off x="-243663" y="4047025"/>
            <a:ext cx="135000" cy="135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37" name="TextBox 59">
            <a:extLst>
              <a:ext uri="{FF2B5EF4-FFF2-40B4-BE49-F238E27FC236}">
                <a16:creationId xmlns:a16="http://schemas.microsoft.com/office/drawing/2014/main" id="{BEA551D9-B919-4578-8384-C858F5A7D73E}"/>
              </a:ext>
            </a:extLst>
          </p:cNvPr>
          <p:cNvSpPr txBox="1"/>
          <p:nvPr userDrawn="1"/>
        </p:nvSpPr>
        <p:spPr>
          <a:xfrm>
            <a:off x="-647910" y="4047025"/>
            <a:ext cx="405000" cy="135000"/>
          </a:xfrm>
          <a:prstGeom prst="rect">
            <a:avLst/>
          </a:prstGeom>
          <a:noFill/>
        </p:spPr>
        <p:txBody>
          <a:bodyPr wrap="square" lIns="0" tIns="0" rIns="99692"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Grey 2</a:t>
            </a:r>
          </a:p>
        </p:txBody>
      </p:sp>
      <p:sp>
        <p:nvSpPr>
          <p:cNvPr id="38" name="TextBox 73">
            <a:extLst>
              <a:ext uri="{FF2B5EF4-FFF2-40B4-BE49-F238E27FC236}">
                <a16:creationId xmlns:a16="http://schemas.microsoft.com/office/drawing/2014/main" id="{F70C6268-9316-402C-9F74-B5C242CA1B99}"/>
              </a:ext>
            </a:extLst>
          </p:cNvPr>
          <p:cNvSpPr txBox="1"/>
          <p:nvPr userDrawn="1"/>
        </p:nvSpPr>
        <p:spPr>
          <a:xfrm>
            <a:off x="315535" y="-174789"/>
            <a:ext cx="1403859" cy="95729"/>
          </a:xfrm>
          <a:prstGeom prst="rect">
            <a:avLst/>
          </a:prstGeom>
          <a:noFill/>
        </p:spPr>
        <p:txBody>
          <a:bodyPr wrap="square" lIns="66461" tIns="0" rIns="0"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Begin Content Area</a:t>
            </a:r>
          </a:p>
        </p:txBody>
      </p:sp>
      <p:sp>
        <p:nvSpPr>
          <p:cNvPr id="39" name="TextBox 74">
            <a:extLst>
              <a:ext uri="{FF2B5EF4-FFF2-40B4-BE49-F238E27FC236}">
                <a16:creationId xmlns:a16="http://schemas.microsoft.com/office/drawing/2014/main" id="{3B2681FE-B05A-4DC6-A6CE-2D6D53AE237B}"/>
              </a:ext>
            </a:extLst>
          </p:cNvPr>
          <p:cNvSpPr txBox="1"/>
          <p:nvPr userDrawn="1"/>
        </p:nvSpPr>
        <p:spPr>
          <a:xfrm>
            <a:off x="7521731" y="-166674"/>
            <a:ext cx="1370452" cy="108000"/>
          </a:xfrm>
          <a:prstGeom prst="rect">
            <a:avLst/>
          </a:prstGeom>
          <a:noFill/>
        </p:spPr>
        <p:txBody>
          <a:bodyPr wrap="square" lIns="0" tIns="0" rIns="66461"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End Content Area</a:t>
            </a:r>
          </a:p>
        </p:txBody>
      </p:sp>
      <p:sp>
        <p:nvSpPr>
          <p:cNvPr id="40" name="TextBox 75">
            <a:extLst>
              <a:ext uri="{FF2B5EF4-FFF2-40B4-BE49-F238E27FC236}">
                <a16:creationId xmlns:a16="http://schemas.microsoft.com/office/drawing/2014/main" id="{F5660B5B-CEA6-478B-B0A8-E04317E25060}"/>
              </a:ext>
            </a:extLst>
          </p:cNvPr>
          <p:cNvSpPr txBox="1"/>
          <p:nvPr userDrawn="1"/>
        </p:nvSpPr>
        <p:spPr>
          <a:xfrm>
            <a:off x="4580404" y="-166674"/>
            <a:ext cx="1370452" cy="108000"/>
          </a:xfrm>
          <a:prstGeom prst="rect">
            <a:avLst/>
          </a:prstGeom>
          <a:noFill/>
        </p:spPr>
        <p:txBody>
          <a:bodyPr wrap="square" lIns="66461" tIns="0" rIns="0"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1" name="Straight Connector 77">
            <a:extLst>
              <a:ext uri="{FF2B5EF4-FFF2-40B4-BE49-F238E27FC236}">
                <a16:creationId xmlns:a16="http://schemas.microsoft.com/office/drawing/2014/main" id="{7B6333BB-4C76-49CC-8398-2E47EBF0E6D5}"/>
              </a:ext>
            </a:extLst>
          </p:cNvPr>
          <p:cNvCxnSpPr>
            <a:cxnSpLocks/>
          </p:cNvCxnSpPr>
          <p:nvPr userDrawn="1"/>
        </p:nvCxnSpPr>
        <p:spPr>
          <a:xfrm flipV="1">
            <a:off x="4572000" y="-146561"/>
            <a:ext cx="0" cy="135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76">
            <a:extLst>
              <a:ext uri="{FF2B5EF4-FFF2-40B4-BE49-F238E27FC236}">
                <a16:creationId xmlns:a16="http://schemas.microsoft.com/office/drawing/2014/main" id="{DFA9F1EC-3869-4908-B543-F6E8BB7954F5}"/>
              </a:ext>
            </a:extLst>
          </p:cNvPr>
          <p:cNvCxnSpPr>
            <a:cxnSpLocks/>
          </p:cNvCxnSpPr>
          <p:nvPr userDrawn="1"/>
        </p:nvCxnSpPr>
        <p:spPr>
          <a:xfrm flipV="1">
            <a:off x="285750" y="-146561"/>
            <a:ext cx="0" cy="135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3" name="TextBox 70">
            <a:extLst>
              <a:ext uri="{FF2B5EF4-FFF2-40B4-BE49-F238E27FC236}">
                <a16:creationId xmlns:a16="http://schemas.microsoft.com/office/drawing/2014/main" id="{8DDD5E7A-53D8-4C19-930F-0C240C39DB7E}"/>
              </a:ext>
            </a:extLst>
          </p:cNvPr>
          <p:cNvSpPr txBox="1"/>
          <p:nvPr userDrawn="1"/>
        </p:nvSpPr>
        <p:spPr>
          <a:xfrm>
            <a:off x="-1574910" y="763610"/>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Headline Line</a:t>
            </a:r>
          </a:p>
        </p:txBody>
      </p:sp>
      <p:cxnSp>
        <p:nvCxnSpPr>
          <p:cNvPr id="44" name="Straight Connector 71">
            <a:extLst>
              <a:ext uri="{FF2B5EF4-FFF2-40B4-BE49-F238E27FC236}">
                <a16:creationId xmlns:a16="http://schemas.microsoft.com/office/drawing/2014/main" id="{EE860C1A-0543-4B1D-8368-6897A7EC6D8B}"/>
              </a:ext>
            </a:extLst>
          </p:cNvPr>
          <p:cNvCxnSpPr/>
          <p:nvPr userDrawn="1"/>
        </p:nvCxnSpPr>
        <p:spPr>
          <a:xfrm>
            <a:off x="-204720" y="4839893"/>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1">
            <a:extLst>
              <a:ext uri="{FF2B5EF4-FFF2-40B4-BE49-F238E27FC236}">
                <a16:creationId xmlns:a16="http://schemas.microsoft.com/office/drawing/2014/main" id="{EB996C1E-D37F-44CE-BC75-F006793749F0}"/>
              </a:ext>
            </a:extLst>
          </p:cNvPr>
          <p:cNvCxnSpPr/>
          <p:nvPr userDrawn="1"/>
        </p:nvCxnSpPr>
        <p:spPr>
          <a:xfrm>
            <a:off x="-189480" y="815720"/>
            <a:ext cx="13716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6" name="TextBox 54">
            <a:extLst>
              <a:ext uri="{FF2B5EF4-FFF2-40B4-BE49-F238E27FC236}">
                <a16:creationId xmlns:a16="http://schemas.microsoft.com/office/drawing/2014/main" id="{723C54E6-F15E-40E9-BA40-3E6B79647CED}"/>
              </a:ext>
            </a:extLst>
          </p:cNvPr>
          <p:cNvSpPr txBox="1">
            <a:spLocks/>
          </p:cNvSpPr>
          <p:nvPr userDrawn="1"/>
        </p:nvSpPr>
        <p:spPr>
          <a:xfrm>
            <a:off x="-944910" y="3307082"/>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5</a:t>
            </a:r>
          </a:p>
        </p:txBody>
      </p:sp>
      <p:sp>
        <p:nvSpPr>
          <p:cNvPr id="47" name="Rectangle 55">
            <a:extLst>
              <a:ext uri="{FF2B5EF4-FFF2-40B4-BE49-F238E27FC236}">
                <a16:creationId xmlns:a16="http://schemas.microsoft.com/office/drawing/2014/main" id="{DDFDD0E5-1D4A-41C9-A3AF-778B3C57EA43}"/>
              </a:ext>
            </a:extLst>
          </p:cNvPr>
          <p:cNvSpPr/>
          <p:nvPr userDrawn="1"/>
        </p:nvSpPr>
        <p:spPr bwMode="gray">
          <a:xfrm>
            <a:off x="-243663" y="3307084"/>
            <a:ext cx="135000" cy="135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48" name="Rectangle 58">
            <a:extLst>
              <a:ext uri="{FF2B5EF4-FFF2-40B4-BE49-F238E27FC236}">
                <a16:creationId xmlns:a16="http://schemas.microsoft.com/office/drawing/2014/main" id="{2CB8800B-B132-40C4-B9C1-534E3E39922A}"/>
              </a:ext>
            </a:extLst>
          </p:cNvPr>
          <p:cNvSpPr/>
          <p:nvPr userDrawn="1"/>
        </p:nvSpPr>
        <p:spPr bwMode="gray">
          <a:xfrm>
            <a:off x="-243663" y="3143276"/>
            <a:ext cx="135000" cy="135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49" name="TextBox 59">
            <a:extLst>
              <a:ext uri="{FF2B5EF4-FFF2-40B4-BE49-F238E27FC236}">
                <a16:creationId xmlns:a16="http://schemas.microsoft.com/office/drawing/2014/main" id="{6ED75C68-0418-4675-8D74-D913F119451F}"/>
              </a:ext>
            </a:extLst>
          </p:cNvPr>
          <p:cNvSpPr txBox="1">
            <a:spLocks/>
          </p:cNvSpPr>
          <p:nvPr userDrawn="1"/>
        </p:nvSpPr>
        <p:spPr>
          <a:xfrm>
            <a:off x="-944910" y="3143276"/>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4</a:t>
            </a:r>
          </a:p>
        </p:txBody>
      </p:sp>
      <p:cxnSp>
        <p:nvCxnSpPr>
          <p:cNvPr id="50" name="Straight Connector 77">
            <a:extLst>
              <a:ext uri="{FF2B5EF4-FFF2-40B4-BE49-F238E27FC236}">
                <a16:creationId xmlns:a16="http://schemas.microsoft.com/office/drawing/2014/main" id="{5A7C8021-455A-455B-B9DB-C12CAAED8A4C}"/>
              </a:ext>
            </a:extLst>
          </p:cNvPr>
          <p:cNvCxnSpPr>
            <a:cxnSpLocks/>
          </p:cNvCxnSpPr>
          <p:nvPr userDrawn="1"/>
        </p:nvCxnSpPr>
        <p:spPr>
          <a:xfrm flipV="1">
            <a:off x="8855963" y="-146561"/>
            <a:ext cx="0" cy="135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1" name="TextBox 72">
            <a:extLst>
              <a:ext uri="{FF2B5EF4-FFF2-40B4-BE49-F238E27FC236}">
                <a16:creationId xmlns:a16="http://schemas.microsoft.com/office/drawing/2014/main" id="{309029D0-FBD1-4081-8F3F-1E9D71335AED}"/>
              </a:ext>
            </a:extLst>
          </p:cNvPr>
          <p:cNvSpPr txBox="1"/>
          <p:nvPr userDrawn="1"/>
        </p:nvSpPr>
        <p:spPr>
          <a:xfrm>
            <a:off x="-1574910" y="4653466"/>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1468426138"/>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Master: Purple">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5751" y="342900"/>
            <a:ext cx="4286249" cy="2314575"/>
          </a:xfrm>
        </p:spPr>
        <p:txBody>
          <a:bodyPr tIns="0" anchor="t" anchorCtr="0">
            <a:noAutofit/>
          </a:bodyPr>
          <a:lstStyle>
            <a:lvl1pPr algn="l">
              <a:lnSpc>
                <a:spcPct val="70000"/>
              </a:lnSpc>
              <a:defRPr sz="3600" b="0">
                <a:solidFill>
                  <a:schemeClr val="tx1"/>
                </a:solidFill>
                <a:latin typeface="Arial Black" panose="020B0A04020102020204" pitchFamily="34" charset="0"/>
              </a:defRPr>
            </a:lvl1pPr>
          </a:lstStyle>
          <a:p>
            <a:r>
              <a:rPr lang="en-US"/>
              <a:t>Click to edit title</a:t>
            </a:r>
          </a:p>
        </p:txBody>
      </p:sp>
      <p:sp>
        <p:nvSpPr>
          <p:cNvPr id="8" name="Text Placeholder 7"/>
          <p:cNvSpPr>
            <a:spLocks noGrp="1"/>
          </p:cNvSpPr>
          <p:nvPr>
            <p:ph type="body" sz="quarter" idx="13" hasCustomPrompt="1"/>
          </p:nvPr>
        </p:nvSpPr>
        <p:spPr>
          <a:xfrm>
            <a:off x="285750" y="3600450"/>
            <a:ext cx="4286250" cy="1428752"/>
          </a:xfrm>
        </p:spPr>
        <p:txBody>
          <a:bodyPr>
            <a:noAutofit/>
          </a:bodyPr>
          <a:lstStyle>
            <a:lvl1pPr marL="0" indent="0">
              <a:lnSpc>
                <a:spcPct val="70000"/>
              </a:lnSpc>
              <a:defRPr sz="2400" b="1" baseline="0">
                <a:solidFill>
                  <a:schemeClr val="tx1"/>
                </a:solidFill>
                <a:latin typeface="Arial" panose="020B0604020202020204" pitchFamily="34" charset="0"/>
              </a:defRPr>
            </a:lvl1pPr>
            <a:lvl2pPr marL="0" indent="0">
              <a:lnSpc>
                <a:spcPct val="100000"/>
              </a:lnSpc>
              <a:spcAft>
                <a:spcPts val="0"/>
              </a:spcAft>
              <a:defRPr sz="1800" b="0" cap="none" baseline="0">
                <a:solidFill>
                  <a:schemeClr val="tx1"/>
                </a:solidFill>
                <a:latin typeface="Arial" panose="020B0604020202020204" pitchFamily="34" charset="0"/>
              </a:defRPr>
            </a:lvl2pPr>
            <a:lvl3pPr marL="0" indent="0">
              <a:lnSpc>
                <a:spcPct val="100000"/>
              </a:lnSpc>
              <a:spcAft>
                <a:spcPts val="0"/>
              </a:spcAft>
              <a:defRPr sz="1350" b="0" cap="none" baseline="0">
                <a:solidFill>
                  <a:schemeClr val="tx1"/>
                </a:solidFill>
                <a:latin typeface="+mn-lt"/>
              </a:defRPr>
            </a:lvl3pPr>
            <a:lvl4pPr marL="0" indent="0">
              <a:lnSpc>
                <a:spcPct val="100000"/>
              </a:lnSpc>
              <a:buNone/>
              <a:defRPr sz="1350" b="0" cap="none" baseline="0">
                <a:solidFill>
                  <a:schemeClr val="tx1"/>
                </a:solidFill>
                <a:latin typeface="+mn-lt"/>
              </a:defRPr>
            </a:lvl4pPr>
            <a:lvl5pPr marL="0" indent="0">
              <a:lnSpc>
                <a:spcPct val="100000"/>
              </a:lnSpc>
              <a:buNone/>
              <a:defRPr sz="1350" b="0" cap="none" baseline="0">
                <a:solidFill>
                  <a:schemeClr val="tx1"/>
                </a:solidFill>
                <a:latin typeface="+mn-lt"/>
              </a:defRPr>
            </a:lvl5pPr>
            <a:lvl6pPr marL="254788" indent="0">
              <a:buNone/>
              <a:defRPr/>
            </a:lvl6pPr>
            <a:lvl7pPr>
              <a:defRPr/>
            </a:lvl7pPr>
            <a:lvl8pPr>
              <a:defRPr/>
            </a:lvl8pPr>
          </a:lstStyle>
          <a:p>
            <a:pPr lvl="0"/>
            <a:r>
              <a:rPr lang="en-US"/>
              <a:t>subtitle</a:t>
            </a:r>
          </a:p>
          <a:p>
            <a:pPr lvl="1"/>
            <a:r>
              <a:rPr lang="en-US"/>
              <a:t>Second level</a:t>
            </a:r>
          </a:p>
        </p:txBody>
      </p:sp>
      <p:pic>
        <p:nvPicPr>
          <p:cNvPr id="10" name="Picture 9">
            <a:extLst>
              <a:ext uri="{FF2B5EF4-FFF2-40B4-BE49-F238E27FC236}">
                <a16:creationId xmlns:a16="http://schemas.microsoft.com/office/drawing/2014/main" id="{DA33B9B6-4A4F-4E1B-A8B0-C068D42685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45341" y="703064"/>
            <a:ext cx="3231900" cy="3393495"/>
          </a:xfrm>
          <a:prstGeom prst="rect">
            <a:avLst/>
          </a:prstGeom>
        </p:spPr>
      </p:pic>
    </p:spTree>
    <p:extLst>
      <p:ext uri="{BB962C8B-B14F-4D97-AF65-F5344CB8AC3E}">
        <p14:creationId xmlns:p14="http://schemas.microsoft.com/office/powerpoint/2010/main" val="15826772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285750" y="285750"/>
            <a:ext cx="8572500" cy="742950"/>
          </a:xfrm>
        </p:spPr>
        <p:txBody>
          <a:bodyPr/>
          <a:lstStyle>
            <a:lvl1pPr>
              <a:defRPr sz="27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285751" y="1028701"/>
            <a:ext cx="8572500" cy="3705225"/>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3548290"/>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标题和内容">
    <p:bg>
      <p:bgRef idx="1001">
        <a:schemeClr val="bg1"/>
      </p:bgRef>
    </p:bg>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6865EF93-89CB-B949-9781-2BA3267D8035}"/>
              </a:ext>
            </a:extLst>
          </p:cNvPr>
          <p:cNvSpPr/>
          <p:nvPr userDrawn="1"/>
        </p:nvSpPr>
        <p:spPr>
          <a:xfrm>
            <a:off x="157163" y="133350"/>
            <a:ext cx="8829675" cy="487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ea typeface="微软雅黑" panose="020B0503020204020204" pitchFamily="34" charset="-122"/>
            </a:endParaRPr>
          </a:p>
        </p:txBody>
      </p:sp>
    </p:spTree>
    <p:extLst>
      <p:ext uri="{BB962C8B-B14F-4D97-AF65-F5344CB8AC3E}">
        <p14:creationId xmlns:p14="http://schemas.microsoft.com/office/powerpoint/2010/main" val="2137026693"/>
      </p:ext>
    </p:extLst>
  </p:cSld>
  <p:clrMapOvr>
    <a:overrideClrMapping bg1="lt1" tx1="dk1" bg2="lt2" tx2="dk2" accent1="accent1" accent2="accent2" accent3="accent3" accent4="accent4" accent5="accent5" accent6="accent6" hlink="hlink" folHlink="folHlink"/>
  </p:clrMapOvr>
  <p:transition advTm="3000">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1907999"/>
            <a:ext cx="8508999" cy="2880000"/>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marL="0">
              <a:lnSpc>
                <a:spcPct val="114000"/>
              </a:lnSpc>
              <a:defRPr lang="de-DE" sz="1200" noProof="0" dirty="0" smtClean="0"/>
            </a:lvl1pPr>
            <a:lvl2pPr marL="0" indent="-176213">
              <a:lnSpc>
                <a:spcPct val="114000"/>
              </a:lnSpc>
              <a:buFont typeface="Symbol" panose="05050102010706020507" pitchFamily="18" charset="2"/>
              <a:buChar char="-"/>
              <a:defRPr lang="de-DE" sz="1200" noProof="0" dirty="0" smtClean="0"/>
            </a:lvl2pPr>
            <a:lvl3pPr>
              <a:defRPr sz="1400" baseline="0"/>
            </a:lvl3pPr>
          </a:lstStyle>
          <a:p>
            <a:pPr lvl="0"/>
            <a:r>
              <a:rPr lang="de-DE" noProof="0" dirty="0"/>
              <a:t>Inhalt durch Klicken bearbeiten</a:t>
            </a:r>
          </a:p>
          <a:p>
            <a:pPr lvl="1"/>
            <a:r>
              <a:rPr lang="de-DE" noProof="0" dirty="0"/>
              <a:t>Zweite Ebene</a:t>
            </a:r>
          </a:p>
        </p:txBody>
      </p:sp>
      <p:sp useBgFill="1">
        <p:nvSpPr>
          <p:cNvPr id="10" name="Titel 1"/>
          <p:cNvSpPr>
            <a:spLocks noGrp="1"/>
          </p:cNvSpPr>
          <p:nvPr>
            <p:ph type="title" hasCustomPrompt="1"/>
          </p:nvPr>
        </p:nvSpPr>
        <p:spPr>
          <a:xfrm>
            <a:off x="319090" y="792000"/>
            <a:ext cx="8508999" cy="432000"/>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400" noProof="0" dirty="0"/>
            </a:lvl1pPr>
          </a:lstStyle>
          <a:p>
            <a:pPr lvl="0"/>
            <a:r>
              <a:rPr lang="de-DE" noProof="0" dirty="0"/>
              <a:t>Titel durch Klicken bearbeiten</a:t>
            </a:r>
          </a:p>
        </p:txBody>
      </p:sp>
      <p:sp useBgFill="1">
        <p:nvSpPr>
          <p:cNvPr id="5" name="Foliennummernplatzhalter 4"/>
          <p:cNvSpPr>
            <a:spLocks noGrp="1"/>
          </p:cNvSpPr>
          <p:nvPr>
            <p:ph type="sldNum" sz="quarter" idx="11"/>
          </p:nvPr>
        </p:nvSpPr>
        <p:spPr/>
        <p:txBody>
          <a:bodyPr/>
          <a:lstStyle/>
          <a:p>
            <a:fld id="{CE58CB1E-F828-4F11-99E0-327109AF9DA4}" type="slidenum">
              <a:rPr lang="de-DE" smtClean="0"/>
              <a:pPr/>
              <a:t>‹#›</a:t>
            </a:fld>
            <a:endParaRPr lang="de-DE" dirty="0"/>
          </a:p>
        </p:txBody>
      </p:sp>
      <p:sp useBgFill="1">
        <p:nvSpPr>
          <p:cNvPr id="7" name="Fußzeilenplatzhalter 6"/>
          <p:cNvSpPr>
            <a:spLocks noGrp="1"/>
          </p:cNvSpPr>
          <p:nvPr>
            <p:ph type="ftr" sz="quarter" idx="12"/>
          </p:nvPr>
        </p:nvSpPr>
        <p:spPr/>
        <p:txBody>
          <a:bodyPr/>
          <a:lstStyle/>
          <a:p>
            <a:r>
              <a:rPr lang="de-DE"/>
              <a:t>LPL I Bio-inspired Design Seminar | Team xx </a:t>
            </a:r>
            <a:endParaRPr lang="en-US" dirty="0"/>
          </a:p>
        </p:txBody>
      </p:sp>
      <p:sp useBgFill="1">
        <p:nvSpPr>
          <p:cNvPr id="6" name="Textplatzhalter 7"/>
          <p:cNvSpPr>
            <a:spLocks noGrp="1"/>
          </p:cNvSpPr>
          <p:nvPr>
            <p:ph type="body" sz="quarter" idx="13" hasCustomPrompt="1"/>
          </p:nvPr>
        </p:nvSpPr>
        <p:spPr>
          <a:xfrm>
            <a:off x="319090" y="13680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200" noProof="0" dirty="0" smtClean="0"/>
            </a:lvl1pPr>
          </a:lstStyle>
          <a:p>
            <a:pPr lvl="0"/>
            <a:r>
              <a:rPr lang="de-DE" noProof="0" dirty="0"/>
              <a:t>Inhalt durch Klicken bearbeiten</a:t>
            </a:r>
          </a:p>
        </p:txBody>
      </p:sp>
    </p:spTree>
    <p:extLst>
      <p:ext uri="{BB962C8B-B14F-4D97-AF65-F5344CB8AC3E}">
        <p14:creationId xmlns:p14="http://schemas.microsoft.com/office/powerpoint/2010/main" val="21839487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368000"/>
            <a:ext cx="4180910" cy="342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a:lnSpc>
                <a:spcPct val="114000"/>
              </a:lnSpc>
              <a:defRPr lang="de-DE" sz="1200" noProof="0" dirty="0" smtClean="0"/>
            </a:lvl1pPr>
            <a:lvl2pPr marL="0" indent="-176213">
              <a:lnSpc>
                <a:spcPct val="114000"/>
              </a:lnSpc>
              <a:buFont typeface="Symbol" panose="05050102010706020507" pitchFamily="18" charset="2"/>
              <a:buChar char="-"/>
              <a:defRPr lang="de-DE" sz="1200" noProof="0" dirty="0" smtClean="0"/>
            </a:lvl2pPr>
            <a:lvl3pPr>
              <a:defRPr sz="1400" baseline="0"/>
            </a:lvl3pPr>
          </a:lstStyle>
          <a:p>
            <a:pPr lvl="0"/>
            <a:r>
              <a:rPr lang="de-DE" noProof="0" dirty="0"/>
              <a:t>Inhalt durch Klicken bearbeiten</a:t>
            </a:r>
          </a:p>
          <a:p>
            <a:pPr lvl="1"/>
            <a:r>
              <a:rPr lang="de-DE" noProof="0" dirty="0"/>
              <a:t>Zweite Ebene</a:t>
            </a:r>
          </a:p>
        </p:txBody>
      </p:sp>
      <p:sp>
        <p:nvSpPr>
          <p:cNvPr id="13" name="Inhaltsplatzhalter 2"/>
          <p:cNvSpPr>
            <a:spLocks noGrp="1"/>
          </p:cNvSpPr>
          <p:nvPr>
            <p:ph idx="15" hasCustomPrompt="1"/>
          </p:nvPr>
        </p:nvSpPr>
        <p:spPr>
          <a:xfrm>
            <a:off x="4647179" y="1368000"/>
            <a:ext cx="4180910" cy="342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a:lnSpc>
                <a:spcPct val="114000"/>
              </a:lnSpc>
              <a:defRPr lang="de-DE" sz="1200" noProof="0" dirty="0" smtClean="0"/>
            </a:lvl1pPr>
            <a:lvl2pPr marL="0" indent="-176213">
              <a:lnSpc>
                <a:spcPct val="114000"/>
              </a:lnSpc>
              <a:buFont typeface="Symbol" panose="05050102010706020507" pitchFamily="18" charset="2"/>
              <a:buChar char="-"/>
              <a:defRPr lang="de-DE" sz="1200" noProof="0" dirty="0" smtClean="0"/>
            </a:lvl2pPr>
            <a:lvl3pPr>
              <a:defRPr sz="1400" baseline="0"/>
            </a:lvl3pPr>
          </a:lstStyle>
          <a:p>
            <a:pPr lvl="0"/>
            <a:r>
              <a:rPr lang="de-DE" noProof="0" dirty="0"/>
              <a:t>Inhalt durch Klicken bearbeiten</a:t>
            </a:r>
          </a:p>
          <a:p>
            <a:pPr lvl="1"/>
            <a:r>
              <a:rPr lang="de-DE" noProof="0" dirty="0"/>
              <a:t>Zweite Ebene</a:t>
            </a:r>
          </a:p>
        </p:txBody>
      </p:sp>
      <p:sp>
        <p:nvSpPr>
          <p:cNvPr id="16" name="Titel 1"/>
          <p:cNvSpPr>
            <a:spLocks noGrp="1"/>
          </p:cNvSpPr>
          <p:nvPr>
            <p:ph type="title" hasCustomPrompt="1"/>
          </p:nvPr>
        </p:nvSpPr>
        <p:spPr>
          <a:xfrm>
            <a:off x="319090" y="792000"/>
            <a:ext cx="8508999" cy="4320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400" baseline="0" noProof="0" dirty="0"/>
            </a:lvl1pPr>
          </a:lstStyle>
          <a:p>
            <a:pPr lvl="0"/>
            <a:r>
              <a:rPr lang="de-DE" noProof="0" dirty="0"/>
              <a:t>Titel durch Klicken bearbeiten</a:t>
            </a:r>
          </a:p>
        </p:txBody>
      </p:sp>
      <p:sp>
        <p:nvSpPr>
          <p:cNvPr id="6" name="Foliennummernplatzhalter 5"/>
          <p:cNvSpPr>
            <a:spLocks noGrp="1"/>
          </p:cNvSpPr>
          <p:nvPr>
            <p:ph type="sldNum" sz="quarter" idx="16"/>
          </p:nvPr>
        </p:nvSpPr>
        <p:spPr/>
        <p:txBody>
          <a:bodyPr/>
          <a:lstStyle/>
          <a:p>
            <a:fld id="{CE58CB1E-F828-4F11-99E0-327109AF9DA4}" type="slidenum">
              <a:rPr lang="de-DE" smtClean="0"/>
              <a:pPr/>
              <a:t>‹#›</a:t>
            </a:fld>
            <a:endParaRPr lang="de-DE" dirty="0"/>
          </a:p>
        </p:txBody>
      </p:sp>
      <p:sp>
        <p:nvSpPr>
          <p:cNvPr id="8" name="Fußzeilenplatzhalter 7"/>
          <p:cNvSpPr>
            <a:spLocks noGrp="1"/>
          </p:cNvSpPr>
          <p:nvPr>
            <p:ph type="ftr" sz="quarter" idx="17"/>
          </p:nvPr>
        </p:nvSpPr>
        <p:spPr/>
        <p:txBody>
          <a:bodyPr/>
          <a:lstStyle/>
          <a:p>
            <a:r>
              <a:rPr lang="de-DE"/>
              <a:t>LPL I Bio-inspired Design Seminar | Team xx </a:t>
            </a:r>
            <a:endParaRPr lang="en-US" dirty="0"/>
          </a:p>
        </p:txBody>
      </p:sp>
    </p:spTree>
    <p:extLst>
      <p:ext uri="{BB962C8B-B14F-4D97-AF65-F5344CB8AC3E}">
        <p14:creationId xmlns:p14="http://schemas.microsoft.com/office/powerpoint/2010/main" val="34629014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3680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2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791999"/>
            <a:ext cx="8508999" cy="4320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4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a:t>
            </a:fld>
            <a:endParaRPr lang="de-DE" dirty="0"/>
          </a:p>
        </p:txBody>
      </p:sp>
      <p:sp>
        <p:nvSpPr>
          <p:cNvPr id="12" name="Fußzeilenplatzhalter 11"/>
          <p:cNvSpPr>
            <a:spLocks noGrp="1"/>
          </p:cNvSpPr>
          <p:nvPr>
            <p:ph type="ftr" sz="quarter" idx="16"/>
          </p:nvPr>
        </p:nvSpPr>
        <p:spPr/>
        <p:txBody>
          <a:bodyPr/>
          <a:lstStyle/>
          <a:p>
            <a:r>
              <a:rPr lang="de-DE" noProof="0"/>
              <a:t>LPL I Bio-inspired Design Seminar | Team xx </a:t>
            </a:r>
          </a:p>
        </p:txBody>
      </p:sp>
      <p:sp>
        <p:nvSpPr>
          <p:cNvPr id="8" name="Inhaltsplatzhalter 9"/>
          <p:cNvSpPr>
            <a:spLocks noGrp="1"/>
          </p:cNvSpPr>
          <p:nvPr>
            <p:ph sz="quarter" idx="18" hasCustomPrompt="1"/>
          </p:nvPr>
        </p:nvSpPr>
        <p:spPr>
          <a:xfrm>
            <a:off x="316992" y="1908000"/>
            <a:ext cx="4188333" cy="2880000"/>
          </a:xfrm>
          <a:prstGeom prst="rect">
            <a:avLst/>
          </a:prstGeom>
        </p:spPr>
        <p:txBody>
          <a:bodyPr lIns="0" rIns="0"/>
          <a:lstStyle>
            <a:lvl1pPr marL="0">
              <a:lnSpc>
                <a:spcPct val="114000"/>
              </a:lnSpc>
              <a:defRPr lang="de-DE" sz="1200" kern="1200" noProof="0" dirty="0" smtClean="0">
                <a:solidFill>
                  <a:schemeClr val="tx1"/>
                </a:solidFill>
                <a:latin typeface="+mn-lt"/>
                <a:ea typeface="+mn-ea"/>
                <a:cs typeface="+mn-cs"/>
              </a:defRPr>
            </a:lvl1pPr>
            <a:lvl2pPr marL="0" indent="-176213">
              <a:lnSpc>
                <a:spcPct val="114000"/>
              </a:lnSpc>
              <a:buFont typeface="Symbol" panose="05050102010706020507" pitchFamily="18" charset="2"/>
              <a:buChar char="-"/>
              <a:defRPr sz="1200"/>
            </a:lvl2pPr>
            <a:lvl3pPr>
              <a:defRPr sz="1400" baseline="0"/>
            </a:lvl3pPr>
          </a:lstStyle>
          <a:p>
            <a:pPr lvl="0"/>
            <a:r>
              <a:rPr lang="de-DE" dirty="0"/>
              <a:t>Textmasterformate durch Klicken bearbeiten</a:t>
            </a:r>
          </a:p>
          <a:p>
            <a:pPr lvl="1"/>
            <a:r>
              <a:rPr lang="de-DE" dirty="0"/>
              <a:t>Zweite Ebene</a:t>
            </a:r>
          </a:p>
        </p:txBody>
      </p:sp>
      <p:sp>
        <p:nvSpPr>
          <p:cNvPr id="11" name="Bildplatzhalter 2"/>
          <p:cNvSpPr>
            <a:spLocks noGrp="1"/>
          </p:cNvSpPr>
          <p:nvPr>
            <p:ph type="pic" sz="quarter" idx="14" hasCustomPrompt="1"/>
          </p:nvPr>
        </p:nvSpPr>
        <p:spPr>
          <a:xfrm>
            <a:off x="4648200" y="1908000"/>
            <a:ext cx="4180392" cy="2880000"/>
          </a:xfrm>
          <a:prstGeom prst="rect">
            <a:avLst/>
          </a:prstGeom>
        </p:spPr>
        <p:txBody>
          <a:bodyPr/>
          <a:lstStyle>
            <a:lvl1pPr>
              <a:lnSpc>
                <a:spcPct val="114000"/>
              </a:lnSpc>
              <a:defRPr sz="1200"/>
            </a:lvl1pPr>
          </a:lstStyle>
          <a:p>
            <a:endParaRPr lang="de-DE" dirty="0"/>
          </a:p>
        </p:txBody>
      </p:sp>
    </p:spTree>
    <p:extLst>
      <p:ext uri="{BB962C8B-B14F-4D97-AF65-F5344CB8AC3E}">
        <p14:creationId xmlns:p14="http://schemas.microsoft.com/office/powerpoint/2010/main" val="1111508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13" name="Titel 1"/>
          <p:cNvSpPr>
            <a:spLocks noGrp="1"/>
          </p:cNvSpPr>
          <p:nvPr>
            <p:ph type="title" hasCustomPrompt="1"/>
          </p:nvPr>
        </p:nvSpPr>
        <p:spPr>
          <a:xfrm>
            <a:off x="319090" y="792000"/>
            <a:ext cx="8508999" cy="4320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4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a:t>
            </a:fld>
            <a:endParaRPr lang="de-DE" dirty="0"/>
          </a:p>
        </p:txBody>
      </p:sp>
      <p:sp>
        <p:nvSpPr>
          <p:cNvPr id="12" name="Fußzeilenplatzhalter 11"/>
          <p:cNvSpPr>
            <a:spLocks noGrp="1"/>
          </p:cNvSpPr>
          <p:nvPr>
            <p:ph type="ftr" sz="quarter" idx="16"/>
          </p:nvPr>
        </p:nvSpPr>
        <p:spPr/>
        <p:txBody>
          <a:bodyPr/>
          <a:lstStyle/>
          <a:p>
            <a:r>
              <a:rPr lang="de-DE" noProof="0"/>
              <a:t>LPL I Bio-inspired Design Seminar | Team xx </a:t>
            </a:r>
          </a:p>
        </p:txBody>
      </p:sp>
      <p:sp>
        <p:nvSpPr>
          <p:cNvPr id="9" name="Bildplatzhalter 8"/>
          <p:cNvSpPr>
            <a:spLocks noGrp="1"/>
          </p:cNvSpPr>
          <p:nvPr>
            <p:ph type="pic" sz="quarter" idx="17"/>
          </p:nvPr>
        </p:nvSpPr>
        <p:spPr>
          <a:xfrm>
            <a:off x="0" y="1908000"/>
            <a:ext cx="9144000" cy="3240000"/>
          </a:xfrm>
          <a:prstGeom prst="rect">
            <a:avLst/>
          </a:prstGeom>
        </p:spPr>
        <p:txBody>
          <a:bodyPr/>
          <a:lstStyle>
            <a:lvl1pPr>
              <a:defRPr sz="1200"/>
            </a:lvl1pPr>
          </a:lstStyle>
          <a:p>
            <a:endParaRPr lang="de-DE"/>
          </a:p>
        </p:txBody>
      </p:sp>
      <p:sp>
        <p:nvSpPr>
          <p:cNvPr id="8" name="Textplatzhalter 7"/>
          <p:cNvSpPr>
            <a:spLocks noGrp="1"/>
          </p:cNvSpPr>
          <p:nvPr>
            <p:ph type="body" sz="quarter" idx="18" hasCustomPrompt="1"/>
          </p:nvPr>
        </p:nvSpPr>
        <p:spPr>
          <a:xfrm>
            <a:off x="319090" y="13680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367999"/>
            <a:ext cx="9144000" cy="3780000"/>
          </a:xfrm>
          <a:prstGeom prst="rect">
            <a:avLst/>
          </a:prstGeom>
        </p:spPr>
        <p:txBody>
          <a:bodyPr/>
          <a:lstStyle>
            <a:lvl1pPr>
              <a:lnSpc>
                <a:spcPct val="114000"/>
              </a:lnSpc>
              <a:defRPr sz="1200"/>
            </a:lvl1pPr>
          </a:lstStyle>
          <a:p>
            <a:endParaRPr lang="de-DE" dirty="0"/>
          </a:p>
        </p:txBody>
      </p:sp>
      <p:sp>
        <p:nvSpPr>
          <p:cNvPr id="11" name="Titel 1"/>
          <p:cNvSpPr>
            <a:spLocks noGrp="1"/>
          </p:cNvSpPr>
          <p:nvPr>
            <p:ph type="title" hasCustomPrompt="1"/>
          </p:nvPr>
        </p:nvSpPr>
        <p:spPr>
          <a:xfrm>
            <a:off x="319090" y="792000"/>
            <a:ext cx="8508999" cy="4320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400" noProof="0" dirty="0"/>
            </a:lvl1pPr>
          </a:lstStyle>
          <a:p>
            <a:pPr lvl="0"/>
            <a:r>
              <a:rPr lang="de-DE" noProof="0" dirty="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a:t>
            </a:fld>
            <a:endParaRPr lang="de-DE" dirty="0"/>
          </a:p>
        </p:txBody>
      </p:sp>
      <p:sp>
        <p:nvSpPr>
          <p:cNvPr id="10" name="Fußzeilenplatzhalter 9"/>
          <p:cNvSpPr>
            <a:spLocks noGrp="1"/>
          </p:cNvSpPr>
          <p:nvPr>
            <p:ph type="ftr" sz="quarter" idx="16"/>
          </p:nvPr>
        </p:nvSpPr>
        <p:spPr/>
        <p:txBody>
          <a:bodyPr/>
          <a:lstStyle/>
          <a:p>
            <a:r>
              <a:rPr lang="de-DE"/>
              <a:t>LPL I Bio-inspired Design Seminar | Team xx </a:t>
            </a:r>
            <a:endParaRPr lang="en-US" dirty="0"/>
          </a:p>
        </p:txBody>
      </p:sp>
    </p:spTree>
    <p:extLst>
      <p:ext uri="{BB962C8B-B14F-4D97-AF65-F5344CB8AC3E}">
        <p14:creationId xmlns:p14="http://schemas.microsoft.com/office/powerpoint/2010/main" val="42579873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nachweis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368000"/>
            <a:ext cx="4180910" cy="342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a:lnSpc>
                <a:spcPct val="114000"/>
              </a:lnSpc>
              <a:defRPr lang="de-DE" sz="1200" noProof="0" dirty="0" smtClean="0"/>
            </a:lvl1pPr>
            <a:lvl2pPr marL="0" indent="-176213">
              <a:lnSpc>
                <a:spcPct val="114000"/>
              </a:lnSpc>
              <a:buFont typeface="Symbol" panose="05050102010706020507" pitchFamily="18" charset="2"/>
              <a:buChar char="-"/>
              <a:defRPr lang="de-DE" sz="1200" noProof="0" dirty="0" smtClean="0"/>
            </a:lvl2pPr>
            <a:lvl3pPr>
              <a:defRPr sz="1400" baseline="0"/>
            </a:lvl3pPr>
          </a:lstStyle>
          <a:p>
            <a:pPr lvl="0"/>
            <a:r>
              <a:rPr lang="de-DE" noProof="0" dirty="0"/>
              <a:t>Inhalt durch Klicken bearbeiten</a:t>
            </a:r>
          </a:p>
          <a:p>
            <a:pPr lvl="1"/>
            <a:r>
              <a:rPr lang="de-DE" noProof="0" dirty="0"/>
              <a:t>Zweite Ebene</a:t>
            </a:r>
          </a:p>
        </p:txBody>
      </p:sp>
      <p:sp>
        <p:nvSpPr>
          <p:cNvPr id="13" name="Inhaltsplatzhalter 2"/>
          <p:cNvSpPr>
            <a:spLocks noGrp="1"/>
          </p:cNvSpPr>
          <p:nvPr>
            <p:ph idx="15" hasCustomPrompt="1"/>
          </p:nvPr>
        </p:nvSpPr>
        <p:spPr>
          <a:xfrm>
            <a:off x="4647179" y="1368000"/>
            <a:ext cx="4180910" cy="342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a:lnSpc>
                <a:spcPct val="114000"/>
              </a:lnSpc>
              <a:defRPr lang="de-DE" sz="1200" noProof="0" dirty="0" smtClean="0"/>
            </a:lvl1pPr>
            <a:lvl2pPr marL="0" indent="-176213">
              <a:lnSpc>
                <a:spcPct val="114000"/>
              </a:lnSpc>
              <a:buFont typeface="Symbol" panose="05050102010706020507" pitchFamily="18" charset="2"/>
              <a:buChar char="-"/>
              <a:defRPr lang="de-DE" sz="1200" noProof="0" dirty="0" smtClean="0"/>
            </a:lvl2pPr>
            <a:lvl3pPr>
              <a:defRPr sz="1400" baseline="0"/>
            </a:lvl3pPr>
          </a:lstStyle>
          <a:p>
            <a:pPr lvl="0"/>
            <a:r>
              <a:rPr lang="de-DE" noProof="0" dirty="0"/>
              <a:t>Inhalt durch Klicken bearbeiten</a:t>
            </a:r>
          </a:p>
          <a:p>
            <a:pPr lvl="1"/>
            <a:r>
              <a:rPr lang="de-DE" noProof="0" dirty="0"/>
              <a:t>Zweite Ebene</a:t>
            </a:r>
          </a:p>
        </p:txBody>
      </p:sp>
      <p:sp>
        <p:nvSpPr>
          <p:cNvPr id="6" name="Foliennummernplatzhalter 5"/>
          <p:cNvSpPr>
            <a:spLocks noGrp="1"/>
          </p:cNvSpPr>
          <p:nvPr>
            <p:ph type="sldNum" sz="quarter" idx="16"/>
          </p:nvPr>
        </p:nvSpPr>
        <p:spPr/>
        <p:txBody>
          <a:bodyPr/>
          <a:lstStyle/>
          <a:p>
            <a:fld id="{CE58CB1E-F828-4F11-99E0-327109AF9DA4}" type="slidenum">
              <a:rPr lang="de-DE" smtClean="0"/>
              <a:pPr/>
              <a:t>‹#›</a:t>
            </a:fld>
            <a:endParaRPr lang="de-DE" dirty="0"/>
          </a:p>
        </p:txBody>
      </p:sp>
      <p:sp>
        <p:nvSpPr>
          <p:cNvPr id="8" name="Fußzeilenplatzhalter 7"/>
          <p:cNvSpPr>
            <a:spLocks noGrp="1"/>
          </p:cNvSpPr>
          <p:nvPr>
            <p:ph type="ftr" sz="quarter" idx="17"/>
          </p:nvPr>
        </p:nvSpPr>
        <p:spPr/>
        <p:txBody>
          <a:bodyPr/>
          <a:lstStyle/>
          <a:p>
            <a:r>
              <a:rPr lang="de-DE"/>
              <a:t>LPL I Bio-inspired Design Seminar | Team xx </a:t>
            </a:r>
            <a:endParaRPr lang="en-US" dirty="0"/>
          </a:p>
        </p:txBody>
      </p:sp>
      <p:sp>
        <p:nvSpPr>
          <p:cNvPr id="2" name="Textfeld 1"/>
          <p:cNvSpPr txBox="1"/>
          <p:nvPr userDrawn="1"/>
        </p:nvSpPr>
        <p:spPr>
          <a:xfrm>
            <a:off x="324000" y="792000"/>
            <a:ext cx="2160000" cy="432000"/>
          </a:xfrm>
          <a:prstGeom prst="rect">
            <a:avLst/>
          </a:prstGeom>
          <a:noFill/>
        </p:spPr>
        <p:txBody>
          <a:bodyPr wrap="none" lIns="0" tIns="0" rIns="0" bIns="0" rtlCol="0">
            <a:spAutoFit/>
          </a:bodyPr>
          <a:lstStyle/>
          <a:p>
            <a:pPr>
              <a:lnSpc>
                <a:spcPct val="114000"/>
              </a:lnSpc>
            </a:pPr>
            <a:r>
              <a:rPr lang="de-DE" sz="2400" dirty="0">
                <a:latin typeface="+mn-lt"/>
              </a:rPr>
              <a:t>Bildnachweise</a:t>
            </a:r>
          </a:p>
        </p:txBody>
      </p:sp>
    </p:spTree>
    <p:extLst>
      <p:ext uri="{BB962C8B-B14F-4D97-AF65-F5344CB8AC3E}">
        <p14:creationId xmlns:p14="http://schemas.microsoft.com/office/powerpoint/2010/main" val="423115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368000"/>
            <a:ext cx="4180910" cy="342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a:lnSpc>
                <a:spcPct val="114000"/>
              </a:lnSpc>
              <a:defRPr lang="de-DE" sz="1200" noProof="0" dirty="0" smtClean="0"/>
            </a:lvl1pPr>
            <a:lvl2pPr marL="0" indent="-176213">
              <a:lnSpc>
                <a:spcPct val="114000"/>
              </a:lnSpc>
              <a:buFont typeface="Symbol" panose="05050102010706020507" pitchFamily="18" charset="2"/>
              <a:buChar char="-"/>
              <a:defRPr lang="de-DE" sz="1200" noProof="0" dirty="0" smtClean="0"/>
            </a:lvl2pPr>
            <a:lvl3pPr>
              <a:defRPr sz="1400" baseline="0"/>
            </a:lvl3pPr>
          </a:lstStyle>
          <a:p>
            <a:pPr lvl="0"/>
            <a:r>
              <a:rPr lang="de-DE" noProof="0" dirty="0"/>
              <a:t>Inhalt durch Klicken bearbeiten</a:t>
            </a:r>
          </a:p>
          <a:p>
            <a:pPr lvl="1"/>
            <a:r>
              <a:rPr lang="de-DE" noProof="0" dirty="0"/>
              <a:t>Zweite Ebene</a:t>
            </a:r>
          </a:p>
        </p:txBody>
      </p:sp>
      <p:sp>
        <p:nvSpPr>
          <p:cNvPr id="13" name="Inhaltsplatzhalter 2"/>
          <p:cNvSpPr>
            <a:spLocks noGrp="1"/>
          </p:cNvSpPr>
          <p:nvPr>
            <p:ph idx="15" hasCustomPrompt="1"/>
          </p:nvPr>
        </p:nvSpPr>
        <p:spPr>
          <a:xfrm>
            <a:off x="4647179" y="1368000"/>
            <a:ext cx="4180910" cy="342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a:lnSpc>
                <a:spcPct val="114000"/>
              </a:lnSpc>
              <a:defRPr lang="de-DE" sz="1200" noProof="0" dirty="0" smtClean="0"/>
            </a:lvl1pPr>
            <a:lvl2pPr marL="0" indent="-176213">
              <a:lnSpc>
                <a:spcPct val="114000"/>
              </a:lnSpc>
              <a:buFont typeface="Symbol" panose="05050102010706020507" pitchFamily="18" charset="2"/>
              <a:buChar char="-"/>
              <a:defRPr lang="de-DE" sz="1200" noProof="0" dirty="0" smtClean="0"/>
            </a:lvl2pPr>
            <a:lvl3pPr>
              <a:defRPr sz="1400" baseline="0"/>
            </a:lvl3pPr>
          </a:lstStyle>
          <a:p>
            <a:pPr lvl="0"/>
            <a:r>
              <a:rPr lang="de-DE" noProof="0" dirty="0"/>
              <a:t>Inhalt durch Klicken bearbeiten</a:t>
            </a:r>
          </a:p>
          <a:p>
            <a:pPr lvl="1"/>
            <a:r>
              <a:rPr lang="de-DE" noProof="0" dirty="0"/>
              <a:t>Zweite Ebene</a:t>
            </a:r>
          </a:p>
        </p:txBody>
      </p:sp>
      <p:sp>
        <p:nvSpPr>
          <p:cNvPr id="6" name="Foliennummernplatzhalter 5"/>
          <p:cNvSpPr>
            <a:spLocks noGrp="1"/>
          </p:cNvSpPr>
          <p:nvPr>
            <p:ph type="sldNum" sz="quarter" idx="16"/>
          </p:nvPr>
        </p:nvSpPr>
        <p:spPr/>
        <p:txBody>
          <a:bodyPr/>
          <a:lstStyle/>
          <a:p>
            <a:fld id="{CE58CB1E-F828-4F11-99E0-327109AF9DA4}" type="slidenum">
              <a:rPr lang="de-DE" smtClean="0"/>
              <a:pPr/>
              <a:t>‹#›</a:t>
            </a:fld>
            <a:endParaRPr lang="de-DE" dirty="0"/>
          </a:p>
        </p:txBody>
      </p:sp>
      <p:sp>
        <p:nvSpPr>
          <p:cNvPr id="8" name="Fußzeilenplatzhalter 7"/>
          <p:cNvSpPr>
            <a:spLocks noGrp="1"/>
          </p:cNvSpPr>
          <p:nvPr>
            <p:ph type="ftr" sz="quarter" idx="17"/>
          </p:nvPr>
        </p:nvSpPr>
        <p:spPr/>
        <p:txBody>
          <a:bodyPr/>
          <a:lstStyle/>
          <a:p>
            <a:r>
              <a:rPr lang="de-DE"/>
              <a:t>LPL I Bio-inspired Design Seminar | Team xx </a:t>
            </a:r>
            <a:endParaRPr lang="en-US" dirty="0"/>
          </a:p>
        </p:txBody>
      </p:sp>
      <p:sp>
        <p:nvSpPr>
          <p:cNvPr id="7" name="Textfeld 6"/>
          <p:cNvSpPr txBox="1"/>
          <p:nvPr userDrawn="1"/>
        </p:nvSpPr>
        <p:spPr>
          <a:xfrm>
            <a:off x="324000" y="792000"/>
            <a:ext cx="1575752" cy="385811"/>
          </a:xfrm>
          <a:prstGeom prst="rect">
            <a:avLst/>
          </a:prstGeom>
          <a:noFill/>
        </p:spPr>
        <p:txBody>
          <a:bodyPr wrap="none" lIns="0" tIns="0" rIns="0" bIns="0" rtlCol="0">
            <a:spAutoFit/>
          </a:bodyPr>
          <a:lstStyle/>
          <a:p>
            <a:pPr>
              <a:lnSpc>
                <a:spcPct val="114000"/>
              </a:lnSpc>
            </a:pPr>
            <a:r>
              <a:rPr lang="de-DE" sz="2400" dirty="0">
                <a:latin typeface="+mn-lt"/>
              </a:rPr>
              <a:t>References</a:t>
            </a:r>
          </a:p>
        </p:txBody>
      </p:sp>
    </p:spTree>
    <p:extLst>
      <p:ext uri="{BB962C8B-B14F-4D97-AF65-F5344CB8AC3E}">
        <p14:creationId xmlns:p14="http://schemas.microsoft.com/office/powerpoint/2010/main" val="22401682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w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8.jpg"/><Relationship Id="rId5" Type="http://schemas.openxmlformats.org/officeDocument/2006/relationships/image" Target="../media/image7.png"/><Relationship Id="rId4" Type="http://schemas.openxmlformats.org/officeDocument/2006/relationships/image" Target="../media/image1.w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16.xml"/><Relationship Id="rId5" Type="http://schemas.openxmlformats.org/officeDocument/2006/relationships/image" Target="../media/image8.jpg"/><Relationship Id="rId4"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image" Target="../media/image3.emf"/></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21.xml"/><Relationship Id="rId7" Type="http://schemas.openxmlformats.org/officeDocument/2006/relationships/theme" Target="../theme/theme5.xml"/><Relationship Id="rId12" Type="http://schemas.openxmlformats.org/officeDocument/2006/relationships/image" Target="../media/image10.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9.emf"/><Relationship Id="rId5" Type="http://schemas.openxmlformats.org/officeDocument/2006/relationships/slideLayout" Target="../slideLayouts/slideLayout23.xml"/><Relationship Id="rId10"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5"/>
          <a:stretch>
            <a:fillRect/>
          </a:stretch>
        </p:blipFill>
        <p:spPr>
          <a:xfrm>
            <a:off x="8218411" y="324000"/>
            <a:ext cx="604774" cy="318516"/>
          </a:xfrm>
          <a:prstGeom prst="rect">
            <a:avLst/>
          </a:prstGeom>
        </p:spPr>
      </p:pic>
      <p:sp>
        <p:nvSpPr>
          <p:cNvPr id="5" name="Foliennummernplatzhalter 4"/>
          <p:cNvSpPr>
            <a:spLocks noGrp="1"/>
          </p:cNvSpPr>
          <p:nvPr>
            <p:ph type="sldNum" sz="quarter" idx="4"/>
          </p:nvPr>
        </p:nvSpPr>
        <p:spPr>
          <a:xfrm>
            <a:off x="6774934" y="4854985"/>
            <a:ext cx="2052074" cy="273844"/>
          </a:xfrm>
          <a:prstGeom prst="rect">
            <a:avLst/>
          </a:prstGeom>
        </p:spPr>
        <p:txBody>
          <a:bodyPr vert="horz" lIns="0" tIns="45720" rIns="0" bIns="45720" rtlCol="0" anchor="ctr"/>
          <a:lstStyle>
            <a:lvl1pPr algn="r">
              <a:defRPr sz="800">
                <a:solidFill>
                  <a:schemeClr val="tx1"/>
                </a:solidFill>
              </a:defRPr>
            </a:lvl1pPr>
          </a:lstStyle>
          <a:p>
            <a:fld id="{CE58CB1E-F828-4F11-99E0-327109AF9DA4}" type="slidenum">
              <a:rPr lang="de-DE" smtClean="0"/>
              <a:pPr/>
              <a:t>‹#›</a:t>
            </a:fld>
            <a:endParaRPr lang="de-DE" dirty="0"/>
          </a:p>
        </p:txBody>
      </p:sp>
      <p:sp>
        <p:nvSpPr>
          <p:cNvPr id="6"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800">
                <a:solidFill>
                  <a:schemeClr val="tx1"/>
                </a:solidFill>
              </a:defRPr>
            </a:lvl1pPr>
          </a:lstStyle>
          <a:p>
            <a:r>
              <a:rPr lang="de-DE"/>
              <a:t>LPL I Bio-inspired Design Seminar | Team xx </a:t>
            </a:r>
            <a:endParaRPr lang="en-US" dirty="0"/>
          </a:p>
        </p:txBody>
      </p:sp>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11" r:id="rId5"/>
    <p:sldLayoutId id="2147483653" r:id="rId6"/>
    <p:sldLayoutId id="2147483656" r:id="rId7"/>
    <p:sldLayoutId id="2147483724" r:id="rId8"/>
    <p:sldLayoutId id="2147483725" r:id="rId9"/>
    <p:sldLayoutId id="2147483722" r:id="rId10"/>
    <p:sldLayoutId id="2147483723" r:id="rId11"/>
    <p:sldLayoutId id="2147483727" r:id="rId12"/>
    <p:sldLayoutId id="2147483735" r:id="rId13"/>
  </p:sldLayoutIdLst>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 6" descr="20150416 tum logo blau png final.png"/>
          <p:cNvPicPr>
            <a:picLocks noChangeAspect="1"/>
          </p:cNvPicPr>
          <p:nvPr userDrawn="1"/>
        </p:nvPicPr>
        <p:blipFill>
          <a:blip r:embed="rId4"/>
          <a:stretch>
            <a:fillRect/>
          </a:stretch>
        </p:blipFill>
        <p:spPr>
          <a:xfrm>
            <a:off x="8218411" y="324000"/>
            <a:ext cx="604774" cy="318516"/>
          </a:xfrm>
          <a:prstGeom prst="rect">
            <a:avLst/>
          </a:prstGeom>
        </p:spPr>
      </p:pic>
      <p:sp>
        <p:nvSpPr>
          <p:cNvPr id="4" name="Textfeld 3"/>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dirty="0">
                <a:solidFill>
                  <a:srgbClr val="0065BD"/>
                </a:solidFill>
                <a:latin typeface="Arial" panose="020B0604020202020204" pitchFamily="34" charset="0"/>
                <a:cs typeface="Arial" panose="020B0604020202020204" pitchFamily="34" charset="0"/>
              </a:rPr>
              <a:t>Lehrstuhl für Produktentwicklung und Leichtbau</a:t>
            </a:r>
          </a:p>
          <a:p>
            <a:pPr>
              <a:lnSpc>
                <a:spcPts val="900"/>
              </a:lnSpc>
            </a:pPr>
            <a:r>
              <a:rPr lang="de-DE" sz="800" dirty="0">
                <a:solidFill>
                  <a:srgbClr val="0065BD"/>
                </a:solidFill>
                <a:latin typeface="Arial" panose="020B0604020202020204" pitchFamily="34" charset="0"/>
                <a:cs typeface="Arial" panose="020B0604020202020204" pitchFamily="34" charset="0"/>
              </a:rPr>
              <a:t>Fakultät für Maschinenwesen</a:t>
            </a:r>
          </a:p>
          <a:p>
            <a:pPr>
              <a:lnSpc>
                <a:spcPts val="900"/>
              </a:lnSpc>
            </a:pPr>
            <a:r>
              <a:rPr lang="de-DE" sz="800" dirty="0">
                <a:solidFill>
                  <a:srgbClr val="0065BD"/>
                </a:solidFill>
                <a:latin typeface="Arial" panose="020B0604020202020204" pitchFamily="34" charset="0"/>
                <a:cs typeface="Arial" panose="020B0604020202020204" pitchFamily="34" charset="0"/>
              </a:rPr>
              <a:t>Technische Universität</a:t>
            </a:r>
            <a:r>
              <a:rPr lang="de-DE" sz="800" baseline="0" dirty="0">
                <a:solidFill>
                  <a:srgbClr val="0065BD"/>
                </a:solidFill>
                <a:latin typeface="Arial" panose="020B0604020202020204" pitchFamily="34" charset="0"/>
                <a:cs typeface="Arial" panose="020B0604020202020204" pitchFamily="34" charset="0"/>
              </a:rPr>
              <a:t> München</a:t>
            </a:r>
            <a:endParaRPr lang="de-DE" sz="800" dirty="0">
              <a:solidFill>
                <a:srgbClr val="0065BD"/>
              </a:solidFill>
              <a:latin typeface="Arial" panose="020B0604020202020204" pitchFamily="34" charset="0"/>
              <a:cs typeface="Arial" panose="020B0604020202020204" pitchFamily="34" charset="0"/>
            </a:endParaRPr>
          </a:p>
        </p:txBody>
      </p:sp>
      <p:pic>
        <p:nvPicPr>
          <p:cNvPr id="2" name="Grafik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 y="3744000"/>
            <a:ext cx="1385548" cy="566929"/>
          </a:xfrm>
          <a:prstGeom prst="rect">
            <a:avLst/>
          </a:prstGeom>
        </p:spPr>
      </p:pic>
      <p:pic>
        <p:nvPicPr>
          <p:cNvPr id="10" name="Grafik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544000" y="1872000"/>
            <a:ext cx="3297936" cy="2880360"/>
          </a:xfrm>
          <a:prstGeom prst="rect">
            <a:avLst/>
          </a:prstGeom>
        </p:spPr>
      </p:pic>
    </p:spTree>
    <p:extLst>
      <p:ext uri="{BB962C8B-B14F-4D97-AF65-F5344CB8AC3E}">
        <p14:creationId xmlns:p14="http://schemas.microsoft.com/office/powerpoint/2010/main" val="645843022"/>
      </p:ext>
    </p:extLst>
  </p:cSld>
  <p:clrMap bg1="lt1" tx1="dk1" bg2="lt2" tx2="dk2" accent1="accent1" accent2="accent2" accent3="accent3" accent4="accent4" accent5="accent5" accent6="accent6" hlink="hlink" folHlink="folHlink"/>
  <p:sldLayoutIdLst>
    <p:sldLayoutId id="2147483716" r:id="rId1"/>
    <p:sldLayoutId id="2147483726" r:id="rId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 6" descr="20150416 tum logo blau png final.png"/>
          <p:cNvPicPr>
            <a:picLocks noChangeAspect="1"/>
          </p:cNvPicPr>
          <p:nvPr userDrawn="1"/>
        </p:nvPicPr>
        <p:blipFill>
          <a:blip r:embed="rId3"/>
          <a:stretch>
            <a:fillRect/>
          </a:stretch>
        </p:blipFill>
        <p:spPr>
          <a:xfrm>
            <a:off x="8218411" y="324000"/>
            <a:ext cx="604774" cy="318516"/>
          </a:xfrm>
          <a:prstGeom prst="rect">
            <a:avLst/>
          </a:prstGeom>
        </p:spPr>
      </p:pic>
      <p:sp>
        <p:nvSpPr>
          <p:cNvPr id="5" name="Textfeld 4"/>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dirty="0">
                <a:solidFill>
                  <a:srgbClr val="0065BD"/>
                </a:solidFill>
                <a:latin typeface="Arial" panose="020B0604020202020204" pitchFamily="34" charset="0"/>
                <a:cs typeface="Arial" panose="020B0604020202020204" pitchFamily="34" charset="0"/>
              </a:rPr>
              <a:t>Laboratory</a:t>
            </a:r>
            <a:r>
              <a:rPr lang="de-DE" sz="800" baseline="0" dirty="0">
                <a:solidFill>
                  <a:srgbClr val="0065BD"/>
                </a:solidFill>
                <a:latin typeface="Arial" panose="020B0604020202020204" pitchFamily="34" charset="0"/>
                <a:cs typeface="Arial" panose="020B0604020202020204" pitchFamily="34" charset="0"/>
              </a:rPr>
              <a:t> </a:t>
            </a:r>
            <a:r>
              <a:rPr lang="de-DE" sz="800" dirty="0" err="1">
                <a:solidFill>
                  <a:srgbClr val="0065BD"/>
                </a:solidFill>
                <a:latin typeface="Arial" panose="020B0604020202020204" pitchFamily="34" charset="0"/>
                <a:cs typeface="Arial" panose="020B0604020202020204" pitchFamily="34" charset="0"/>
              </a:rPr>
              <a:t>for</a:t>
            </a:r>
            <a:r>
              <a:rPr lang="de-DE" sz="800" dirty="0">
                <a:solidFill>
                  <a:srgbClr val="0065BD"/>
                </a:solidFill>
                <a:latin typeface="Arial" panose="020B0604020202020204" pitchFamily="34" charset="0"/>
                <a:cs typeface="Arial" panose="020B0604020202020204" pitchFamily="34" charset="0"/>
              </a:rPr>
              <a:t> </a:t>
            </a:r>
            <a:r>
              <a:rPr lang="de-DE" sz="800" dirty="0" err="1">
                <a:solidFill>
                  <a:srgbClr val="0065BD"/>
                </a:solidFill>
                <a:latin typeface="Arial" panose="020B0604020202020204" pitchFamily="34" charset="0"/>
                <a:cs typeface="Arial" panose="020B0604020202020204" pitchFamily="34" charset="0"/>
              </a:rPr>
              <a:t>Product</a:t>
            </a:r>
            <a:r>
              <a:rPr lang="de-DE" sz="800" dirty="0">
                <a:solidFill>
                  <a:srgbClr val="0065BD"/>
                </a:solidFill>
                <a:latin typeface="Arial" panose="020B0604020202020204" pitchFamily="34" charset="0"/>
                <a:cs typeface="Arial" panose="020B0604020202020204" pitchFamily="34" charset="0"/>
              </a:rPr>
              <a:t> Development </a:t>
            </a:r>
            <a:r>
              <a:rPr lang="de-DE" sz="800" dirty="0" err="1">
                <a:solidFill>
                  <a:srgbClr val="0065BD"/>
                </a:solidFill>
                <a:latin typeface="Arial" panose="020B0604020202020204" pitchFamily="34" charset="0"/>
                <a:cs typeface="Arial" panose="020B0604020202020204" pitchFamily="34" charset="0"/>
              </a:rPr>
              <a:t>and</a:t>
            </a:r>
            <a:r>
              <a:rPr lang="de-DE" sz="800" dirty="0">
                <a:solidFill>
                  <a:srgbClr val="0065BD"/>
                </a:solidFill>
                <a:latin typeface="Arial" panose="020B0604020202020204" pitchFamily="34" charset="0"/>
                <a:cs typeface="Arial" panose="020B0604020202020204" pitchFamily="34" charset="0"/>
              </a:rPr>
              <a:t> Lightweight Design</a:t>
            </a:r>
          </a:p>
          <a:p>
            <a:pPr>
              <a:lnSpc>
                <a:spcPts val="900"/>
              </a:lnSpc>
            </a:pPr>
            <a:r>
              <a:rPr lang="de-DE" sz="800" dirty="0">
                <a:solidFill>
                  <a:srgbClr val="0065BD"/>
                </a:solidFill>
                <a:latin typeface="Arial" panose="020B0604020202020204" pitchFamily="34" charset="0"/>
                <a:cs typeface="Arial" panose="020B0604020202020204" pitchFamily="34" charset="0"/>
              </a:rPr>
              <a:t>Department of Mechanical Engineering</a:t>
            </a:r>
          </a:p>
          <a:p>
            <a:pPr>
              <a:lnSpc>
                <a:spcPts val="900"/>
              </a:lnSpc>
            </a:pPr>
            <a:r>
              <a:rPr lang="de-DE" sz="800" dirty="0">
                <a:solidFill>
                  <a:srgbClr val="0065BD"/>
                </a:solidFill>
                <a:latin typeface="Arial" panose="020B0604020202020204" pitchFamily="34" charset="0"/>
                <a:cs typeface="Arial" panose="020B0604020202020204" pitchFamily="34" charset="0"/>
              </a:rPr>
              <a:t>Technical University </a:t>
            </a:r>
            <a:r>
              <a:rPr lang="de-DE" sz="800" dirty="0" err="1">
                <a:solidFill>
                  <a:srgbClr val="0065BD"/>
                </a:solidFill>
                <a:latin typeface="Arial" panose="020B0604020202020204" pitchFamily="34" charset="0"/>
                <a:cs typeface="Arial" panose="020B0604020202020204" pitchFamily="34" charset="0"/>
              </a:rPr>
              <a:t>of</a:t>
            </a:r>
            <a:r>
              <a:rPr lang="de-DE" sz="800" dirty="0">
                <a:solidFill>
                  <a:srgbClr val="0065BD"/>
                </a:solidFill>
                <a:latin typeface="Arial" panose="020B0604020202020204" pitchFamily="34" charset="0"/>
                <a:cs typeface="Arial" panose="020B0604020202020204" pitchFamily="34" charset="0"/>
              </a:rPr>
              <a:t> </a:t>
            </a:r>
            <a:r>
              <a:rPr lang="de-DE" sz="800" dirty="0" err="1">
                <a:solidFill>
                  <a:srgbClr val="0065BD"/>
                </a:solidFill>
                <a:latin typeface="Arial" panose="020B0604020202020204" pitchFamily="34" charset="0"/>
                <a:cs typeface="Arial" panose="020B0604020202020204" pitchFamily="34" charset="0"/>
              </a:rPr>
              <a:t>Munich</a:t>
            </a:r>
            <a:endParaRPr lang="de-DE" sz="800" dirty="0">
              <a:solidFill>
                <a:srgbClr val="0065BD"/>
              </a:solidFill>
              <a:latin typeface="Arial" panose="020B0604020202020204" pitchFamily="34" charset="0"/>
              <a:cs typeface="Arial" panose="020B0604020202020204" pitchFamily="34" charset="0"/>
            </a:endParaRPr>
          </a:p>
        </p:txBody>
      </p:sp>
      <p:pic>
        <p:nvPicPr>
          <p:cNvPr id="7" name="Grafi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4000" y="3744000"/>
            <a:ext cx="1385548" cy="566929"/>
          </a:xfrm>
          <a:prstGeom prst="rect">
            <a:avLst/>
          </a:prstGeom>
        </p:spPr>
      </p:pic>
      <p:pic>
        <p:nvPicPr>
          <p:cNvPr id="6" name="Grafik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544000" y="1872000"/>
            <a:ext cx="3297936" cy="2880360"/>
          </a:xfrm>
          <a:prstGeom prst="rect">
            <a:avLst/>
          </a:prstGeom>
        </p:spPr>
      </p:pic>
    </p:spTree>
    <p:extLst>
      <p:ext uri="{BB962C8B-B14F-4D97-AF65-F5344CB8AC3E}">
        <p14:creationId xmlns:p14="http://schemas.microsoft.com/office/powerpoint/2010/main" val="2250866730"/>
      </p:ext>
    </p:extLst>
  </p:cSld>
  <p:clrMap bg1="lt1" tx1="dk1" bg2="lt2" tx2="dk2" accent1="accent1" accent2="accent2" accent3="accent3" accent4="accent4" accent5="accent5" accent6="accent6" hlink="hlink" folHlink="folHlink"/>
  <p:sldLayoutIdLst>
    <p:sldLayoutId id="2147483718"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pic>
        <p:nvPicPr>
          <p:cNvPr id="4" name="Bild 3" descr="20150416 tum logo blau png final.png"/>
          <p:cNvPicPr>
            <a:picLocks noChangeAspect="1"/>
          </p:cNvPicPr>
          <p:nvPr/>
        </p:nvPicPr>
        <p:blipFill>
          <a:blip r:embed="rId4"/>
          <a:stretch>
            <a:fillRect/>
          </a:stretch>
        </p:blipFill>
        <p:spPr bwMode="black">
          <a:xfrm>
            <a:off x="8218800" y="324000"/>
            <a:ext cx="599513" cy="320288"/>
          </a:xfrm>
          <a:prstGeom prst="rect">
            <a:avLst/>
          </a:prstGeom>
        </p:spPr>
      </p:pic>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800">
                <a:solidFill>
                  <a:schemeClr val="bg1"/>
                </a:solidFill>
              </a:defRPr>
            </a:lvl1pPr>
          </a:lstStyle>
          <a:p>
            <a:fld id="{CE58CB1E-F828-4F11-99E0-327109AF9DA4}" type="slidenum">
              <a:rPr lang="de-DE" smtClean="0"/>
              <a:pPr/>
              <a:t>‹#›</a:t>
            </a:fld>
            <a:endParaRPr lang="de-DE" dirty="0"/>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800">
                <a:solidFill>
                  <a:schemeClr val="bg1"/>
                </a:solidFill>
              </a:defRPr>
            </a:lvl1pPr>
          </a:lstStyle>
          <a:p>
            <a:r>
              <a:rPr lang="de-DE"/>
              <a:t>LPL I Bio-inspired Design Seminar | Team xx </a:t>
            </a:r>
            <a:endParaRPr lang="en-US" dirty="0"/>
          </a:p>
        </p:txBody>
      </p:sp>
    </p:spTree>
  </p:cSld>
  <p:clrMap bg1="lt1" tx1="dk1" bg2="lt2" tx2="dk2" accent1="accent1" accent2="accent2" accent3="accent3" accent4="accent4" accent5="accent5" accent6="accent6" hlink="hlink" folHlink="folHlink"/>
  <p:sldLayoutIdLst>
    <p:sldLayoutId id="2147483685" r:id="rId1"/>
    <p:sldLayoutId id="2147483714" r:id="rId2"/>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794C989-BBAA-4EE9-9994-5A82DE1695F1}"/>
              </a:ext>
            </a:extLst>
          </p:cNvPr>
          <p:cNvGraphicFramePr>
            <a:graphicFrameLocks noChangeAspect="1"/>
          </p:cNvGraphicFramePr>
          <p:nvPr userDrawn="1">
            <p:custDataLst>
              <p:tags r:id="rId8"/>
            </p:custDataLst>
            <p:extLst>
              <p:ext uri="{D42A27DB-BD31-4B8C-83A1-F6EECF244321}">
                <p14:modId xmlns:p14="http://schemas.microsoft.com/office/powerpoint/2010/main" val="226139837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24" imgH="424" progId="TCLayout.ActiveDocument.1">
                  <p:embed/>
                </p:oleObj>
              </mc:Choice>
              <mc:Fallback>
                <p:oleObj name="think-cell Slide" r:id="rId10" imgW="424" imgH="424" progId="TCLayout.ActiveDocument.1">
                  <p:embed/>
                  <p:pic>
                    <p:nvPicPr>
                      <p:cNvPr id="5" name="Objekt 4" hidden="1">
                        <a:extLst>
                          <a:ext uri="{FF2B5EF4-FFF2-40B4-BE49-F238E27FC236}">
                            <a16:creationId xmlns:a16="http://schemas.microsoft.com/office/drawing/2014/main" id="{1794C989-BBAA-4EE9-9994-5A82DE1695F1}"/>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5E367C1E-D07A-4CEE-8735-8E2C61BD021E}"/>
              </a:ext>
            </a:extLst>
          </p:cNvPr>
          <p:cNvSpPr/>
          <p:nvPr userDrawn="1">
            <p:custDataLst>
              <p:tags r:id="rId9"/>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50" b="1" i="0" baseline="0" err="1">
              <a:latin typeface="Graphik" panose="020B0503030202060203" pitchFamily="34" charset="0"/>
              <a:ea typeface="+mj-ea"/>
              <a:cs typeface="+mj-cs"/>
              <a:sym typeface="Graphik" panose="020B0503030202060203" pitchFamily="34" charset="0"/>
            </a:endParaRPr>
          </a:p>
        </p:txBody>
      </p:sp>
      <p:sp>
        <p:nvSpPr>
          <p:cNvPr id="25" name="TextBox 24">
            <a:extLst>
              <a:ext uri="{FF2B5EF4-FFF2-40B4-BE49-F238E27FC236}">
                <a16:creationId xmlns:a16="http://schemas.microsoft.com/office/drawing/2014/main" id="{8DEAF7F0-ADBE-DA4B-80DE-727BD0E615AA}"/>
              </a:ext>
            </a:extLst>
          </p:cNvPr>
          <p:cNvSpPr txBox="1"/>
          <p:nvPr userDrawn="1"/>
        </p:nvSpPr>
        <p:spPr>
          <a:xfrm>
            <a:off x="6238417" y="4861560"/>
            <a:ext cx="2334083" cy="152402"/>
          </a:xfrm>
          <a:prstGeom prst="rect">
            <a:avLst/>
          </a:prstGeom>
          <a:noFill/>
        </p:spPr>
        <p:txBody>
          <a:bodyPr wrap="square" lIns="0" tIns="0" rIns="0" bIns="0" rtlCol="0" anchor="ctr">
            <a:noAutofit/>
          </a:bodyPr>
          <a:lstStyle/>
          <a:p>
            <a:pPr marL="0" marR="0" lvl="0" indent="0" algn="r" defTabSz="171450" rtl="0" eaLnBrk="1" fontAlgn="auto" latinLnBrk="0" hangingPunct="1">
              <a:lnSpc>
                <a:spcPct val="100000"/>
              </a:lnSpc>
              <a:spcBef>
                <a:spcPts val="0"/>
              </a:spcBef>
              <a:spcAft>
                <a:spcPts val="900"/>
              </a:spcAft>
              <a:buClrTx/>
              <a:buSzTx/>
              <a:buFontTx/>
              <a:buNone/>
              <a:tabLst/>
              <a:defRPr/>
            </a:pPr>
            <a:r>
              <a:rPr lang="en-GB" sz="600">
                <a:solidFill>
                  <a:schemeClr val="tx1">
                    <a:alpha val="75000"/>
                  </a:schemeClr>
                </a:solidFill>
              </a:rPr>
              <a:t>Copyright © 2022 Accenture. All rights reserved.</a:t>
            </a:r>
            <a:endParaRPr lang="en-US" noProof="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8572500" y="4860595"/>
            <a:ext cx="285750" cy="154331"/>
          </a:xfrm>
          <a:prstGeom prst="rect">
            <a:avLst/>
          </a:prstGeom>
          <a:noFill/>
        </p:spPr>
        <p:txBody>
          <a:bodyPr wrap="square" lIns="0" tIns="0" rIns="0" bIns="0" rtlCol="0" anchor="ctr">
            <a:noAutofit/>
          </a:bodyPr>
          <a:lstStyle/>
          <a:p>
            <a:pPr marL="0" marR="0" lvl="0" indent="0" algn="r" defTabSz="171450" rtl="0" eaLnBrk="1" fontAlgn="auto" latinLnBrk="0" hangingPunct="1">
              <a:lnSpc>
                <a:spcPct val="100000"/>
              </a:lnSpc>
              <a:spcBef>
                <a:spcPts val="0"/>
              </a:spcBef>
              <a:spcAft>
                <a:spcPts val="900"/>
              </a:spcAft>
              <a:buClrTx/>
              <a:buSzTx/>
              <a:buFontTx/>
              <a:buNone/>
              <a:tabLst/>
              <a:defRPr/>
            </a:pPr>
            <a:fld id="{8A1971D9-5B62-3C46-9EC9-FDAAB88557B2}" type="slidenum">
              <a:rPr lang="en-GB" sz="600" smtClean="0">
                <a:solidFill>
                  <a:schemeClr val="tx1">
                    <a:alpha val="75000"/>
                  </a:schemeClr>
                </a:solidFill>
              </a:rPr>
              <a:pPr marL="0" marR="0" lvl="0" indent="0" algn="r" defTabSz="171450" rtl="0" eaLnBrk="1" fontAlgn="auto" latinLnBrk="0" hangingPunct="1">
                <a:lnSpc>
                  <a:spcPct val="100000"/>
                </a:lnSpc>
                <a:spcBef>
                  <a:spcPts val="0"/>
                </a:spcBef>
                <a:spcAft>
                  <a:spcPts val="900"/>
                </a:spcAft>
                <a:buClrTx/>
                <a:buSzTx/>
                <a:buFontTx/>
                <a:buNone/>
                <a:tabLst/>
                <a:defRPr/>
              </a:pPr>
              <a:t>‹#›</a:t>
            </a:fld>
            <a:endParaRPr lang="en-US" noProof="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8572499" y="4857751"/>
            <a:ext cx="285751" cy="155882"/>
          </a:xfrm>
          <a:prstGeom prst="rect">
            <a:avLst/>
          </a:prstGeom>
          <a:noFill/>
        </p:spPr>
        <p:txBody>
          <a:bodyPr wrap="square" lIns="0" tIns="0" rIns="0" bIns="0" rtlCol="0" anchor="ctr">
            <a:noAutofit/>
          </a:bodyPr>
          <a:lstStyle>
            <a:lvl1pPr>
              <a:defRPr lang="en-US" sz="600" smtClean="0">
                <a:noFill/>
              </a:defRPr>
            </a:lvl1pPr>
          </a:lstStyle>
          <a:p>
            <a:pPr algn="r" defTabSz="171450">
              <a:spcAft>
                <a:spcPts val="900"/>
              </a:spcAft>
            </a:pPr>
            <a:fld id="{CC9E6EB9-168E-4914-8CC7-2E853AFB4F1B}" type="slidenum">
              <a:rPr lang="en-US" altLang="zh-CN" smtClean="0"/>
              <a:pPr algn="r" defTabSz="171450">
                <a:spcAft>
                  <a:spcPts val="900"/>
                </a:spcAft>
              </a:pPr>
              <a:t>‹#›</a:t>
            </a:fld>
            <a:endParaRPr lang="zh-CN" altLang="en-US"/>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285750" y="285751"/>
            <a:ext cx="8572500" cy="529352"/>
          </a:xfrm>
          <a:prstGeom prst="rect">
            <a:avLst/>
          </a:prstGeom>
        </p:spPr>
        <p:txBody>
          <a:bodyPr vert="horz" lIns="0" tIns="0" rIns="0" bIns="0" rtlCol="0" anchor="t">
            <a:noAutofit/>
          </a:bodyPr>
          <a:lstStyle/>
          <a:p>
            <a:r>
              <a:rPr lang="en-US"/>
              <a:t>Place headline here (30pt)</a:t>
            </a:r>
            <a:br>
              <a:rPr lang="en-US"/>
            </a:br>
            <a:endParaRPr lang="en-US"/>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19682" y="1046740"/>
            <a:ext cx="8572500" cy="3672842"/>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285750" y="4861887"/>
            <a:ext cx="144018" cy="151746"/>
          </a:xfrm>
          <a:prstGeom prst="rect">
            <a:avLst/>
          </a:prstGeom>
        </p:spPr>
      </p:pic>
      <p:cxnSp>
        <p:nvCxnSpPr>
          <p:cNvPr id="12" name="Straight Connector 41">
            <a:extLst>
              <a:ext uri="{FF2B5EF4-FFF2-40B4-BE49-F238E27FC236}">
                <a16:creationId xmlns:a16="http://schemas.microsoft.com/office/drawing/2014/main" id="{8B5CF7D3-9D11-43C8-9C96-352C50278771}"/>
              </a:ext>
            </a:extLst>
          </p:cNvPr>
          <p:cNvCxnSpPr/>
          <p:nvPr userDrawn="1"/>
        </p:nvCxnSpPr>
        <p:spPr>
          <a:xfrm>
            <a:off x="-189480" y="1035033"/>
            <a:ext cx="13716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3" name="Straight Connector 50">
            <a:extLst>
              <a:ext uri="{FF2B5EF4-FFF2-40B4-BE49-F238E27FC236}">
                <a16:creationId xmlns:a16="http://schemas.microsoft.com/office/drawing/2014/main" id="{88AE0773-EE52-4910-9A72-00D0E5988EB0}"/>
              </a:ext>
            </a:extLst>
          </p:cNvPr>
          <p:cNvCxnSpPr/>
          <p:nvPr userDrawn="1"/>
        </p:nvCxnSpPr>
        <p:spPr>
          <a:xfrm>
            <a:off x="-189480" y="1247046"/>
            <a:ext cx="13716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14" name="TextBox 51">
            <a:extLst>
              <a:ext uri="{FF2B5EF4-FFF2-40B4-BE49-F238E27FC236}">
                <a16:creationId xmlns:a16="http://schemas.microsoft.com/office/drawing/2014/main" id="{3F278CEE-58D7-4347-8A48-AC347988EF73}"/>
              </a:ext>
            </a:extLst>
          </p:cNvPr>
          <p:cNvSpPr txBox="1"/>
          <p:nvPr userDrawn="1"/>
        </p:nvSpPr>
        <p:spPr>
          <a:xfrm>
            <a:off x="-1577059" y="1162268"/>
            <a:ext cx="1334149" cy="16691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Upper Guide Content</a:t>
            </a:r>
          </a:p>
        </p:txBody>
      </p:sp>
      <p:sp>
        <p:nvSpPr>
          <p:cNvPr id="15" name="TextBox 52">
            <a:extLst>
              <a:ext uri="{FF2B5EF4-FFF2-40B4-BE49-F238E27FC236}">
                <a16:creationId xmlns:a16="http://schemas.microsoft.com/office/drawing/2014/main" id="{72837ACB-C53A-4B19-B46C-12F0BD14D74D}"/>
              </a:ext>
            </a:extLst>
          </p:cNvPr>
          <p:cNvSpPr txBox="1"/>
          <p:nvPr userDrawn="1"/>
        </p:nvSpPr>
        <p:spPr>
          <a:xfrm>
            <a:off x="-1574910" y="231306"/>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Tagline</a:t>
            </a:r>
          </a:p>
        </p:txBody>
      </p:sp>
      <p:cxnSp>
        <p:nvCxnSpPr>
          <p:cNvPr id="16" name="Straight Connector 53">
            <a:extLst>
              <a:ext uri="{FF2B5EF4-FFF2-40B4-BE49-F238E27FC236}">
                <a16:creationId xmlns:a16="http://schemas.microsoft.com/office/drawing/2014/main" id="{88641946-2B20-4A59-89E2-45EA2C30F3C7}"/>
              </a:ext>
            </a:extLst>
          </p:cNvPr>
          <p:cNvCxnSpPr>
            <a:cxnSpLocks/>
          </p:cNvCxnSpPr>
          <p:nvPr userDrawn="1"/>
        </p:nvCxnSpPr>
        <p:spPr>
          <a:xfrm flipV="1">
            <a:off x="-189480" y="287465"/>
            <a:ext cx="13716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17" name="TextBox 54">
            <a:extLst>
              <a:ext uri="{FF2B5EF4-FFF2-40B4-BE49-F238E27FC236}">
                <a16:creationId xmlns:a16="http://schemas.microsoft.com/office/drawing/2014/main" id="{89A408B4-95CF-45CC-B30E-DCC3DFABDFB3}"/>
              </a:ext>
            </a:extLst>
          </p:cNvPr>
          <p:cNvSpPr txBox="1">
            <a:spLocks/>
          </p:cNvSpPr>
          <p:nvPr userDrawn="1"/>
        </p:nvSpPr>
        <p:spPr>
          <a:xfrm>
            <a:off x="-1394910" y="2326947"/>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Primary color 3</a:t>
            </a:r>
          </a:p>
        </p:txBody>
      </p:sp>
      <p:sp>
        <p:nvSpPr>
          <p:cNvPr id="18" name="Rectangle 55">
            <a:extLst>
              <a:ext uri="{FF2B5EF4-FFF2-40B4-BE49-F238E27FC236}">
                <a16:creationId xmlns:a16="http://schemas.microsoft.com/office/drawing/2014/main" id="{3769ACFA-9470-41B4-9729-E3F76DBF5BCE}"/>
              </a:ext>
            </a:extLst>
          </p:cNvPr>
          <p:cNvSpPr/>
          <p:nvPr userDrawn="1"/>
        </p:nvSpPr>
        <p:spPr bwMode="gray">
          <a:xfrm>
            <a:off x="-243540" y="2326949"/>
            <a:ext cx="135000" cy="135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19" name="TextBox 56">
            <a:extLst>
              <a:ext uri="{FF2B5EF4-FFF2-40B4-BE49-F238E27FC236}">
                <a16:creationId xmlns:a16="http://schemas.microsoft.com/office/drawing/2014/main" id="{7AAC5BC3-3691-44AA-8748-7A93CC0912CF}"/>
              </a:ext>
            </a:extLst>
          </p:cNvPr>
          <p:cNvSpPr txBox="1">
            <a:spLocks/>
          </p:cNvSpPr>
          <p:nvPr userDrawn="1"/>
        </p:nvSpPr>
        <p:spPr>
          <a:xfrm>
            <a:off x="-1394910" y="2005451"/>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Primary color 1</a:t>
            </a:r>
          </a:p>
        </p:txBody>
      </p:sp>
      <p:sp>
        <p:nvSpPr>
          <p:cNvPr id="20" name="Rectangle 57">
            <a:extLst>
              <a:ext uri="{FF2B5EF4-FFF2-40B4-BE49-F238E27FC236}">
                <a16:creationId xmlns:a16="http://schemas.microsoft.com/office/drawing/2014/main" id="{0CDD69FD-794D-4C03-8423-ED265820553B}"/>
              </a:ext>
            </a:extLst>
          </p:cNvPr>
          <p:cNvSpPr/>
          <p:nvPr userDrawn="1"/>
        </p:nvSpPr>
        <p:spPr bwMode="gray">
          <a:xfrm>
            <a:off x="-243540" y="2005451"/>
            <a:ext cx="135000" cy="135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21" name="Rectangle 58">
            <a:extLst>
              <a:ext uri="{FF2B5EF4-FFF2-40B4-BE49-F238E27FC236}">
                <a16:creationId xmlns:a16="http://schemas.microsoft.com/office/drawing/2014/main" id="{2751F756-AE43-4D0B-BAED-2D185E1F57CB}"/>
              </a:ext>
            </a:extLst>
          </p:cNvPr>
          <p:cNvSpPr/>
          <p:nvPr userDrawn="1"/>
        </p:nvSpPr>
        <p:spPr bwMode="gray">
          <a:xfrm>
            <a:off x="-243540" y="2166200"/>
            <a:ext cx="135000" cy="135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22" name="TextBox 59">
            <a:extLst>
              <a:ext uri="{FF2B5EF4-FFF2-40B4-BE49-F238E27FC236}">
                <a16:creationId xmlns:a16="http://schemas.microsoft.com/office/drawing/2014/main" id="{F591BCA9-2B98-4642-B284-E42591051701}"/>
              </a:ext>
            </a:extLst>
          </p:cNvPr>
          <p:cNvSpPr txBox="1">
            <a:spLocks/>
          </p:cNvSpPr>
          <p:nvPr userDrawn="1"/>
        </p:nvSpPr>
        <p:spPr>
          <a:xfrm>
            <a:off x="-1394910" y="2166200"/>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Primary color 2</a:t>
            </a:r>
          </a:p>
        </p:txBody>
      </p:sp>
      <p:sp>
        <p:nvSpPr>
          <p:cNvPr id="23" name="TextBox 65">
            <a:extLst>
              <a:ext uri="{FF2B5EF4-FFF2-40B4-BE49-F238E27FC236}">
                <a16:creationId xmlns:a16="http://schemas.microsoft.com/office/drawing/2014/main" id="{F13441F1-4B5D-44E6-99C3-7816583211E9}"/>
              </a:ext>
            </a:extLst>
          </p:cNvPr>
          <p:cNvSpPr txBox="1"/>
          <p:nvPr userDrawn="1"/>
        </p:nvSpPr>
        <p:spPr>
          <a:xfrm>
            <a:off x="-1394910" y="4364925"/>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White</a:t>
            </a:r>
          </a:p>
        </p:txBody>
      </p:sp>
      <p:sp>
        <p:nvSpPr>
          <p:cNvPr id="24" name="Rectangle 67">
            <a:extLst>
              <a:ext uri="{FF2B5EF4-FFF2-40B4-BE49-F238E27FC236}">
                <a16:creationId xmlns:a16="http://schemas.microsoft.com/office/drawing/2014/main" id="{50159B7A-57FC-4CA5-9162-09658FE5B727}"/>
              </a:ext>
            </a:extLst>
          </p:cNvPr>
          <p:cNvSpPr/>
          <p:nvPr userDrawn="1"/>
        </p:nvSpPr>
        <p:spPr bwMode="gray">
          <a:xfrm>
            <a:off x="-243540" y="4364927"/>
            <a:ext cx="135000" cy="135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27" name="Rectangle 68">
            <a:extLst>
              <a:ext uri="{FF2B5EF4-FFF2-40B4-BE49-F238E27FC236}">
                <a16:creationId xmlns:a16="http://schemas.microsoft.com/office/drawing/2014/main" id="{134B466C-711D-4048-880C-A55E92C1E482}"/>
              </a:ext>
            </a:extLst>
          </p:cNvPr>
          <p:cNvSpPr>
            <a:spLocks/>
          </p:cNvSpPr>
          <p:nvPr userDrawn="1"/>
        </p:nvSpPr>
        <p:spPr bwMode="gray">
          <a:xfrm>
            <a:off x="-243663" y="3721933"/>
            <a:ext cx="135000" cy="135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28" name="TextBox 69">
            <a:extLst>
              <a:ext uri="{FF2B5EF4-FFF2-40B4-BE49-F238E27FC236}">
                <a16:creationId xmlns:a16="http://schemas.microsoft.com/office/drawing/2014/main" id="{3C12579F-9A74-44A9-868A-D3ABCA9173E5}"/>
              </a:ext>
            </a:extLst>
          </p:cNvPr>
          <p:cNvSpPr txBox="1">
            <a:spLocks/>
          </p:cNvSpPr>
          <p:nvPr userDrawn="1"/>
        </p:nvSpPr>
        <p:spPr>
          <a:xfrm>
            <a:off x="-1394910" y="3721931"/>
            <a:ext cx="115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9" name="TextBox 70">
            <a:extLst>
              <a:ext uri="{FF2B5EF4-FFF2-40B4-BE49-F238E27FC236}">
                <a16:creationId xmlns:a16="http://schemas.microsoft.com/office/drawing/2014/main" id="{7193BC93-6750-439C-8E80-7E4265A0FCA9}"/>
              </a:ext>
            </a:extLst>
          </p:cNvPr>
          <p:cNvSpPr txBox="1"/>
          <p:nvPr userDrawn="1"/>
        </p:nvSpPr>
        <p:spPr>
          <a:xfrm>
            <a:off x="-1574910" y="977158"/>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Sub-Headline Line</a:t>
            </a:r>
          </a:p>
        </p:txBody>
      </p:sp>
      <p:cxnSp>
        <p:nvCxnSpPr>
          <p:cNvPr id="30" name="Straight Connector 71">
            <a:extLst>
              <a:ext uri="{FF2B5EF4-FFF2-40B4-BE49-F238E27FC236}">
                <a16:creationId xmlns:a16="http://schemas.microsoft.com/office/drawing/2014/main" id="{53DA90D0-56E5-41B8-B4C8-F24B30636CDA}"/>
              </a:ext>
            </a:extLst>
          </p:cNvPr>
          <p:cNvCxnSpPr/>
          <p:nvPr userDrawn="1"/>
        </p:nvCxnSpPr>
        <p:spPr>
          <a:xfrm>
            <a:off x="-204720" y="4706304"/>
            <a:ext cx="13716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31" name="TextBox 72">
            <a:extLst>
              <a:ext uri="{FF2B5EF4-FFF2-40B4-BE49-F238E27FC236}">
                <a16:creationId xmlns:a16="http://schemas.microsoft.com/office/drawing/2014/main" id="{D3C70D1E-1583-446E-8B57-E0C623B29BEF}"/>
              </a:ext>
            </a:extLst>
          </p:cNvPr>
          <p:cNvSpPr txBox="1"/>
          <p:nvPr userDrawn="1"/>
        </p:nvSpPr>
        <p:spPr>
          <a:xfrm>
            <a:off x="-1574910" y="4653466"/>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Footer</a:t>
            </a:r>
          </a:p>
        </p:txBody>
      </p:sp>
      <p:sp>
        <p:nvSpPr>
          <p:cNvPr id="33" name="TextBox 54">
            <a:extLst>
              <a:ext uri="{FF2B5EF4-FFF2-40B4-BE49-F238E27FC236}">
                <a16:creationId xmlns:a16="http://schemas.microsoft.com/office/drawing/2014/main" id="{A52D8D4E-1A24-43F5-B72E-0386AB2C7308}"/>
              </a:ext>
            </a:extLst>
          </p:cNvPr>
          <p:cNvSpPr txBox="1">
            <a:spLocks/>
          </p:cNvSpPr>
          <p:nvPr userDrawn="1"/>
        </p:nvSpPr>
        <p:spPr>
          <a:xfrm>
            <a:off x="-944910" y="2979469"/>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3</a:t>
            </a:r>
          </a:p>
        </p:txBody>
      </p:sp>
      <p:sp>
        <p:nvSpPr>
          <p:cNvPr id="34" name="Rectangle 55">
            <a:extLst>
              <a:ext uri="{FF2B5EF4-FFF2-40B4-BE49-F238E27FC236}">
                <a16:creationId xmlns:a16="http://schemas.microsoft.com/office/drawing/2014/main" id="{695C2899-C1E6-4D25-AA61-13D5FC8706B9}"/>
              </a:ext>
            </a:extLst>
          </p:cNvPr>
          <p:cNvSpPr/>
          <p:nvPr userDrawn="1"/>
        </p:nvSpPr>
        <p:spPr bwMode="gray">
          <a:xfrm>
            <a:off x="-243663" y="2979469"/>
            <a:ext cx="135000" cy="135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35" name="TextBox 56">
            <a:extLst>
              <a:ext uri="{FF2B5EF4-FFF2-40B4-BE49-F238E27FC236}">
                <a16:creationId xmlns:a16="http://schemas.microsoft.com/office/drawing/2014/main" id="{7D017051-A8C8-41B8-9620-0E06CC21A658}"/>
              </a:ext>
            </a:extLst>
          </p:cNvPr>
          <p:cNvSpPr txBox="1">
            <a:spLocks/>
          </p:cNvSpPr>
          <p:nvPr userDrawn="1"/>
        </p:nvSpPr>
        <p:spPr>
          <a:xfrm>
            <a:off x="-944910" y="2651854"/>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1</a:t>
            </a:r>
          </a:p>
        </p:txBody>
      </p:sp>
      <p:sp>
        <p:nvSpPr>
          <p:cNvPr id="36" name="Rectangle 57">
            <a:extLst>
              <a:ext uri="{FF2B5EF4-FFF2-40B4-BE49-F238E27FC236}">
                <a16:creationId xmlns:a16="http://schemas.microsoft.com/office/drawing/2014/main" id="{788FCADF-A5EF-41FC-90E1-79BAAA396C82}"/>
              </a:ext>
            </a:extLst>
          </p:cNvPr>
          <p:cNvSpPr/>
          <p:nvPr userDrawn="1"/>
        </p:nvSpPr>
        <p:spPr bwMode="gray">
          <a:xfrm>
            <a:off x="-243663" y="2651854"/>
            <a:ext cx="135000" cy="135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37" name="Rectangle 58">
            <a:extLst>
              <a:ext uri="{FF2B5EF4-FFF2-40B4-BE49-F238E27FC236}">
                <a16:creationId xmlns:a16="http://schemas.microsoft.com/office/drawing/2014/main" id="{B6E85F73-B1D9-4669-95D7-F51B365CFC04}"/>
              </a:ext>
            </a:extLst>
          </p:cNvPr>
          <p:cNvSpPr/>
          <p:nvPr userDrawn="1"/>
        </p:nvSpPr>
        <p:spPr bwMode="gray">
          <a:xfrm>
            <a:off x="-243663" y="2815661"/>
            <a:ext cx="135000" cy="135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38" name="TextBox 59">
            <a:extLst>
              <a:ext uri="{FF2B5EF4-FFF2-40B4-BE49-F238E27FC236}">
                <a16:creationId xmlns:a16="http://schemas.microsoft.com/office/drawing/2014/main" id="{E4F5FCBB-3CE0-485D-A4BD-E6093B4C1908}"/>
              </a:ext>
            </a:extLst>
          </p:cNvPr>
          <p:cNvSpPr txBox="1">
            <a:spLocks/>
          </p:cNvSpPr>
          <p:nvPr userDrawn="1"/>
        </p:nvSpPr>
        <p:spPr>
          <a:xfrm>
            <a:off x="-944910" y="2815661"/>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2</a:t>
            </a:r>
          </a:p>
        </p:txBody>
      </p:sp>
      <p:sp>
        <p:nvSpPr>
          <p:cNvPr id="39" name="Rectangle 66">
            <a:extLst>
              <a:ext uri="{FF2B5EF4-FFF2-40B4-BE49-F238E27FC236}">
                <a16:creationId xmlns:a16="http://schemas.microsoft.com/office/drawing/2014/main" id="{C49B7019-A660-4B20-906E-D629FC10F854}"/>
              </a:ext>
            </a:extLst>
          </p:cNvPr>
          <p:cNvSpPr/>
          <p:nvPr userDrawn="1"/>
        </p:nvSpPr>
        <p:spPr bwMode="gray">
          <a:xfrm>
            <a:off x="-243540" y="4206391"/>
            <a:ext cx="135000" cy="135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40" name="TextBox 54">
            <a:extLst>
              <a:ext uri="{FF2B5EF4-FFF2-40B4-BE49-F238E27FC236}">
                <a16:creationId xmlns:a16="http://schemas.microsoft.com/office/drawing/2014/main" id="{D091C4F6-D1AC-43B7-B422-654BA1679C32}"/>
              </a:ext>
            </a:extLst>
          </p:cNvPr>
          <p:cNvSpPr txBox="1"/>
          <p:nvPr userDrawn="1"/>
        </p:nvSpPr>
        <p:spPr>
          <a:xfrm>
            <a:off x="-647910" y="4206391"/>
            <a:ext cx="405000" cy="135000"/>
          </a:xfrm>
          <a:prstGeom prst="rect">
            <a:avLst/>
          </a:prstGeom>
          <a:noFill/>
        </p:spPr>
        <p:txBody>
          <a:bodyPr wrap="square" lIns="0" tIns="0" rIns="99692"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Grey 3</a:t>
            </a:r>
          </a:p>
        </p:txBody>
      </p:sp>
      <p:sp>
        <p:nvSpPr>
          <p:cNvPr id="41" name="Rectangle 60">
            <a:extLst>
              <a:ext uri="{FF2B5EF4-FFF2-40B4-BE49-F238E27FC236}">
                <a16:creationId xmlns:a16="http://schemas.microsoft.com/office/drawing/2014/main" id="{DE6B737B-200D-44DC-950E-DF7B3A020B5C}"/>
              </a:ext>
            </a:extLst>
          </p:cNvPr>
          <p:cNvSpPr/>
          <p:nvPr userDrawn="1"/>
        </p:nvSpPr>
        <p:spPr bwMode="gray">
          <a:xfrm>
            <a:off x="-243540" y="3887659"/>
            <a:ext cx="135000" cy="135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42" name="TextBox 56">
            <a:extLst>
              <a:ext uri="{FF2B5EF4-FFF2-40B4-BE49-F238E27FC236}">
                <a16:creationId xmlns:a16="http://schemas.microsoft.com/office/drawing/2014/main" id="{5FC7FE5F-030B-466E-BF8C-5EAD8D6D9557}"/>
              </a:ext>
            </a:extLst>
          </p:cNvPr>
          <p:cNvSpPr txBox="1"/>
          <p:nvPr userDrawn="1"/>
        </p:nvSpPr>
        <p:spPr>
          <a:xfrm>
            <a:off x="-647910" y="3887659"/>
            <a:ext cx="405000" cy="135000"/>
          </a:xfrm>
          <a:prstGeom prst="rect">
            <a:avLst/>
          </a:prstGeom>
          <a:noFill/>
        </p:spPr>
        <p:txBody>
          <a:bodyPr wrap="square" lIns="0" tIns="0" rIns="99692"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Grey 1</a:t>
            </a:r>
          </a:p>
        </p:txBody>
      </p:sp>
      <p:sp>
        <p:nvSpPr>
          <p:cNvPr id="43" name="Rectangle 61">
            <a:extLst>
              <a:ext uri="{FF2B5EF4-FFF2-40B4-BE49-F238E27FC236}">
                <a16:creationId xmlns:a16="http://schemas.microsoft.com/office/drawing/2014/main" id="{E983DA1B-2E00-4ECE-8876-EF5C0B01CA13}"/>
              </a:ext>
            </a:extLst>
          </p:cNvPr>
          <p:cNvSpPr/>
          <p:nvPr userDrawn="1"/>
        </p:nvSpPr>
        <p:spPr bwMode="gray">
          <a:xfrm>
            <a:off x="-243663" y="4047025"/>
            <a:ext cx="135000" cy="135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tab pos="199389" algn="l"/>
              </a:tabLst>
              <a:defRPr/>
            </a:pPr>
            <a:endParaRPr kumimoji="0" lang="en-US" sz="739" b="0" i="0" u="none" strike="noStrike" kern="1200" cap="none" spc="0" normalizeH="0" baseline="0" noProof="0">
              <a:ln>
                <a:noFill/>
              </a:ln>
              <a:solidFill>
                <a:prstClr val="white"/>
              </a:solidFill>
              <a:effectLst/>
              <a:uLnTx/>
              <a:uFillTx/>
              <a:latin typeface="Graphik"/>
              <a:ea typeface="+mn-ea"/>
              <a:cs typeface="+mn-cs"/>
            </a:endParaRPr>
          </a:p>
        </p:txBody>
      </p:sp>
      <p:sp>
        <p:nvSpPr>
          <p:cNvPr id="44" name="TextBox 59">
            <a:extLst>
              <a:ext uri="{FF2B5EF4-FFF2-40B4-BE49-F238E27FC236}">
                <a16:creationId xmlns:a16="http://schemas.microsoft.com/office/drawing/2014/main" id="{3D49303F-4DD2-44AC-83F9-41375D864621}"/>
              </a:ext>
            </a:extLst>
          </p:cNvPr>
          <p:cNvSpPr txBox="1"/>
          <p:nvPr userDrawn="1"/>
        </p:nvSpPr>
        <p:spPr>
          <a:xfrm>
            <a:off x="-647910" y="4047025"/>
            <a:ext cx="405000" cy="135000"/>
          </a:xfrm>
          <a:prstGeom prst="rect">
            <a:avLst/>
          </a:prstGeom>
          <a:noFill/>
        </p:spPr>
        <p:txBody>
          <a:bodyPr wrap="square" lIns="0" tIns="0" rIns="99692"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Grey 2</a:t>
            </a:r>
          </a:p>
        </p:txBody>
      </p:sp>
      <p:sp>
        <p:nvSpPr>
          <p:cNvPr id="45" name="TextBox 73">
            <a:extLst>
              <a:ext uri="{FF2B5EF4-FFF2-40B4-BE49-F238E27FC236}">
                <a16:creationId xmlns:a16="http://schemas.microsoft.com/office/drawing/2014/main" id="{212372A9-BD2D-48C3-801D-82EF38D423BA}"/>
              </a:ext>
            </a:extLst>
          </p:cNvPr>
          <p:cNvSpPr txBox="1"/>
          <p:nvPr userDrawn="1"/>
        </p:nvSpPr>
        <p:spPr>
          <a:xfrm>
            <a:off x="315535" y="-174789"/>
            <a:ext cx="1403859" cy="95729"/>
          </a:xfrm>
          <a:prstGeom prst="rect">
            <a:avLst/>
          </a:prstGeom>
          <a:noFill/>
        </p:spPr>
        <p:txBody>
          <a:bodyPr wrap="square" lIns="66461" tIns="0" rIns="0"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Begin Content Area</a:t>
            </a:r>
          </a:p>
        </p:txBody>
      </p:sp>
      <p:sp>
        <p:nvSpPr>
          <p:cNvPr id="46" name="TextBox 74">
            <a:extLst>
              <a:ext uri="{FF2B5EF4-FFF2-40B4-BE49-F238E27FC236}">
                <a16:creationId xmlns:a16="http://schemas.microsoft.com/office/drawing/2014/main" id="{A40A2785-F6E5-4102-B50C-9379EEC4A667}"/>
              </a:ext>
            </a:extLst>
          </p:cNvPr>
          <p:cNvSpPr txBox="1"/>
          <p:nvPr userDrawn="1"/>
        </p:nvSpPr>
        <p:spPr>
          <a:xfrm>
            <a:off x="7521731" y="-166674"/>
            <a:ext cx="1370452" cy="108000"/>
          </a:xfrm>
          <a:prstGeom prst="rect">
            <a:avLst/>
          </a:prstGeom>
          <a:noFill/>
        </p:spPr>
        <p:txBody>
          <a:bodyPr wrap="square" lIns="0" tIns="0" rIns="66461"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End Content Area</a:t>
            </a:r>
          </a:p>
        </p:txBody>
      </p:sp>
      <p:sp>
        <p:nvSpPr>
          <p:cNvPr id="47" name="TextBox 75">
            <a:extLst>
              <a:ext uri="{FF2B5EF4-FFF2-40B4-BE49-F238E27FC236}">
                <a16:creationId xmlns:a16="http://schemas.microsoft.com/office/drawing/2014/main" id="{EAD8716C-FF3D-4B3C-AE09-B668EAD0E3DA}"/>
              </a:ext>
            </a:extLst>
          </p:cNvPr>
          <p:cNvSpPr txBox="1"/>
          <p:nvPr userDrawn="1"/>
        </p:nvSpPr>
        <p:spPr>
          <a:xfrm>
            <a:off x="4580404" y="-166674"/>
            <a:ext cx="1370452" cy="108000"/>
          </a:xfrm>
          <a:prstGeom prst="rect">
            <a:avLst/>
          </a:prstGeom>
          <a:noFill/>
        </p:spPr>
        <p:txBody>
          <a:bodyPr wrap="square" lIns="66461" tIns="0" rIns="0" bIns="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8" name="Straight Connector 77">
            <a:extLst>
              <a:ext uri="{FF2B5EF4-FFF2-40B4-BE49-F238E27FC236}">
                <a16:creationId xmlns:a16="http://schemas.microsoft.com/office/drawing/2014/main" id="{F5067342-DAC4-45AB-9B35-7BBDA44E1A7C}"/>
              </a:ext>
            </a:extLst>
          </p:cNvPr>
          <p:cNvCxnSpPr>
            <a:cxnSpLocks/>
          </p:cNvCxnSpPr>
          <p:nvPr userDrawn="1"/>
        </p:nvCxnSpPr>
        <p:spPr>
          <a:xfrm flipV="1">
            <a:off x="4572000" y="-146561"/>
            <a:ext cx="0" cy="135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0" name="Straight Connector 76">
            <a:extLst>
              <a:ext uri="{FF2B5EF4-FFF2-40B4-BE49-F238E27FC236}">
                <a16:creationId xmlns:a16="http://schemas.microsoft.com/office/drawing/2014/main" id="{1721202A-D225-46BA-A581-EE3758FAF593}"/>
              </a:ext>
            </a:extLst>
          </p:cNvPr>
          <p:cNvCxnSpPr>
            <a:cxnSpLocks/>
          </p:cNvCxnSpPr>
          <p:nvPr userDrawn="1"/>
        </p:nvCxnSpPr>
        <p:spPr>
          <a:xfrm flipV="1">
            <a:off x="285750" y="-146561"/>
            <a:ext cx="0" cy="135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49" name="TextBox 70">
            <a:extLst>
              <a:ext uri="{FF2B5EF4-FFF2-40B4-BE49-F238E27FC236}">
                <a16:creationId xmlns:a16="http://schemas.microsoft.com/office/drawing/2014/main" id="{3B65EA9A-1C0C-4754-8423-9AB40802F9BB}"/>
              </a:ext>
            </a:extLst>
          </p:cNvPr>
          <p:cNvSpPr txBox="1"/>
          <p:nvPr userDrawn="1"/>
        </p:nvSpPr>
        <p:spPr>
          <a:xfrm>
            <a:off x="-1574910" y="763610"/>
            <a:ext cx="1332000" cy="108000"/>
          </a:xfrm>
          <a:prstGeom prst="rect">
            <a:avLst/>
          </a:prstGeom>
          <a:noFill/>
        </p:spPr>
        <p:txBody>
          <a:bodyPr wrap="square" lIns="0" tIns="0" rIns="0"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Headline Line</a:t>
            </a:r>
          </a:p>
        </p:txBody>
      </p:sp>
      <p:cxnSp>
        <p:nvCxnSpPr>
          <p:cNvPr id="52" name="Straight Connector 71">
            <a:extLst>
              <a:ext uri="{FF2B5EF4-FFF2-40B4-BE49-F238E27FC236}">
                <a16:creationId xmlns:a16="http://schemas.microsoft.com/office/drawing/2014/main" id="{ABC7E73C-8028-4C63-B187-F1D1D2906A36}"/>
              </a:ext>
            </a:extLst>
          </p:cNvPr>
          <p:cNvCxnSpPr/>
          <p:nvPr userDrawn="1"/>
        </p:nvCxnSpPr>
        <p:spPr>
          <a:xfrm>
            <a:off x="-204720" y="4839893"/>
            <a:ext cx="13716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4" name="Straight Connector 41">
            <a:extLst>
              <a:ext uri="{FF2B5EF4-FFF2-40B4-BE49-F238E27FC236}">
                <a16:creationId xmlns:a16="http://schemas.microsoft.com/office/drawing/2014/main" id="{CF534E76-33C6-447D-8424-22CBE9F88928}"/>
              </a:ext>
            </a:extLst>
          </p:cNvPr>
          <p:cNvCxnSpPr/>
          <p:nvPr userDrawn="1"/>
        </p:nvCxnSpPr>
        <p:spPr>
          <a:xfrm>
            <a:off x="-189480" y="815720"/>
            <a:ext cx="13716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75" name="TextBox 54">
            <a:extLst>
              <a:ext uri="{FF2B5EF4-FFF2-40B4-BE49-F238E27FC236}">
                <a16:creationId xmlns:a16="http://schemas.microsoft.com/office/drawing/2014/main" id="{6CCAA815-27D9-4460-A77D-610A60C14775}"/>
              </a:ext>
            </a:extLst>
          </p:cNvPr>
          <p:cNvSpPr txBox="1">
            <a:spLocks/>
          </p:cNvSpPr>
          <p:nvPr userDrawn="1"/>
        </p:nvSpPr>
        <p:spPr>
          <a:xfrm>
            <a:off x="-944910" y="3307082"/>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5</a:t>
            </a:r>
          </a:p>
        </p:txBody>
      </p:sp>
      <p:sp>
        <p:nvSpPr>
          <p:cNvPr id="76" name="Rectangle 55">
            <a:extLst>
              <a:ext uri="{FF2B5EF4-FFF2-40B4-BE49-F238E27FC236}">
                <a16:creationId xmlns:a16="http://schemas.microsoft.com/office/drawing/2014/main" id="{79F9B763-F9B7-4EB5-8C66-61103B4F3C5A}"/>
              </a:ext>
            </a:extLst>
          </p:cNvPr>
          <p:cNvSpPr/>
          <p:nvPr userDrawn="1"/>
        </p:nvSpPr>
        <p:spPr bwMode="gray">
          <a:xfrm>
            <a:off x="-243663" y="3307084"/>
            <a:ext cx="135000" cy="135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77" name="Rectangle 58">
            <a:extLst>
              <a:ext uri="{FF2B5EF4-FFF2-40B4-BE49-F238E27FC236}">
                <a16:creationId xmlns:a16="http://schemas.microsoft.com/office/drawing/2014/main" id="{7DC62BEE-1EBA-400C-AAB8-AFC0C6A94B7C}"/>
              </a:ext>
            </a:extLst>
          </p:cNvPr>
          <p:cNvSpPr/>
          <p:nvPr userDrawn="1"/>
        </p:nvSpPr>
        <p:spPr bwMode="gray">
          <a:xfrm>
            <a:off x="-243663" y="3143276"/>
            <a:ext cx="135000" cy="135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900" b="0" i="0" u="none" strike="noStrike" cap="none" spc="0" normalizeH="0" baseline="0" noProof="0">
              <a:ln>
                <a:noFill/>
              </a:ln>
              <a:solidFill>
                <a:srgbClr val="FFFFFF"/>
              </a:solidFill>
              <a:effectLst/>
              <a:uLnTx/>
              <a:uFillTx/>
              <a:latin typeface="Graphik"/>
            </a:endParaRPr>
          </a:p>
        </p:txBody>
      </p:sp>
      <p:sp>
        <p:nvSpPr>
          <p:cNvPr id="78" name="TextBox 59">
            <a:extLst>
              <a:ext uri="{FF2B5EF4-FFF2-40B4-BE49-F238E27FC236}">
                <a16:creationId xmlns:a16="http://schemas.microsoft.com/office/drawing/2014/main" id="{C1BC6C5F-EAEC-4F76-9561-5411D3DAAA24}"/>
              </a:ext>
            </a:extLst>
          </p:cNvPr>
          <p:cNvSpPr txBox="1">
            <a:spLocks/>
          </p:cNvSpPr>
          <p:nvPr userDrawn="1"/>
        </p:nvSpPr>
        <p:spPr>
          <a:xfrm>
            <a:off x="-944910" y="3143276"/>
            <a:ext cx="702000" cy="135000"/>
          </a:xfrm>
          <a:prstGeom prst="rect">
            <a:avLst/>
          </a:prstGeom>
          <a:noFill/>
        </p:spPr>
        <p:txBody>
          <a:bodyPr wrap="square" lIns="0" tIns="0" rIns="99692" bIns="0" rtlCol="0"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Graphik"/>
                <a:ea typeface="+mn-ea"/>
                <a:cs typeface="+mn-cs"/>
              </a:rPr>
              <a:t>Accent 4</a:t>
            </a:r>
          </a:p>
        </p:txBody>
      </p:sp>
      <p:cxnSp>
        <p:nvCxnSpPr>
          <p:cNvPr id="79" name="Straight Connector 77">
            <a:extLst>
              <a:ext uri="{FF2B5EF4-FFF2-40B4-BE49-F238E27FC236}">
                <a16:creationId xmlns:a16="http://schemas.microsoft.com/office/drawing/2014/main" id="{5BC861BD-FBB5-4583-86D2-62624DFB0584}"/>
              </a:ext>
            </a:extLst>
          </p:cNvPr>
          <p:cNvCxnSpPr>
            <a:cxnSpLocks/>
          </p:cNvCxnSpPr>
          <p:nvPr userDrawn="1"/>
        </p:nvCxnSpPr>
        <p:spPr>
          <a:xfrm flipV="1">
            <a:off x="8855963" y="-146561"/>
            <a:ext cx="0" cy="135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757872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Lst>
  <p:hf hdr="0" ftr="0"/>
  <p:txStyles>
    <p:titleStyle>
      <a:lvl1pPr algn="l" defTabSz="685800" rtl="0" eaLnBrk="1" latinLnBrk="0" hangingPunct="1">
        <a:lnSpc>
          <a:spcPct val="80000"/>
        </a:lnSpc>
        <a:spcBef>
          <a:spcPct val="0"/>
        </a:spcBef>
        <a:buNone/>
        <a:defRPr sz="2250" b="1" kern="1200">
          <a:solidFill>
            <a:schemeClr val="tx1"/>
          </a:solidFill>
          <a:latin typeface="+mj-lt"/>
          <a:ea typeface="+mj-ea"/>
          <a:cs typeface="+mj-cs"/>
        </a:defRPr>
      </a:lvl1pPr>
    </p:titleStyle>
    <p:bodyStyle>
      <a:lvl1pPr marL="0" indent="0" algn="l" defTabSz="171450" rtl="0" eaLnBrk="1" latinLnBrk="0" hangingPunct="1">
        <a:lnSpc>
          <a:spcPct val="100000"/>
        </a:lnSpc>
        <a:spcBef>
          <a:spcPts val="0"/>
        </a:spcBef>
        <a:spcAft>
          <a:spcPts val="450"/>
        </a:spcAft>
        <a:buFont typeface="Arial" panose="020B0604020202020204" pitchFamily="34" charset="0"/>
        <a:buNone/>
        <a:defRPr sz="1500" b="0" kern="1200">
          <a:solidFill>
            <a:schemeClr val="tx1"/>
          </a:solidFill>
          <a:latin typeface="+mn-lt"/>
          <a:ea typeface="+mn-ea"/>
          <a:cs typeface="+mn-cs"/>
        </a:defRPr>
      </a:lvl1pPr>
      <a:lvl2pPr marL="135000" indent="-135000" algn="l" defTabSz="171450" rtl="0" eaLnBrk="1" latinLnBrk="0" hangingPunct="1">
        <a:lnSpc>
          <a:spcPct val="100000"/>
        </a:lnSpc>
        <a:spcBef>
          <a:spcPts val="0"/>
        </a:spcBef>
        <a:spcAft>
          <a:spcPts val="450"/>
        </a:spcAft>
        <a:buClrTx/>
        <a:buFont typeface="Arial" panose="020B0604020202020204" pitchFamily="34" charset="0"/>
        <a:buChar char="•"/>
        <a:defRPr sz="1050" kern="1200">
          <a:solidFill>
            <a:schemeClr val="tx1"/>
          </a:solidFill>
          <a:latin typeface="+mn-lt"/>
          <a:ea typeface="+mn-ea"/>
          <a:cs typeface="+mn-cs"/>
        </a:defRPr>
      </a:lvl2pPr>
      <a:lvl3pPr marL="270000" indent="-135000" algn="l" defTabSz="171450" rtl="0" eaLnBrk="1" latinLnBrk="0" hangingPunct="1">
        <a:lnSpc>
          <a:spcPct val="100000"/>
        </a:lnSpc>
        <a:spcBef>
          <a:spcPts val="0"/>
        </a:spcBef>
        <a:spcAft>
          <a:spcPts val="450"/>
        </a:spcAft>
        <a:buFont typeface="System Font"/>
        <a:buChar char="–"/>
        <a:defRPr sz="1050" kern="1200">
          <a:solidFill>
            <a:schemeClr val="tx1"/>
          </a:solidFill>
          <a:latin typeface="+mn-lt"/>
          <a:ea typeface="+mn-ea"/>
          <a:cs typeface="+mn-cs"/>
        </a:defRPr>
      </a:lvl3pPr>
      <a:lvl4pPr marL="405000" indent="-135000" algn="l" defTabSz="171450" rtl="0" eaLnBrk="1" latinLnBrk="0" hangingPunct="1">
        <a:lnSpc>
          <a:spcPct val="100000"/>
        </a:lnSpc>
        <a:spcBef>
          <a:spcPts val="0"/>
        </a:spcBef>
        <a:spcAft>
          <a:spcPts val="450"/>
        </a:spcAft>
        <a:buFont typeface="Arial" panose="020B0604020202020204" pitchFamily="34" charset="0"/>
        <a:buChar char="•"/>
        <a:defRPr sz="1050" kern="1200">
          <a:solidFill>
            <a:schemeClr val="tx1"/>
          </a:solidFill>
          <a:latin typeface="+mn-lt"/>
          <a:ea typeface="+mn-ea"/>
          <a:cs typeface="+mn-cs"/>
        </a:defRPr>
      </a:lvl4pPr>
      <a:lvl5pPr marL="540000" indent="-135000" algn="l" defTabSz="171450" rtl="0" eaLnBrk="1" latinLnBrk="0" hangingPunct="1">
        <a:lnSpc>
          <a:spcPct val="100000"/>
        </a:lnSpc>
        <a:spcBef>
          <a:spcPts val="0"/>
        </a:spcBef>
        <a:spcAft>
          <a:spcPts val="450"/>
        </a:spcAft>
        <a:buFont typeface="System Font"/>
        <a:buChar char="–"/>
        <a:defRPr sz="1050" kern="1200">
          <a:solidFill>
            <a:schemeClr val="tx1"/>
          </a:solidFill>
          <a:latin typeface="+mn-lt"/>
          <a:ea typeface="+mn-ea"/>
          <a:cs typeface="+mn-cs"/>
        </a:defRPr>
      </a:lvl5pPr>
      <a:lvl6pPr marL="8335" indent="0" algn="l" defTabSz="171450" rtl="0" eaLnBrk="1" latinLnBrk="0" hangingPunct="1">
        <a:lnSpc>
          <a:spcPct val="90000"/>
        </a:lnSpc>
        <a:spcBef>
          <a:spcPts val="0"/>
        </a:spcBef>
        <a:spcAft>
          <a:spcPts val="900"/>
        </a:spcAft>
        <a:buFont typeface="Graphik" panose="020B0503030202060203" pitchFamily="34" charset="0"/>
        <a:buNone/>
        <a:tabLst/>
        <a:defRPr sz="1200" kern="1200">
          <a:solidFill>
            <a:schemeClr val="tx1"/>
          </a:solidFill>
          <a:latin typeface="+mn-lt"/>
          <a:ea typeface="+mn-ea"/>
          <a:cs typeface="+mn-cs"/>
        </a:defRPr>
      </a:lvl6pPr>
      <a:lvl7pPr marL="0" indent="0" algn="l" defTabSz="171450" rtl="0" eaLnBrk="1" latinLnBrk="0" hangingPunct="1">
        <a:lnSpc>
          <a:spcPct val="90000"/>
        </a:lnSpc>
        <a:spcBef>
          <a:spcPts val="0"/>
        </a:spcBef>
        <a:spcAft>
          <a:spcPts val="900"/>
        </a:spcAft>
        <a:buFont typeface="Arial" panose="020B0604020202020204" pitchFamily="34" charset="0"/>
        <a:buNone/>
        <a:defRPr sz="900" kern="1200">
          <a:solidFill>
            <a:schemeClr val="tx1"/>
          </a:solidFill>
          <a:latin typeface="+mn-lt"/>
          <a:ea typeface="+mn-ea"/>
          <a:cs typeface="+mn-cs"/>
        </a:defRPr>
      </a:lvl7pPr>
      <a:lvl8pPr marL="0" indent="0" algn="l" defTabSz="171450" rtl="0" eaLnBrk="1" latinLnBrk="0" hangingPunct="1">
        <a:lnSpc>
          <a:spcPct val="90000"/>
        </a:lnSpc>
        <a:spcBef>
          <a:spcPts val="0"/>
        </a:spcBef>
        <a:spcAft>
          <a:spcPts val="900"/>
        </a:spcAft>
        <a:buFont typeface="Arial" panose="020B0604020202020204" pitchFamily="34" charset="0"/>
        <a:buNone/>
        <a:defRPr sz="750" b="1" kern="1200">
          <a:solidFill>
            <a:schemeClr val="tx1"/>
          </a:solidFill>
          <a:latin typeface="+mn-lt"/>
          <a:ea typeface="+mn-ea"/>
          <a:cs typeface="+mn-cs"/>
        </a:defRPr>
      </a:lvl8pPr>
      <a:lvl9pPr marL="0" indent="0" algn="l" defTabSz="171450" rtl="0" eaLnBrk="1" latinLnBrk="0" hangingPunct="1">
        <a:lnSpc>
          <a:spcPct val="90000"/>
        </a:lnSpc>
        <a:spcBef>
          <a:spcPts val="0"/>
        </a:spcBef>
        <a:spcAft>
          <a:spcPts val="900"/>
        </a:spcAft>
        <a:buFont typeface="Arial" panose="020B0604020202020204" pitchFamily="34" charset="0"/>
        <a:buNone/>
        <a:defRPr sz="600" kern="1200">
          <a:solidFill>
            <a:schemeClr val="tx2"/>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orient="horz" pos="3952">
          <p15:clr>
            <a:srgbClr val="F26B43"/>
          </p15:clr>
        </p15:guide>
        <p15:guide id="3" pos="240">
          <p15:clr>
            <a:srgbClr val="F26B43"/>
          </p15:clr>
        </p15:guide>
        <p15:guide id="4" pos="7440">
          <p15:clr>
            <a:srgbClr val="F26B43"/>
          </p15:clr>
        </p15:guide>
        <p15:guide id="5" orient="horz" pos="4065">
          <p15:clr>
            <a:srgbClr val="F26B43"/>
          </p15:clr>
        </p15:guide>
        <p15:guide id="6" orient="horz" pos="1049">
          <p15:clr>
            <a:srgbClr val="F26B43"/>
          </p15:clr>
        </p15:guide>
        <p15:guide id="7" pos="3840">
          <p15:clr>
            <a:srgbClr val="F26B43"/>
          </p15:clr>
        </p15:guide>
        <p15:guide id="8" orient="horz" pos="867">
          <p15:clr>
            <a:srgbClr val="F26B43"/>
          </p15:clr>
        </p15:guide>
        <p15:guide id="9" orient="horz" pos="686">
          <p15:clr>
            <a:srgbClr val="F26B43"/>
          </p15:clr>
        </p15:guide>
        <p15:guide id="10" pos="3885">
          <p15:clr>
            <a:srgbClr val="F26B43"/>
          </p15:clr>
        </p15:guide>
        <p15:guide id="11" pos="379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 Target="slide13.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slideLayout" Target="../slideLayouts/slideLayout3.xml"/><Relationship Id="rId2" Type="http://schemas.openxmlformats.org/officeDocument/2006/relationships/tags" Target="../tags/tag8.xml"/><Relationship Id="rId16" Type="http://schemas.openxmlformats.org/officeDocument/2006/relationships/slide" Target="slide3.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slide" Target="slide6.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slide" Target="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slide" Target="slide13.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slideLayout" Target="../slideLayouts/slideLayout3.xml"/><Relationship Id="rId2" Type="http://schemas.openxmlformats.org/officeDocument/2006/relationships/tags" Target="../tags/tag19.xml"/><Relationship Id="rId16" Type="http://schemas.openxmlformats.org/officeDocument/2006/relationships/slide" Target="slide3.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slide" Target="slide6.xml"/><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slide" Target="slide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jpeg"/><Relationship Id="rId18" Type="http://schemas.openxmlformats.org/officeDocument/2006/relationships/image" Target="../media/image24.png"/><Relationship Id="rId3" Type="http://schemas.openxmlformats.org/officeDocument/2006/relationships/notesSlide" Target="../notesSlides/notesSlide1.xml"/><Relationship Id="rId7" Type="http://schemas.openxmlformats.org/officeDocument/2006/relationships/image" Target="../media/image13.png"/><Relationship Id="rId12" Type="http://schemas.openxmlformats.org/officeDocument/2006/relationships/image" Target="../media/image18.tiff"/><Relationship Id="rId17" Type="http://schemas.openxmlformats.org/officeDocument/2006/relationships/image" Target="../media/image23.png"/><Relationship Id="rId2" Type="http://schemas.openxmlformats.org/officeDocument/2006/relationships/slideLayout" Target="../slideLayouts/slideLayout19.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4.xml"/><Relationship Id="rId6" Type="http://schemas.openxmlformats.org/officeDocument/2006/relationships/image" Target="../media/image12.png"/><Relationship Id="rId11" Type="http://schemas.openxmlformats.org/officeDocument/2006/relationships/image" Target="../media/image17.tiff"/><Relationship Id="rId5" Type="http://schemas.openxmlformats.org/officeDocument/2006/relationships/image" Target="../media/image9.emf"/><Relationship Id="rId15" Type="http://schemas.openxmlformats.org/officeDocument/2006/relationships/image" Target="../media/image21.tiff"/><Relationship Id="rId10" Type="http://schemas.openxmlformats.org/officeDocument/2006/relationships/image" Target="../media/image16.tiff"/><Relationship Id="rId19" Type="http://schemas.openxmlformats.org/officeDocument/2006/relationships/image" Target="../media/image25.png"/><Relationship Id="rId4" Type="http://schemas.openxmlformats.org/officeDocument/2006/relationships/oleObject" Target="../embeddings/oleObject2.bin"/><Relationship Id="rId9" Type="http://schemas.openxmlformats.org/officeDocument/2006/relationships/image" Target="../media/image15.png"/><Relationship Id="rId14" Type="http://schemas.openxmlformats.org/officeDocument/2006/relationships/image" Target="../media/image20.png"/></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jpeg"/><Relationship Id="rId18" Type="http://schemas.openxmlformats.org/officeDocument/2006/relationships/image" Target="../media/image41.png"/><Relationship Id="rId3" Type="http://schemas.openxmlformats.org/officeDocument/2006/relationships/oleObject" Target="../embeddings/oleObject3.bin"/><Relationship Id="rId7" Type="http://schemas.openxmlformats.org/officeDocument/2006/relationships/image" Target="../media/image30.png"/><Relationship Id="rId12" Type="http://schemas.openxmlformats.org/officeDocument/2006/relationships/image" Target="../media/image35.jpeg"/><Relationship Id="rId17" Type="http://schemas.openxmlformats.org/officeDocument/2006/relationships/image" Target="../media/image40.png"/><Relationship Id="rId2" Type="http://schemas.openxmlformats.org/officeDocument/2006/relationships/slideLayout" Target="../slideLayouts/slideLayout23.xml"/><Relationship Id="rId16" Type="http://schemas.openxmlformats.org/officeDocument/2006/relationships/image" Target="../media/image39.png"/><Relationship Id="rId20" Type="http://schemas.openxmlformats.org/officeDocument/2006/relationships/image" Target="../media/image43.png"/><Relationship Id="rId1" Type="http://schemas.openxmlformats.org/officeDocument/2006/relationships/tags" Target="../tags/tag5.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emf"/><Relationship Id="rId9" Type="http://schemas.openxmlformats.org/officeDocument/2006/relationships/image" Target="../media/image32.png"/><Relationship Id="rId14" Type="http://schemas.openxmlformats.org/officeDocument/2006/relationships/image" Target="../media/image37.jpe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3.xml"/><Relationship Id="rId1" Type="http://schemas.openxmlformats.org/officeDocument/2006/relationships/tags" Target="../tags/tag6.xml"/><Relationship Id="rId5" Type="http://schemas.openxmlformats.org/officeDocument/2006/relationships/image" Target="../media/image45.png"/><Relationship Id="rId4" Type="http://schemas.openxmlformats.org/officeDocument/2006/relationships/image" Target="../media/image44.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2B440AF3-C9A4-4C44-ADDB-A2679115EE2C}"/>
              </a:ext>
            </a:extLst>
          </p:cNvPr>
          <p:cNvSpPr>
            <a:spLocks noGrp="1"/>
          </p:cNvSpPr>
          <p:nvPr>
            <p:ph type="title"/>
          </p:nvPr>
        </p:nvSpPr>
        <p:spPr/>
        <p:txBody>
          <a:bodyPr/>
          <a:lstStyle/>
          <a:p>
            <a:endParaRPr lang="en-US"/>
          </a:p>
        </p:txBody>
      </p:sp>
      <p:sp>
        <p:nvSpPr>
          <p:cNvPr id="6" name="Inhaltsplatzhalter 5">
            <a:extLst>
              <a:ext uri="{FF2B5EF4-FFF2-40B4-BE49-F238E27FC236}">
                <a16:creationId xmlns:a16="http://schemas.microsoft.com/office/drawing/2014/main" id="{32F674C5-5A20-4387-B9C8-B8C609D1EFE3}"/>
              </a:ext>
            </a:extLst>
          </p:cNvPr>
          <p:cNvSpPr>
            <a:spLocks noGrp="1"/>
          </p:cNvSpPr>
          <p:nvPr>
            <p:ph idx="10"/>
          </p:nvPr>
        </p:nvSpPr>
        <p:spPr/>
        <p:txBody>
          <a:bodyPr/>
          <a:lstStyle/>
          <a:p>
            <a:endParaRPr lang="en-US"/>
          </a:p>
        </p:txBody>
      </p:sp>
      <p:sp>
        <p:nvSpPr>
          <p:cNvPr id="7" name="Inhaltsplatzhalter 6">
            <a:extLst>
              <a:ext uri="{FF2B5EF4-FFF2-40B4-BE49-F238E27FC236}">
                <a16:creationId xmlns:a16="http://schemas.microsoft.com/office/drawing/2014/main" id="{4F3431C6-5D30-49FE-835C-64836A0FB0BD}"/>
              </a:ext>
            </a:extLst>
          </p:cNvPr>
          <p:cNvSpPr>
            <a:spLocks noGrp="1"/>
          </p:cNvSpPr>
          <p:nvPr>
            <p:ph idx="11"/>
          </p:nvPr>
        </p:nvSpPr>
        <p:spPr/>
        <p:txBody>
          <a:bodyPr/>
          <a:lstStyle/>
          <a:p>
            <a:endParaRPr lang="en-US"/>
          </a:p>
        </p:txBody>
      </p:sp>
    </p:spTree>
    <p:extLst>
      <p:ext uri="{BB962C8B-B14F-4D97-AF65-F5344CB8AC3E}">
        <p14:creationId xmlns:p14="http://schemas.microsoft.com/office/powerpoint/2010/main" val="112379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9F3E508-B82D-4708-87FE-FD05495C6981}"/>
              </a:ext>
            </a:extLst>
          </p:cNvPr>
          <p:cNvSpPr>
            <a:spLocks noGrp="1"/>
          </p:cNvSpPr>
          <p:nvPr>
            <p:ph idx="1"/>
          </p:nvPr>
        </p:nvSpPr>
        <p:spPr/>
        <p:txBody>
          <a:bodyPr/>
          <a:lstStyle/>
          <a:p>
            <a:pPr marL="171450" indent="-171450">
              <a:buFont typeface="Wingdings" panose="05000000000000000000" pitchFamily="2" charset="2"/>
              <a:buChar char="§"/>
            </a:pPr>
            <a:r>
              <a:rPr lang="en-US" dirty="0"/>
              <a:t>Show abstraction principles</a:t>
            </a:r>
          </a:p>
          <a:p>
            <a:pPr marL="171450" indent="-171450">
              <a:buFont typeface="Wingdings" panose="05000000000000000000" pitchFamily="2" charset="2"/>
              <a:buChar char="§"/>
            </a:pPr>
            <a:r>
              <a:rPr lang="en-US" dirty="0"/>
              <a:t>Justification:</a:t>
            </a:r>
          </a:p>
          <a:p>
            <a:pPr marL="531813" lvl="2" indent="-171450">
              <a:buFont typeface="Wingdings" panose="05000000000000000000" pitchFamily="2" charset="2"/>
              <a:buChar char="§"/>
            </a:pPr>
            <a:r>
              <a:rPr lang="en-US" sz="1100" dirty="0"/>
              <a:t>Why is biological working principle suitable for this problem?</a:t>
            </a:r>
          </a:p>
          <a:p>
            <a:pPr marL="531813" lvl="2" indent="-171450">
              <a:buFont typeface="Wingdings" panose="05000000000000000000" pitchFamily="2" charset="2"/>
              <a:buChar char="§"/>
            </a:pPr>
            <a:r>
              <a:rPr lang="en-US" sz="1100" dirty="0"/>
              <a:t>Why does this technical problem require a solution by biological working principle?</a:t>
            </a:r>
          </a:p>
          <a:p>
            <a:pPr marL="171450" indent="-171450">
              <a:buFont typeface="Wingdings" panose="05000000000000000000" pitchFamily="2" charset="2"/>
              <a:buChar char="§"/>
            </a:pPr>
            <a:r>
              <a:rPr lang="en-US" dirty="0"/>
              <a:t>Database results/summary</a:t>
            </a:r>
          </a:p>
        </p:txBody>
      </p:sp>
      <p:sp>
        <p:nvSpPr>
          <p:cNvPr id="3" name="Titel 2">
            <a:extLst>
              <a:ext uri="{FF2B5EF4-FFF2-40B4-BE49-F238E27FC236}">
                <a16:creationId xmlns:a16="http://schemas.microsoft.com/office/drawing/2014/main" id="{7CF0F9F2-71D0-42C1-A64D-F7019E539F93}"/>
              </a:ext>
            </a:extLst>
          </p:cNvPr>
          <p:cNvSpPr>
            <a:spLocks noGrp="1"/>
          </p:cNvSpPr>
          <p:nvPr>
            <p:ph type="title"/>
          </p:nvPr>
        </p:nvSpPr>
        <p:spPr/>
        <p:txBody>
          <a:bodyPr/>
          <a:lstStyle/>
          <a:p>
            <a:endParaRPr lang="en-US"/>
          </a:p>
        </p:txBody>
      </p:sp>
      <p:sp>
        <p:nvSpPr>
          <p:cNvPr id="4" name="Foliennummernplatzhalter 3">
            <a:extLst>
              <a:ext uri="{FF2B5EF4-FFF2-40B4-BE49-F238E27FC236}">
                <a16:creationId xmlns:a16="http://schemas.microsoft.com/office/drawing/2014/main" id="{1EB3B630-AC2C-43F5-8A11-D022954B84A1}"/>
              </a:ext>
            </a:extLst>
          </p:cNvPr>
          <p:cNvSpPr>
            <a:spLocks noGrp="1"/>
          </p:cNvSpPr>
          <p:nvPr>
            <p:ph type="sldNum" sz="quarter" idx="11"/>
          </p:nvPr>
        </p:nvSpPr>
        <p:spPr/>
        <p:txBody>
          <a:bodyPr/>
          <a:lstStyle/>
          <a:p>
            <a:fld id="{CE58CB1E-F828-4F11-99E0-327109AF9DA4}" type="slidenum">
              <a:rPr lang="de-DE" smtClean="0"/>
              <a:pPr/>
              <a:t>10</a:t>
            </a:fld>
            <a:endParaRPr lang="de-DE" dirty="0"/>
          </a:p>
        </p:txBody>
      </p:sp>
      <p:sp>
        <p:nvSpPr>
          <p:cNvPr id="5" name="Fußzeilenplatzhalter 4">
            <a:extLst>
              <a:ext uri="{FF2B5EF4-FFF2-40B4-BE49-F238E27FC236}">
                <a16:creationId xmlns:a16="http://schemas.microsoft.com/office/drawing/2014/main" id="{05AA7A59-DF26-422F-99E4-54FF3D60FA01}"/>
              </a:ext>
            </a:extLst>
          </p:cNvPr>
          <p:cNvSpPr>
            <a:spLocks noGrp="1"/>
          </p:cNvSpPr>
          <p:nvPr>
            <p:ph type="ftr" sz="quarter" idx="12"/>
          </p:nvPr>
        </p:nvSpPr>
        <p:spPr/>
        <p:txBody>
          <a:bodyPr/>
          <a:lstStyle/>
          <a:p>
            <a:r>
              <a:rPr lang="de-DE"/>
              <a:t>LPL I Bio-inspired Design Seminar | Team xx </a:t>
            </a:r>
            <a:endParaRPr lang="en-US" dirty="0"/>
          </a:p>
        </p:txBody>
      </p:sp>
    </p:spTree>
    <p:extLst>
      <p:ext uri="{BB962C8B-B14F-4D97-AF65-F5344CB8AC3E}">
        <p14:creationId xmlns:p14="http://schemas.microsoft.com/office/powerpoint/2010/main" val="32938663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hteck 149">
            <a:hlinkClick r:id="rId13" action="ppaction://hlinksldjump"/>
            <a:extLst>
              <a:ext uri="{FF2B5EF4-FFF2-40B4-BE49-F238E27FC236}">
                <a16:creationId xmlns:a16="http://schemas.microsoft.com/office/drawing/2014/main" id="{FEC2920E-65B7-40CE-9A40-BE9D98BA8D0C}"/>
              </a:ext>
            </a:extLst>
          </p:cNvPr>
          <p:cNvSpPr/>
          <p:nvPr>
            <p:custDataLst>
              <p:tags r:id="rId2"/>
            </p:custDataLst>
          </p:nvPr>
        </p:nvSpPr>
        <p:spPr>
          <a:xfrm>
            <a:off x="782700" y="3139830"/>
            <a:ext cx="2723502"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a:solidFill>
                  <a:schemeClr val="tx1"/>
                </a:solidFill>
              </a:rPr>
              <a:t>Prototyping</a:t>
            </a:r>
          </a:p>
        </p:txBody>
      </p:sp>
      <p:sp>
        <p:nvSpPr>
          <p:cNvPr id="149" name="Ellipse 148">
            <a:hlinkClick r:id="rId13" action="ppaction://hlinksldjump"/>
            <a:extLst>
              <a:ext uri="{FF2B5EF4-FFF2-40B4-BE49-F238E27FC236}">
                <a16:creationId xmlns:a16="http://schemas.microsoft.com/office/drawing/2014/main" id="{2006235B-362B-44B0-9083-118DF2888B81}"/>
              </a:ext>
            </a:extLst>
          </p:cNvPr>
          <p:cNvSpPr/>
          <p:nvPr>
            <p:custDataLst>
              <p:tags r:id="rId3"/>
            </p:custDataLst>
          </p:nvPr>
        </p:nvSpPr>
        <p:spPr>
          <a:xfrm>
            <a:off x="319090" y="3139830"/>
            <a:ext cx="400110" cy="40011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a:solidFill>
                  <a:schemeClr val="tx1"/>
                </a:solidFill>
              </a:rPr>
              <a:t>4</a:t>
            </a:r>
          </a:p>
        </p:txBody>
      </p:sp>
      <p:cxnSp>
        <p:nvCxnSpPr>
          <p:cNvPr id="148" name="Gerader Verbinder 147">
            <a:extLst>
              <a:ext uri="{FF2B5EF4-FFF2-40B4-BE49-F238E27FC236}">
                <a16:creationId xmlns:a16="http://schemas.microsoft.com/office/drawing/2014/main" id="{BF5B467B-B810-4AAC-BAC1-7BF301FF62D0}"/>
              </a:ext>
            </a:extLst>
          </p:cNvPr>
          <p:cNvCxnSpPr/>
          <p:nvPr>
            <p:custDataLst>
              <p:tags r:id="rId4"/>
            </p:custDataLst>
          </p:nvPr>
        </p:nvCxnSpPr>
        <p:spPr>
          <a:xfrm>
            <a:off x="782700" y="2549220"/>
            <a:ext cx="8045389" cy="0"/>
          </a:xfrm>
          <a:prstGeom prst="line">
            <a:avLst/>
          </a:prstGeom>
          <a:noFill/>
          <a:ln w="19050" cap="rnd" cmpd="sng" algn="ctr">
            <a:solidFill>
              <a:schemeClr val="accent1"/>
            </a:solidFill>
            <a:prstDash val="dot"/>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47" name="Gerader Verbinder 146">
            <a:extLst>
              <a:ext uri="{FF2B5EF4-FFF2-40B4-BE49-F238E27FC236}">
                <a16:creationId xmlns:a16="http://schemas.microsoft.com/office/drawing/2014/main" id="{597CC6A8-9F08-448D-9A3A-3B479DE0A69A}"/>
              </a:ext>
            </a:extLst>
          </p:cNvPr>
          <p:cNvCxnSpPr/>
          <p:nvPr>
            <p:custDataLst>
              <p:tags r:id="rId5"/>
            </p:custDataLst>
          </p:nvPr>
        </p:nvCxnSpPr>
        <p:spPr>
          <a:xfrm>
            <a:off x="782700" y="2949329"/>
            <a:ext cx="8045389" cy="0"/>
          </a:xfrm>
          <a:prstGeom prst="line">
            <a:avLst/>
          </a:prstGeom>
          <a:noFill/>
          <a:ln w="19050" cap="rnd" cmpd="sng" algn="ctr">
            <a:solidFill>
              <a:schemeClr val="accent1"/>
            </a:solidFill>
            <a:prstDash val="dot"/>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46" name="Rechteck 145">
            <a:hlinkClick r:id="rId14" action="ppaction://hlinksldjump"/>
            <a:extLst>
              <a:ext uri="{FF2B5EF4-FFF2-40B4-BE49-F238E27FC236}">
                <a16:creationId xmlns:a16="http://schemas.microsoft.com/office/drawing/2014/main" id="{90ACCD78-7D9A-476A-A156-A84AA0E0CAF8}"/>
              </a:ext>
            </a:extLst>
          </p:cNvPr>
          <p:cNvSpPr/>
          <p:nvPr>
            <p:custDataLst>
              <p:tags r:id="rId6"/>
            </p:custDataLst>
          </p:nvPr>
        </p:nvSpPr>
        <p:spPr>
          <a:xfrm>
            <a:off x="782700" y="2549220"/>
            <a:ext cx="2723502"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a:solidFill>
                  <a:schemeClr val="tx1"/>
                </a:solidFill>
              </a:rPr>
              <a:t>Solution</a:t>
            </a:r>
          </a:p>
        </p:txBody>
      </p:sp>
      <p:sp>
        <p:nvSpPr>
          <p:cNvPr id="145" name="Ellipse 144">
            <a:hlinkClick r:id="rId14" action="ppaction://hlinksldjump"/>
            <a:extLst>
              <a:ext uri="{FF2B5EF4-FFF2-40B4-BE49-F238E27FC236}">
                <a16:creationId xmlns:a16="http://schemas.microsoft.com/office/drawing/2014/main" id="{EC359604-D249-4B92-9D99-FBE6876B5F85}"/>
              </a:ext>
            </a:extLst>
          </p:cNvPr>
          <p:cNvSpPr/>
          <p:nvPr>
            <p:custDataLst>
              <p:tags r:id="rId7"/>
            </p:custDataLst>
          </p:nvPr>
        </p:nvSpPr>
        <p:spPr>
          <a:xfrm>
            <a:off x="319090" y="2549220"/>
            <a:ext cx="400110" cy="4001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a:solidFill>
                  <a:schemeClr val="bg1"/>
                </a:solidFill>
              </a:rPr>
              <a:t>3</a:t>
            </a:r>
          </a:p>
        </p:txBody>
      </p:sp>
      <p:sp>
        <p:nvSpPr>
          <p:cNvPr id="144" name="Rechteck 143">
            <a:hlinkClick r:id="rId15" action="ppaction://hlinksldjump"/>
            <a:extLst>
              <a:ext uri="{FF2B5EF4-FFF2-40B4-BE49-F238E27FC236}">
                <a16:creationId xmlns:a16="http://schemas.microsoft.com/office/drawing/2014/main" id="{8976D682-F7E4-4551-883E-6CF53CA780D2}"/>
              </a:ext>
            </a:extLst>
          </p:cNvPr>
          <p:cNvSpPr/>
          <p:nvPr>
            <p:custDataLst>
              <p:tags r:id="rId8"/>
            </p:custDataLst>
          </p:nvPr>
        </p:nvSpPr>
        <p:spPr>
          <a:xfrm>
            <a:off x="782700" y="1958610"/>
            <a:ext cx="2723502"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a:solidFill>
                  <a:schemeClr val="tx1"/>
                </a:solidFill>
              </a:rPr>
              <a:t>Abstraction</a:t>
            </a:r>
          </a:p>
        </p:txBody>
      </p:sp>
      <p:sp>
        <p:nvSpPr>
          <p:cNvPr id="143" name="Ellipse 142">
            <a:hlinkClick r:id="rId15" action="ppaction://hlinksldjump"/>
            <a:extLst>
              <a:ext uri="{FF2B5EF4-FFF2-40B4-BE49-F238E27FC236}">
                <a16:creationId xmlns:a16="http://schemas.microsoft.com/office/drawing/2014/main" id="{95BB9CD9-D48F-46B5-B6E4-49B6C11A3D8A}"/>
              </a:ext>
            </a:extLst>
          </p:cNvPr>
          <p:cNvSpPr/>
          <p:nvPr>
            <p:custDataLst>
              <p:tags r:id="rId9"/>
            </p:custDataLst>
          </p:nvPr>
        </p:nvSpPr>
        <p:spPr>
          <a:xfrm>
            <a:off x="319090" y="1958610"/>
            <a:ext cx="400110" cy="40011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a:solidFill>
                  <a:schemeClr val="tx1"/>
                </a:solidFill>
              </a:rPr>
              <a:t>2</a:t>
            </a:r>
          </a:p>
        </p:txBody>
      </p:sp>
      <p:sp>
        <p:nvSpPr>
          <p:cNvPr id="142" name="Rechteck 141">
            <a:hlinkClick r:id="rId16" action="ppaction://hlinksldjump"/>
            <a:extLst>
              <a:ext uri="{FF2B5EF4-FFF2-40B4-BE49-F238E27FC236}">
                <a16:creationId xmlns:a16="http://schemas.microsoft.com/office/drawing/2014/main" id="{BCF3675A-870E-493F-A6BF-460154B558BD}"/>
              </a:ext>
            </a:extLst>
          </p:cNvPr>
          <p:cNvSpPr/>
          <p:nvPr>
            <p:custDataLst>
              <p:tags r:id="rId10"/>
            </p:custDataLst>
          </p:nvPr>
        </p:nvSpPr>
        <p:spPr>
          <a:xfrm>
            <a:off x="782700" y="1368000"/>
            <a:ext cx="2723502"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a:solidFill>
                  <a:schemeClr val="tx1"/>
                </a:solidFill>
              </a:rPr>
              <a:t>Problem/Biological System</a:t>
            </a:r>
          </a:p>
        </p:txBody>
      </p:sp>
      <p:sp>
        <p:nvSpPr>
          <p:cNvPr id="141" name="Ellipse 140">
            <a:hlinkClick r:id="rId16" action="ppaction://hlinksldjump"/>
            <a:extLst>
              <a:ext uri="{FF2B5EF4-FFF2-40B4-BE49-F238E27FC236}">
                <a16:creationId xmlns:a16="http://schemas.microsoft.com/office/drawing/2014/main" id="{6046AD1B-BC50-437F-8510-550B913A39A8}"/>
              </a:ext>
            </a:extLst>
          </p:cNvPr>
          <p:cNvSpPr/>
          <p:nvPr>
            <p:custDataLst>
              <p:tags r:id="rId11"/>
            </p:custDataLst>
          </p:nvPr>
        </p:nvSpPr>
        <p:spPr>
          <a:xfrm>
            <a:off x="319090" y="1368000"/>
            <a:ext cx="400110" cy="40011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a:solidFill>
                  <a:schemeClr val="tx1"/>
                </a:solidFill>
              </a:rPr>
              <a:t>1</a:t>
            </a:r>
          </a:p>
        </p:txBody>
      </p:sp>
      <p:sp>
        <p:nvSpPr>
          <p:cNvPr id="138" name="Titel 137">
            <a:extLst>
              <a:ext uri="{FF2B5EF4-FFF2-40B4-BE49-F238E27FC236}">
                <a16:creationId xmlns:a16="http://schemas.microsoft.com/office/drawing/2014/main" id="{6AE86006-F648-4D12-8012-02B2C9565BA6}"/>
              </a:ext>
            </a:extLst>
          </p:cNvPr>
          <p:cNvSpPr>
            <a:spLocks noGrp="1"/>
          </p:cNvSpPr>
          <p:nvPr>
            <p:ph type="title"/>
          </p:nvPr>
        </p:nvSpPr>
        <p:spPr/>
        <p:txBody>
          <a:bodyPr/>
          <a:lstStyle/>
          <a:p>
            <a:endParaRPr lang="en-US"/>
          </a:p>
        </p:txBody>
      </p:sp>
      <p:sp>
        <p:nvSpPr>
          <p:cNvPr id="32" name="Foliennummernplatzhalter 31">
            <a:extLst>
              <a:ext uri="{FF2B5EF4-FFF2-40B4-BE49-F238E27FC236}">
                <a16:creationId xmlns:a16="http://schemas.microsoft.com/office/drawing/2014/main" id="{CE5CA44E-4EAD-4CAD-B0A9-D7594F95C5D3}"/>
              </a:ext>
            </a:extLst>
          </p:cNvPr>
          <p:cNvSpPr>
            <a:spLocks noGrp="1"/>
          </p:cNvSpPr>
          <p:nvPr>
            <p:ph type="sldNum" sz="quarter" idx="11"/>
          </p:nvPr>
        </p:nvSpPr>
        <p:spPr/>
        <p:txBody>
          <a:bodyPr/>
          <a:lstStyle/>
          <a:p>
            <a:fld id="{CE58CB1E-F828-4F11-99E0-327109AF9DA4}" type="slidenum">
              <a:rPr lang="de-DE" smtClean="0"/>
              <a:pPr/>
              <a:t>11</a:t>
            </a:fld>
            <a:endParaRPr lang="de-DE" dirty="0"/>
          </a:p>
        </p:txBody>
      </p:sp>
      <p:sp>
        <p:nvSpPr>
          <p:cNvPr id="31" name="Fußzeilenplatzhalter 30">
            <a:extLst>
              <a:ext uri="{FF2B5EF4-FFF2-40B4-BE49-F238E27FC236}">
                <a16:creationId xmlns:a16="http://schemas.microsoft.com/office/drawing/2014/main" id="{63636A1D-647A-4DFD-B5C3-3E43294A8C7C}"/>
              </a:ext>
            </a:extLst>
          </p:cNvPr>
          <p:cNvSpPr>
            <a:spLocks noGrp="1"/>
          </p:cNvSpPr>
          <p:nvPr>
            <p:ph type="ftr" sz="quarter" idx="12"/>
          </p:nvPr>
        </p:nvSpPr>
        <p:spPr/>
        <p:txBody>
          <a:bodyPr/>
          <a:lstStyle/>
          <a:p>
            <a:r>
              <a:rPr lang="de-DE"/>
              <a:t>LPL I Bio-inspired Design Seminar | Team xx </a:t>
            </a:r>
            <a:endParaRPr lang="en-US" dirty="0"/>
          </a:p>
        </p:txBody>
      </p:sp>
    </p:spTree>
    <p:custDataLst>
      <p:tags r:id="rId1"/>
    </p:custDataLst>
    <p:extLst>
      <p:ext uri="{BB962C8B-B14F-4D97-AF65-F5344CB8AC3E}">
        <p14:creationId xmlns:p14="http://schemas.microsoft.com/office/powerpoint/2010/main" val="27861186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9D2957-F79C-4453-8C0C-94533303BED4}"/>
              </a:ext>
            </a:extLst>
          </p:cNvPr>
          <p:cNvSpPr>
            <a:spLocks noGrp="1"/>
          </p:cNvSpPr>
          <p:nvPr>
            <p:ph idx="1"/>
          </p:nvPr>
        </p:nvSpPr>
        <p:spPr/>
        <p:txBody>
          <a:bodyPr/>
          <a:lstStyle/>
          <a:p>
            <a:pPr marL="171450" indent="-171450">
              <a:buFont typeface="Wingdings" panose="05000000000000000000" pitchFamily="2" charset="2"/>
              <a:buChar char="§"/>
            </a:pPr>
            <a:r>
              <a:rPr lang="en-US" dirty="0"/>
              <a:t>Why did you choose this solution?</a:t>
            </a:r>
          </a:p>
          <a:p>
            <a:pPr marL="171450" indent="-171450">
              <a:buFont typeface="Wingdings" panose="05000000000000000000" pitchFamily="2" charset="2"/>
              <a:buChar char="§"/>
            </a:pPr>
            <a:r>
              <a:rPr lang="en-US" dirty="0"/>
              <a:t>Show critical features that would require prototyping </a:t>
            </a:r>
          </a:p>
        </p:txBody>
      </p:sp>
      <p:sp>
        <p:nvSpPr>
          <p:cNvPr id="3" name="Titel 2">
            <a:extLst>
              <a:ext uri="{FF2B5EF4-FFF2-40B4-BE49-F238E27FC236}">
                <a16:creationId xmlns:a16="http://schemas.microsoft.com/office/drawing/2014/main" id="{A06DB187-C25D-4C2E-9918-4139328B222C}"/>
              </a:ext>
            </a:extLst>
          </p:cNvPr>
          <p:cNvSpPr>
            <a:spLocks noGrp="1"/>
          </p:cNvSpPr>
          <p:nvPr>
            <p:ph type="title"/>
          </p:nvPr>
        </p:nvSpPr>
        <p:spPr/>
        <p:txBody>
          <a:bodyPr/>
          <a:lstStyle/>
          <a:p>
            <a:endParaRPr lang="en-US"/>
          </a:p>
        </p:txBody>
      </p:sp>
      <p:sp>
        <p:nvSpPr>
          <p:cNvPr id="4" name="Foliennummernplatzhalter 3">
            <a:extLst>
              <a:ext uri="{FF2B5EF4-FFF2-40B4-BE49-F238E27FC236}">
                <a16:creationId xmlns:a16="http://schemas.microsoft.com/office/drawing/2014/main" id="{7348DD2B-C946-4448-AB8C-145B6701B7A7}"/>
              </a:ext>
            </a:extLst>
          </p:cNvPr>
          <p:cNvSpPr>
            <a:spLocks noGrp="1"/>
          </p:cNvSpPr>
          <p:nvPr>
            <p:ph type="sldNum" sz="quarter" idx="11"/>
          </p:nvPr>
        </p:nvSpPr>
        <p:spPr/>
        <p:txBody>
          <a:bodyPr/>
          <a:lstStyle/>
          <a:p>
            <a:fld id="{CE58CB1E-F828-4F11-99E0-327109AF9DA4}" type="slidenum">
              <a:rPr lang="de-DE" smtClean="0"/>
              <a:pPr/>
              <a:t>12</a:t>
            </a:fld>
            <a:endParaRPr lang="de-DE" dirty="0"/>
          </a:p>
        </p:txBody>
      </p:sp>
      <p:sp>
        <p:nvSpPr>
          <p:cNvPr id="5" name="Fußzeilenplatzhalter 4">
            <a:extLst>
              <a:ext uri="{FF2B5EF4-FFF2-40B4-BE49-F238E27FC236}">
                <a16:creationId xmlns:a16="http://schemas.microsoft.com/office/drawing/2014/main" id="{8685379F-8C99-4F51-8ADD-79400A53DB2A}"/>
              </a:ext>
            </a:extLst>
          </p:cNvPr>
          <p:cNvSpPr>
            <a:spLocks noGrp="1"/>
          </p:cNvSpPr>
          <p:nvPr>
            <p:ph type="ftr" sz="quarter" idx="12"/>
          </p:nvPr>
        </p:nvSpPr>
        <p:spPr/>
        <p:txBody>
          <a:bodyPr/>
          <a:lstStyle/>
          <a:p>
            <a:r>
              <a:rPr lang="de-DE"/>
              <a:t>LPL I Bio-inspired Design Seminar | Team xx </a:t>
            </a:r>
            <a:endParaRPr lang="en-US" dirty="0"/>
          </a:p>
        </p:txBody>
      </p:sp>
    </p:spTree>
    <p:extLst>
      <p:ext uri="{BB962C8B-B14F-4D97-AF65-F5344CB8AC3E}">
        <p14:creationId xmlns:p14="http://schemas.microsoft.com/office/powerpoint/2010/main" val="9566487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Gerader Verbinder 149">
            <a:extLst>
              <a:ext uri="{FF2B5EF4-FFF2-40B4-BE49-F238E27FC236}">
                <a16:creationId xmlns:a16="http://schemas.microsoft.com/office/drawing/2014/main" id="{1C8A4D3E-7EEF-4CDA-A748-CB18CBCCE0EA}"/>
              </a:ext>
            </a:extLst>
          </p:cNvPr>
          <p:cNvCxnSpPr/>
          <p:nvPr>
            <p:custDataLst>
              <p:tags r:id="rId2"/>
            </p:custDataLst>
          </p:nvPr>
        </p:nvCxnSpPr>
        <p:spPr>
          <a:xfrm>
            <a:off x="782700" y="3139830"/>
            <a:ext cx="8045389" cy="0"/>
          </a:xfrm>
          <a:prstGeom prst="line">
            <a:avLst/>
          </a:prstGeom>
          <a:noFill/>
          <a:ln w="19050" cap="rnd" cmpd="sng" algn="ctr">
            <a:solidFill>
              <a:schemeClr val="accent1"/>
            </a:solidFill>
            <a:prstDash val="dot"/>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49" name="Gerader Verbinder 148">
            <a:extLst>
              <a:ext uri="{FF2B5EF4-FFF2-40B4-BE49-F238E27FC236}">
                <a16:creationId xmlns:a16="http://schemas.microsoft.com/office/drawing/2014/main" id="{360F1570-6F9B-4854-AEDF-1D460B74E489}"/>
              </a:ext>
            </a:extLst>
          </p:cNvPr>
          <p:cNvCxnSpPr/>
          <p:nvPr>
            <p:custDataLst>
              <p:tags r:id="rId3"/>
            </p:custDataLst>
          </p:nvPr>
        </p:nvCxnSpPr>
        <p:spPr>
          <a:xfrm>
            <a:off x="782700" y="3539940"/>
            <a:ext cx="8045389" cy="0"/>
          </a:xfrm>
          <a:prstGeom prst="line">
            <a:avLst/>
          </a:prstGeom>
          <a:noFill/>
          <a:ln w="19050" cap="rnd" cmpd="sng" algn="ctr">
            <a:solidFill>
              <a:schemeClr val="accent1"/>
            </a:solidFill>
            <a:prstDash val="dot"/>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48" name="Rechteck 147">
            <a:hlinkClick r:id="rId13" action="ppaction://hlinksldjump"/>
            <a:extLst>
              <a:ext uri="{FF2B5EF4-FFF2-40B4-BE49-F238E27FC236}">
                <a16:creationId xmlns:a16="http://schemas.microsoft.com/office/drawing/2014/main" id="{2B1388F4-FA86-48AD-A1DE-AB22CAECAAD0}"/>
              </a:ext>
            </a:extLst>
          </p:cNvPr>
          <p:cNvSpPr/>
          <p:nvPr>
            <p:custDataLst>
              <p:tags r:id="rId4"/>
            </p:custDataLst>
          </p:nvPr>
        </p:nvSpPr>
        <p:spPr>
          <a:xfrm>
            <a:off x="782700" y="3139830"/>
            <a:ext cx="2723502"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b="1">
                <a:solidFill>
                  <a:schemeClr val="tx1"/>
                </a:solidFill>
              </a:rPr>
              <a:t>Prototyping</a:t>
            </a:r>
          </a:p>
        </p:txBody>
      </p:sp>
      <p:sp>
        <p:nvSpPr>
          <p:cNvPr id="147" name="Ellipse 146">
            <a:hlinkClick r:id="rId13" action="ppaction://hlinksldjump"/>
            <a:extLst>
              <a:ext uri="{FF2B5EF4-FFF2-40B4-BE49-F238E27FC236}">
                <a16:creationId xmlns:a16="http://schemas.microsoft.com/office/drawing/2014/main" id="{A3C2858C-CF5F-4947-80D3-1E8C7ADDA9D4}"/>
              </a:ext>
            </a:extLst>
          </p:cNvPr>
          <p:cNvSpPr/>
          <p:nvPr>
            <p:custDataLst>
              <p:tags r:id="rId5"/>
            </p:custDataLst>
          </p:nvPr>
        </p:nvSpPr>
        <p:spPr>
          <a:xfrm>
            <a:off x="319090" y="3139830"/>
            <a:ext cx="400110" cy="4001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a:solidFill>
                  <a:schemeClr val="bg1"/>
                </a:solidFill>
              </a:rPr>
              <a:t>4</a:t>
            </a:r>
          </a:p>
        </p:txBody>
      </p:sp>
      <p:sp>
        <p:nvSpPr>
          <p:cNvPr id="146" name="Rechteck 145">
            <a:hlinkClick r:id="rId14" action="ppaction://hlinksldjump"/>
            <a:extLst>
              <a:ext uri="{FF2B5EF4-FFF2-40B4-BE49-F238E27FC236}">
                <a16:creationId xmlns:a16="http://schemas.microsoft.com/office/drawing/2014/main" id="{DDF4518C-5050-4C7F-9782-FD673A2A29E7}"/>
              </a:ext>
            </a:extLst>
          </p:cNvPr>
          <p:cNvSpPr/>
          <p:nvPr>
            <p:custDataLst>
              <p:tags r:id="rId6"/>
            </p:custDataLst>
          </p:nvPr>
        </p:nvSpPr>
        <p:spPr>
          <a:xfrm>
            <a:off x="782700" y="2549220"/>
            <a:ext cx="2723502"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a:solidFill>
                  <a:schemeClr val="tx1"/>
                </a:solidFill>
              </a:rPr>
              <a:t>Solution</a:t>
            </a:r>
          </a:p>
        </p:txBody>
      </p:sp>
      <p:sp>
        <p:nvSpPr>
          <p:cNvPr id="145" name="Ellipse 144">
            <a:hlinkClick r:id="rId14" action="ppaction://hlinksldjump"/>
            <a:extLst>
              <a:ext uri="{FF2B5EF4-FFF2-40B4-BE49-F238E27FC236}">
                <a16:creationId xmlns:a16="http://schemas.microsoft.com/office/drawing/2014/main" id="{0717CEA3-10EE-4F58-ACC3-73376E5292D1}"/>
              </a:ext>
            </a:extLst>
          </p:cNvPr>
          <p:cNvSpPr/>
          <p:nvPr>
            <p:custDataLst>
              <p:tags r:id="rId7"/>
            </p:custDataLst>
          </p:nvPr>
        </p:nvSpPr>
        <p:spPr>
          <a:xfrm>
            <a:off x="319090" y="2549220"/>
            <a:ext cx="400110" cy="40011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a:solidFill>
                  <a:schemeClr val="tx1"/>
                </a:solidFill>
              </a:rPr>
              <a:t>3</a:t>
            </a:r>
          </a:p>
        </p:txBody>
      </p:sp>
      <p:sp>
        <p:nvSpPr>
          <p:cNvPr id="144" name="Rechteck 143">
            <a:hlinkClick r:id="rId15" action="ppaction://hlinksldjump"/>
            <a:extLst>
              <a:ext uri="{FF2B5EF4-FFF2-40B4-BE49-F238E27FC236}">
                <a16:creationId xmlns:a16="http://schemas.microsoft.com/office/drawing/2014/main" id="{5A9DF6EA-FD45-4030-8C8E-8CDAC2FDF443}"/>
              </a:ext>
            </a:extLst>
          </p:cNvPr>
          <p:cNvSpPr/>
          <p:nvPr>
            <p:custDataLst>
              <p:tags r:id="rId8"/>
            </p:custDataLst>
          </p:nvPr>
        </p:nvSpPr>
        <p:spPr>
          <a:xfrm>
            <a:off x="782700" y="1958610"/>
            <a:ext cx="2723502"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a:solidFill>
                  <a:schemeClr val="tx1"/>
                </a:solidFill>
              </a:rPr>
              <a:t>Abstraction</a:t>
            </a:r>
          </a:p>
        </p:txBody>
      </p:sp>
      <p:sp>
        <p:nvSpPr>
          <p:cNvPr id="143" name="Ellipse 142">
            <a:hlinkClick r:id="rId15" action="ppaction://hlinksldjump"/>
            <a:extLst>
              <a:ext uri="{FF2B5EF4-FFF2-40B4-BE49-F238E27FC236}">
                <a16:creationId xmlns:a16="http://schemas.microsoft.com/office/drawing/2014/main" id="{8D338411-6397-4376-B27C-E44878A77475}"/>
              </a:ext>
            </a:extLst>
          </p:cNvPr>
          <p:cNvSpPr/>
          <p:nvPr>
            <p:custDataLst>
              <p:tags r:id="rId9"/>
            </p:custDataLst>
          </p:nvPr>
        </p:nvSpPr>
        <p:spPr>
          <a:xfrm>
            <a:off x="319090" y="1958610"/>
            <a:ext cx="400110" cy="40011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a:solidFill>
                  <a:schemeClr val="tx1"/>
                </a:solidFill>
              </a:rPr>
              <a:t>2</a:t>
            </a:r>
          </a:p>
        </p:txBody>
      </p:sp>
      <p:sp>
        <p:nvSpPr>
          <p:cNvPr id="142" name="Rechteck 141">
            <a:hlinkClick r:id="rId16" action="ppaction://hlinksldjump"/>
            <a:extLst>
              <a:ext uri="{FF2B5EF4-FFF2-40B4-BE49-F238E27FC236}">
                <a16:creationId xmlns:a16="http://schemas.microsoft.com/office/drawing/2014/main" id="{5D88A839-EC56-4B6E-A4B8-32186A06929C}"/>
              </a:ext>
            </a:extLst>
          </p:cNvPr>
          <p:cNvSpPr/>
          <p:nvPr>
            <p:custDataLst>
              <p:tags r:id="rId10"/>
            </p:custDataLst>
          </p:nvPr>
        </p:nvSpPr>
        <p:spPr>
          <a:xfrm>
            <a:off x="782700" y="1368000"/>
            <a:ext cx="2723502" cy="40011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US" sz="1600">
                <a:solidFill>
                  <a:schemeClr val="tx1"/>
                </a:solidFill>
              </a:rPr>
              <a:t>Problem/Biological System</a:t>
            </a:r>
          </a:p>
        </p:txBody>
      </p:sp>
      <p:sp>
        <p:nvSpPr>
          <p:cNvPr id="141" name="Ellipse 140">
            <a:hlinkClick r:id="rId16" action="ppaction://hlinksldjump"/>
            <a:extLst>
              <a:ext uri="{FF2B5EF4-FFF2-40B4-BE49-F238E27FC236}">
                <a16:creationId xmlns:a16="http://schemas.microsoft.com/office/drawing/2014/main" id="{6D4620A4-F8E3-4C63-97FA-00B71E8E65CC}"/>
              </a:ext>
            </a:extLst>
          </p:cNvPr>
          <p:cNvSpPr/>
          <p:nvPr>
            <p:custDataLst>
              <p:tags r:id="rId11"/>
            </p:custDataLst>
          </p:nvPr>
        </p:nvSpPr>
        <p:spPr>
          <a:xfrm>
            <a:off x="319090" y="1368000"/>
            <a:ext cx="400110" cy="40011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US" sz="1600" b="1">
                <a:solidFill>
                  <a:schemeClr val="tx1"/>
                </a:solidFill>
              </a:rPr>
              <a:t>1</a:t>
            </a:r>
          </a:p>
        </p:txBody>
      </p:sp>
      <p:sp>
        <p:nvSpPr>
          <p:cNvPr id="138" name="Titel 137">
            <a:extLst>
              <a:ext uri="{FF2B5EF4-FFF2-40B4-BE49-F238E27FC236}">
                <a16:creationId xmlns:a16="http://schemas.microsoft.com/office/drawing/2014/main" id="{8289A284-5851-4F1E-98F2-84F71CBD376B}"/>
              </a:ext>
            </a:extLst>
          </p:cNvPr>
          <p:cNvSpPr>
            <a:spLocks noGrp="1"/>
          </p:cNvSpPr>
          <p:nvPr>
            <p:ph type="title"/>
          </p:nvPr>
        </p:nvSpPr>
        <p:spPr/>
        <p:txBody>
          <a:bodyPr/>
          <a:lstStyle/>
          <a:p>
            <a:endParaRPr lang="en-US"/>
          </a:p>
        </p:txBody>
      </p:sp>
      <p:sp>
        <p:nvSpPr>
          <p:cNvPr id="32" name="Foliennummernplatzhalter 31">
            <a:extLst>
              <a:ext uri="{FF2B5EF4-FFF2-40B4-BE49-F238E27FC236}">
                <a16:creationId xmlns:a16="http://schemas.microsoft.com/office/drawing/2014/main" id="{52759140-0E91-41D5-858F-030D0A7F81E2}"/>
              </a:ext>
            </a:extLst>
          </p:cNvPr>
          <p:cNvSpPr>
            <a:spLocks noGrp="1"/>
          </p:cNvSpPr>
          <p:nvPr>
            <p:ph type="sldNum" sz="quarter" idx="11"/>
          </p:nvPr>
        </p:nvSpPr>
        <p:spPr/>
        <p:txBody>
          <a:bodyPr/>
          <a:lstStyle/>
          <a:p>
            <a:fld id="{CE58CB1E-F828-4F11-99E0-327109AF9DA4}" type="slidenum">
              <a:rPr lang="de-DE" smtClean="0"/>
              <a:pPr/>
              <a:t>13</a:t>
            </a:fld>
            <a:endParaRPr lang="de-DE" dirty="0"/>
          </a:p>
        </p:txBody>
      </p:sp>
      <p:sp>
        <p:nvSpPr>
          <p:cNvPr id="31" name="Fußzeilenplatzhalter 30">
            <a:extLst>
              <a:ext uri="{FF2B5EF4-FFF2-40B4-BE49-F238E27FC236}">
                <a16:creationId xmlns:a16="http://schemas.microsoft.com/office/drawing/2014/main" id="{EC67A796-2DA1-402E-8498-6DE4852CECD5}"/>
              </a:ext>
            </a:extLst>
          </p:cNvPr>
          <p:cNvSpPr>
            <a:spLocks noGrp="1"/>
          </p:cNvSpPr>
          <p:nvPr>
            <p:ph type="ftr" sz="quarter" idx="12"/>
          </p:nvPr>
        </p:nvSpPr>
        <p:spPr/>
        <p:txBody>
          <a:bodyPr/>
          <a:lstStyle/>
          <a:p>
            <a:r>
              <a:rPr lang="de-DE"/>
              <a:t>LPL I Bio-inspired Design Seminar | Team xx </a:t>
            </a:r>
            <a:endParaRPr lang="en-US" dirty="0"/>
          </a:p>
        </p:txBody>
      </p:sp>
    </p:spTree>
    <p:custDataLst>
      <p:tags r:id="rId1"/>
    </p:custDataLst>
    <p:extLst>
      <p:ext uri="{BB962C8B-B14F-4D97-AF65-F5344CB8AC3E}">
        <p14:creationId xmlns:p14="http://schemas.microsoft.com/office/powerpoint/2010/main" val="17862875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FE559DE-3CE8-4E3A-8C51-B4922B33C3A3}"/>
              </a:ext>
            </a:extLst>
          </p:cNvPr>
          <p:cNvSpPr>
            <a:spLocks noGrp="1"/>
          </p:cNvSpPr>
          <p:nvPr>
            <p:ph idx="1"/>
          </p:nvPr>
        </p:nvSpPr>
        <p:spPr/>
        <p:txBody>
          <a:bodyPr/>
          <a:lstStyle/>
          <a:p>
            <a:pPr marL="171450" indent="-171450">
              <a:buFont typeface="Wingdings" panose="05000000000000000000" pitchFamily="2" charset="2"/>
              <a:buChar char="§"/>
            </a:pPr>
            <a:r>
              <a:rPr lang="en-US" dirty="0"/>
              <a:t>Demo of prototype</a:t>
            </a:r>
          </a:p>
        </p:txBody>
      </p:sp>
      <p:sp>
        <p:nvSpPr>
          <p:cNvPr id="3" name="Titel 2">
            <a:extLst>
              <a:ext uri="{FF2B5EF4-FFF2-40B4-BE49-F238E27FC236}">
                <a16:creationId xmlns:a16="http://schemas.microsoft.com/office/drawing/2014/main" id="{6013DA1E-16E3-4D22-8E3F-1F1E4B86D92D}"/>
              </a:ext>
            </a:extLst>
          </p:cNvPr>
          <p:cNvSpPr>
            <a:spLocks noGrp="1"/>
          </p:cNvSpPr>
          <p:nvPr>
            <p:ph type="title"/>
          </p:nvPr>
        </p:nvSpPr>
        <p:spPr/>
        <p:txBody>
          <a:bodyPr/>
          <a:lstStyle/>
          <a:p>
            <a:endParaRPr lang="en-US"/>
          </a:p>
        </p:txBody>
      </p:sp>
      <p:sp>
        <p:nvSpPr>
          <p:cNvPr id="4" name="Foliennummernplatzhalter 3">
            <a:extLst>
              <a:ext uri="{FF2B5EF4-FFF2-40B4-BE49-F238E27FC236}">
                <a16:creationId xmlns:a16="http://schemas.microsoft.com/office/drawing/2014/main" id="{161C3705-58D2-44DE-980F-E1E415CBC42C}"/>
              </a:ext>
            </a:extLst>
          </p:cNvPr>
          <p:cNvSpPr>
            <a:spLocks noGrp="1"/>
          </p:cNvSpPr>
          <p:nvPr>
            <p:ph type="sldNum" sz="quarter" idx="11"/>
          </p:nvPr>
        </p:nvSpPr>
        <p:spPr/>
        <p:txBody>
          <a:bodyPr/>
          <a:lstStyle/>
          <a:p>
            <a:fld id="{CE58CB1E-F828-4F11-99E0-327109AF9DA4}" type="slidenum">
              <a:rPr lang="de-DE" smtClean="0"/>
              <a:pPr/>
              <a:t>14</a:t>
            </a:fld>
            <a:endParaRPr lang="de-DE" dirty="0"/>
          </a:p>
        </p:txBody>
      </p:sp>
      <p:sp>
        <p:nvSpPr>
          <p:cNvPr id="5" name="Fußzeilenplatzhalter 4">
            <a:extLst>
              <a:ext uri="{FF2B5EF4-FFF2-40B4-BE49-F238E27FC236}">
                <a16:creationId xmlns:a16="http://schemas.microsoft.com/office/drawing/2014/main" id="{2F908446-67A6-43C3-A553-7A041D5FB28D}"/>
              </a:ext>
            </a:extLst>
          </p:cNvPr>
          <p:cNvSpPr>
            <a:spLocks noGrp="1"/>
          </p:cNvSpPr>
          <p:nvPr>
            <p:ph type="ftr" sz="quarter" idx="12"/>
          </p:nvPr>
        </p:nvSpPr>
        <p:spPr/>
        <p:txBody>
          <a:bodyPr/>
          <a:lstStyle/>
          <a:p>
            <a:r>
              <a:rPr lang="de-DE"/>
              <a:t>LPL I Bio-inspired Design Seminar | Team xx </a:t>
            </a:r>
            <a:endParaRPr lang="en-US" dirty="0"/>
          </a:p>
        </p:txBody>
      </p:sp>
    </p:spTree>
    <p:extLst>
      <p:ext uri="{BB962C8B-B14F-4D97-AF65-F5344CB8AC3E}">
        <p14:creationId xmlns:p14="http://schemas.microsoft.com/office/powerpoint/2010/main" val="443919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2F6B4C8-E6A8-4C66-95F9-AD92D31FCCBA}"/>
              </a:ext>
            </a:extLst>
          </p:cNvPr>
          <p:cNvSpPr>
            <a:spLocks noGrp="1"/>
          </p:cNvSpPr>
          <p:nvPr>
            <p:ph idx="1"/>
          </p:nvPr>
        </p:nvSpPr>
        <p:spPr/>
        <p:txBody>
          <a:bodyPr/>
          <a:lstStyle/>
          <a:p>
            <a:pPr marL="171450" indent="-171450">
              <a:buFont typeface="Wingdings" panose="05000000000000000000" pitchFamily="2" charset="2"/>
              <a:buChar char="§"/>
            </a:pPr>
            <a:r>
              <a:rPr lang="en-US" dirty="0"/>
              <a:t>Short summary</a:t>
            </a:r>
          </a:p>
          <a:p>
            <a:pPr marL="171450" indent="-171450">
              <a:buFont typeface="Wingdings" panose="05000000000000000000" pitchFamily="2" charset="2"/>
              <a:buChar char="§"/>
            </a:pPr>
            <a:r>
              <a:rPr lang="en-US" dirty="0"/>
              <a:t>Next steps for product</a:t>
            </a:r>
          </a:p>
        </p:txBody>
      </p:sp>
      <p:sp>
        <p:nvSpPr>
          <p:cNvPr id="3" name="Titel 2">
            <a:extLst>
              <a:ext uri="{FF2B5EF4-FFF2-40B4-BE49-F238E27FC236}">
                <a16:creationId xmlns:a16="http://schemas.microsoft.com/office/drawing/2014/main" id="{0D677BBE-C648-4B83-AFA5-8CA359317419}"/>
              </a:ext>
            </a:extLst>
          </p:cNvPr>
          <p:cNvSpPr>
            <a:spLocks noGrp="1"/>
          </p:cNvSpPr>
          <p:nvPr>
            <p:ph type="title"/>
          </p:nvPr>
        </p:nvSpPr>
        <p:spPr>
          <a:xfrm>
            <a:off x="319090" y="792000"/>
            <a:ext cx="8508999" cy="377796"/>
          </a:xfrm>
        </p:spPr>
        <p:txBody>
          <a:bodyPr/>
          <a:lstStyle/>
          <a:p>
            <a:r>
              <a:rPr lang="en-US" dirty="0"/>
              <a:t>Summary</a:t>
            </a:r>
          </a:p>
        </p:txBody>
      </p:sp>
      <p:sp>
        <p:nvSpPr>
          <p:cNvPr id="4" name="Foliennummernplatzhalter 3">
            <a:extLst>
              <a:ext uri="{FF2B5EF4-FFF2-40B4-BE49-F238E27FC236}">
                <a16:creationId xmlns:a16="http://schemas.microsoft.com/office/drawing/2014/main" id="{CA99AEA4-9816-4F2C-9723-D95AC5657986}"/>
              </a:ext>
            </a:extLst>
          </p:cNvPr>
          <p:cNvSpPr>
            <a:spLocks noGrp="1"/>
          </p:cNvSpPr>
          <p:nvPr>
            <p:ph type="sldNum" sz="quarter" idx="11"/>
          </p:nvPr>
        </p:nvSpPr>
        <p:spPr/>
        <p:txBody>
          <a:bodyPr/>
          <a:lstStyle/>
          <a:p>
            <a:fld id="{CE58CB1E-F828-4F11-99E0-327109AF9DA4}" type="slidenum">
              <a:rPr lang="de-DE" smtClean="0"/>
              <a:pPr/>
              <a:t>15</a:t>
            </a:fld>
            <a:endParaRPr lang="de-DE" dirty="0"/>
          </a:p>
        </p:txBody>
      </p:sp>
      <p:sp>
        <p:nvSpPr>
          <p:cNvPr id="5" name="Fußzeilenplatzhalter 4">
            <a:extLst>
              <a:ext uri="{FF2B5EF4-FFF2-40B4-BE49-F238E27FC236}">
                <a16:creationId xmlns:a16="http://schemas.microsoft.com/office/drawing/2014/main" id="{E26CB930-6026-4BF5-8C43-8ABE6920CD0C}"/>
              </a:ext>
            </a:extLst>
          </p:cNvPr>
          <p:cNvSpPr>
            <a:spLocks noGrp="1"/>
          </p:cNvSpPr>
          <p:nvPr>
            <p:ph type="ftr" sz="quarter" idx="12"/>
          </p:nvPr>
        </p:nvSpPr>
        <p:spPr/>
        <p:txBody>
          <a:bodyPr/>
          <a:lstStyle/>
          <a:p>
            <a:r>
              <a:rPr lang="de-DE"/>
              <a:t>LPL I Bio-inspired Design Seminar | Team xx </a:t>
            </a:r>
            <a:endParaRPr lang="en-US" dirty="0"/>
          </a:p>
        </p:txBody>
      </p:sp>
    </p:spTree>
    <p:extLst>
      <p:ext uri="{BB962C8B-B14F-4D97-AF65-F5344CB8AC3E}">
        <p14:creationId xmlns:p14="http://schemas.microsoft.com/office/powerpoint/2010/main" val="25758759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4"/>
          </p:nvPr>
        </p:nvSpPr>
        <p:spPr>
          <a:xfrm>
            <a:off x="319090" y="1368000"/>
            <a:ext cx="8362845" cy="3420000"/>
          </a:xfrm>
        </p:spPr>
        <p:txBody>
          <a:bodyPr/>
          <a:lstStyle/>
          <a:p>
            <a:r>
              <a:rPr lang="de-DE" sz="1200" dirty="0"/>
              <a:t>[</a:t>
            </a:r>
            <a:r>
              <a:rPr lang="en-US" sz="1200" dirty="0"/>
              <a:t>Hashemi </a:t>
            </a:r>
            <a:r>
              <a:rPr lang="en-US" sz="1200" dirty="0" err="1"/>
              <a:t>Farzaneh</a:t>
            </a:r>
            <a:r>
              <a:rPr lang="en-US" sz="1200" dirty="0"/>
              <a:t> et al., 2018</a:t>
            </a:r>
            <a:r>
              <a:rPr lang="de-DE" sz="1200" dirty="0"/>
              <a:t>]</a:t>
            </a:r>
            <a:endParaRPr lang="en-US" sz="1200" dirty="0"/>
          </a:p>
          <a:p>
            <a:r>
              <a:rPr lang="en-US" sz="1200" dirty="0"/>
              <a:t>Hashemi </a:t>
            </a:r>
            <a:r>
              <a:rPr lang="en-US" sz="1200" dirty="0" err="1"/>
              <a:t>Farzaneh</a:t>
            </a:r>
            <a:r>
              <a:rPr lang="en-US" sz="1200" dirty="0"/>
              <a:t> H, Lindemann U (2018) A Practical Guide to Bio-inspired Design, 1st edition 2019. Springer Berlin; Springer </a:t>
            </a:r>
            <a:r>
              <a:rPr lang="en-US" sz="1200" dirty="0" err="1"/>
              <a:t>Vieweg</a:t>
            </a:r>
            <a:r>
              <a:rPr lang="en-US" sz="1200" dirty="0"/>
              <a:t>, Berlin</a:t>
            </a:r>
          </a:p>
          <a:p>
            <a:endParaRPr lang="de-DE" dirty="0"/>
          </a:p>
          <a:p>
            <a:r>
              <a:rPr lang="de-DE" dirty="0"/>
              <a:t>…</a:t>
            </a:r>
          </a:p>
          <a:p>
            <a:endParaRPr lang="de-DE" dirty="0"/>
          </a:p>
        </p:txBody>
      </p:sp>
      <p:sp>
        <p:nvSpPr>
          <p:cNvPr id="4" name="Foliennummernplatzhalter 3"/>
          <p:cNvSpPr>
            <a:spLocks noGrp="1"/>
          </p:cNvSpPr>
          <p:nvPr>
            <p:ph type="sldNum" sz="quarter" idx="16"/>
          </p:nvPr>
        </p:nvSpPr>
        <p:spPr/>
        <p:txBody>
          <a:bodyPr/>
          <a:lstStyle/>
          <a:p>
            <a:fld id="{CE58CB1E-F828-4F11-99E0-327109AF9DA4}" type="slidenum">
              <a:rPr lang="de-DE" smtClean="0"/>
              <a:pPr/>
              <a:t>16</a:t>
            </a:fld>
            <a:endParaRPr lang="de-DE" dirty="0"/>
          </a:p>
        </p:txBody>
      </p:sp>
      <p:sp>
        <p:nvSpPr>
          <p:cNvPr id="5" name="Fußzeilenplatzhalter 4"/>
          <p:cNvSpPr>
            <a:spLocks noGrp="1"/>
          </p:cNvSpPr>
          <p:nvPr>
            <p:ph type="ftr" sz="quarter" idx="17"/>
          </p:nvPr>
        </p:nvSpPr>
        <p:spPr/>
        <p:txBody>
          <a:bodyPr/>
          <a:lstStyle/>
          <a:p>
            <a:r>
              <a:rPr lang="de-DE"/>
              <a:t>LPL I Bio-inspired Design Seminar | Team xx </a:t>
            </a:r>
            <a:endParaRPr lang="en-US" dirty="0"/>
          </a:p>
        </p:txBody>
      </p:sp>
    </p:spTree>
    <p:extLst>
      <p:ext uri="{BB962C8B-B14F-4D97-AF65-F5344CB8AC3E}">
        <p14:creationId xmlns:p14="http://schemas.microsoft.com/office/powerpoint/2010/main" val="2237586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2">
            <a:extLst>
              <a:ext uri="{FF2B5EF4-FFF2-40B4-BE49-F238E27FC236}">
                <a16:creationId xmlns:a16="http://schemas.microsoft.com/office/drawing/2014/main" id="{6C9E983C-3749-D402-B51D-4184AADC7AAD}"/>
              </a:ext>
            </a:extLst>
          </p:cNvPr>
          <p:cNvSpPr>
            <a:spLocks noGrp="1"/>
          </p:cNvSpPr>
          <p:nvPr>
            <p:ph type="title"/>
          </p:nvPr>
        </p:nvSpPr>
        <p:spPr>
          <a:xfrm>
            <a:off x="285752" y="2192404"/>
            <a:ext cx="2065563" cy="607799"/>
          </a:xfrm>
        </p:spPr>
        <p:txBody>
          <a:bodyPr/>
          <a:lstStyle/>
          <a:p>
            <a:r>
              <a:rPr lang="de-DE" sz="3000" dirty="0">
                <a:solidFill>
                  <a:schemeClr val="accent1"/>
                </a:solidFill>
              </a:rPr>
              <a:t>APPENDIX</a:t>
            </a:r>
          </a:p>
        </p:txBody>
      </p:sp>
      <p:sp>
        <p:nvSpPr>
          <p:cNvPr id="6" name="Text Placeholder 5">
            <a:extLst>
              <a:ext uri="{FF2B5EF4-FFF2-40B4-BE49-F238E27FC236}">
                <a16:creationId xmlns:a16="http://schemas.microsoft.com/office/drawing/2014/main" id="{D1753A18-7FC5-E2FD-ABF4-AD91F320F79C}"/>
              </a:ext>
            </a:extLst>
          </p:cNvPr>
          <p:cNvSpPr>
            <a:spLocks noGrp="1"/>
          </p:cNvSpPr>
          <p:nvPr>
            <p:ph type="body" sz="quarter" idx="18"/>
          </p:nvPr>
        </p:nvSpPr>
        <p:spPr>
          <a:xfrm>
            <a:off x="3725226" y="1584979"/>
            <a:ext cx="3041801" cy="364005"/>
          </a:xfrm>
        </p:spPr>
        <p:txBody>
          <a:bodyPr/>
          <a:lstStyle/>
          <a:p>
            <a:r>
              <a:rPr lang="en-US" altLang="zh-CN" sz="1200" dirty="0">
                <a:solidFill>
                  <a:schemeClr val="tx1"/>
                </a:solidFill>
              </a:rPr>
              <a:t>Abstraction</a:t>
            </a:r>
          </a:p>
        </p:txBody>
      </p:sp>
      <p:sp>
        <p:nvSpPr>
          <p:cNvPr id="3" name="Text Placeholder 2">
            <a:extLst>
              <a:ext uri="{FF2B5EF4-FFF2-40B4-BE49-F238E27FC236}">
                <a16:creationId xmlns:a16="http://schemas.microsoft.com/office/drawing/2014/main" id="{A5BC6D0B-D914-1CB4-E395-41217F417E13}"/>
              </a:ext>
            </a:extLst>
          </p:cNvPr>
          <p:cNvSpPr>
            <a:spLocks noGrp="1"/>
          </p:cNvSpPr>
          <p:nvPr>
            <p:ph type="body" sz="quarter" idx="22"/>
          </p:nvPr>
        </p:nvSpPr>
        <p:spPr>
          <a:xfrm>
            <a:off x="3725227" y="2061411"/>
            <a:ext cx="2306864" cy="364005"/>
          </a:xfrm>
        </p:spPr>
        <p:txBody>
          <a:bodyPr/>
          <a:lstStyle/>
          <a:p>
            <a:r>
              <a:rPr lang="en-US" altLang="zh-CN" sz="1200" dirty="0">
                <a:solidFill>
                  <a:schemeClr val="tx1"/>
                </a:solidFill>
              </a:rPr>
              <a:t>Solution</a:t>
            </a:r>
            <a:endParaRPr lang="de-DE" dirty="0"/>
          </a:p>
        </p:txBody>
      </p:sp>
      <p:sp>
        <p:nvSpPr>
          <p:cNvPr id="12" name="Text Placeholder 11">
            <a:extLst>
              <a:ext uri="{FF2B5EF4-FFF2-40B4-BE49-F238E27FC236}">
                <a16:creationId xmlns:a16="http://schemas.microsoft.com/office/drawing/2014/main" id="{24B800C2-EEFE-CD02-F1F2-7123605DC010}"/>
              </a:ext>
            </a:extLst>
          </p:cNvPr>
          <p:cNvSpPr>
            <a:spLocks noGrp="1"/>
          </p:cNvSpPr>
          <p:nvPr>
            <p:ph type="body" sz="quarter" idx="24"/>
          </p:nvPr>
        </p:nvSpPr>
        <p:spPr>
          <a:xfrm>
            <a:off x="3725227" y="2515070"/>
            <a:ext cx="2815683" cy="364005"/>
          </a:xfrm>
        </p:spPr>
        <p:txBody>
          <a:bodyPr/>
          <a:lstStyle/>
          <a:p>
            <a:r>
              <a:rPr lang="en-US" altLang="zh-CN" sz="1200" dirty="0">
                <a:solidFill>
                  <a:schemeClr val="tx1"/>
                </a:solidFill>
              </a:rPr>
              <a:t>Prototyping</a:t>
            </a:r>
            <a:endParaRPr lang="de-DE" dirty="0">
              <a:solidFill>
                <a:schemeClr val="accent3"/>
              </a:solidFill>
            </a:endParaRPr>
          </a:p>
        </p:txBody>
      </p:sp>
      <p:sp>
        <p:nvSpPr>
          <p:cNvPr id="21" name="Text Placeholder 20">
            <a:extLst>
              <a:ext uri="{FF2B5EF4-FFF2-40B4-BE49-F238E27FC236}">
                <a16:creationId xmlns:a16="http://schemas.microsoft.com/office/drawing/2014/main" id="{D95F8332-A0D3-ABEB-F0AF-92888119CBC9}"/>
              </a:ext>
            </a:extLst>
          </p:cNvPr>
          <p:cNvSpPr>
            <a:spLocks noGrp="1"/>
          </p:cNvSpPr>
          <p:nvPr>
            <p:ph type="body" sz="quarter" idx="26"/>
          </p:nvPr>
        </p:nvSpPr>
        <p:spPr>
          <a:xfrm>
            <a:off x="3725227" y="2962141"/>
            <a:ext cx="2815683" cy="364005"/>
          </a:xfrm>
        </p:spPr>
        <p:txBody>
          <a:bodyPr/>
          <a:lstStyle/>
          <a:p>
            <a:r>
              <a:rPr lang="en-US" dirty="0">
                <a:solidFill>
                  <a:schemeClr val="accent3"/>
                </a:solidFill>
                <a:cs typeface="Arial" panose="020B0604020202020204" pitchFamily="34" charset="0"/>
              </a:rPr>
              <a:t>X x x</a:t>
            </a:r>
            <a:endParaRPr lang="de-DE" dirty="0"/>
          </a:p>
        </p:txBody>
      </p:sp>
      <p:sp>
        <p:nvSpPr>
          <p:cNvPr id="15" name="Text Placeholder 14">
            <a:extLst>
              <a:ext uri="{FF2B5EF4-FFF2-40B4-BE49-F238E27FC236}">
                <a16:creationId xmlns:a16="http://schemas.microsoft.com/office/drawing/2014/main" id="{9822E929-1D3F-B85E-53C1-6B308CEAC0B1}"/>
              </a:ext>
            </a:extLst>
          </p:cNvPr>
          <p:cNvSpPr>
            <a:spLocks noGrp="1"/>
          </p:cNvSpPr>
          <p:nvPr>
            <p:ph type="body" sz="quarter" idx="32"/>
          </p:nvPr>
        </p:nvSpPr>
        <p:spPr/>
        <p:txBody>
          <a:bodyPr/>
          <a:lstStyle/>
          <a:p>
            <a:r>
              <a:rPr lang="de-DE" dirty="0"/>
              <a:t>1</a:t>
            </a:r>
          </a:p>
        </p:txBody>
      </p:sp>
      <p:sp>
        <p:nvSpPr>
          <p:cNvPr id="25" name="Text Placeholder 24">
            <a:extLst>
              <a:ext uri="{FF2B5EF4-FFF2-40B4-BE49-F238E27FC236}">
                <a16:creationId xmlns:a16="http://schemas.microsoft.com/office/drawing/2014/main" id="{5376FF41-59E5-5A46-9F97-62E4B4AF2B12}"/>
              </a:ext>
            </a:extLst>
          </p:cNvPr>
          <p:cNvSpPr>
            <a:spLocks noGrp="1"/>
          </p:cNvSpPr>
          <p:nvPr>
            <p:ph type="body" sz="quarter" idx="33"/>
          </p:nvPr>
        </p:nvSpPr>
        <p:spPr/>
        <p:txBody>
          <a:bodyPr/>
          <a:lstStyle/>
          <a:p>
            <a:r>
              <a:rPr lang="de-DE" dirty="0"/>
              <a:t>2</a:t>
            </a:r>
          </a:p>
        </p:txBody>
      </p:sp>
      <p:sp>
        <p:nvSpPr>
          <p:cNvPr id="27" name="Text Placeholder 26">
            <a:extLst>
              <a:ext uri="{FF2B5EF4-FFF2-40B4-BE49-F238E27FC236}">
                <a16:creationId xmlns:a16="http://schemas.microsoft.com/office/drawing/2014/main" id="{276ED693-EDFB-4605-E8CB-F50663DCBC5E}"/>
              </a:ext>
            </a:extLst>
          </p:cNvPr>
          <p:cNvSpPr>
            <a:spLocks noGrp="1"/>
          </p:cNvSpPr>
          <p:nvPr>
            <p:ph type="body" sz="quarter" idx="34"/>
          </p:nvPr>
        </p:nvSpPr>
        <p:spPr/>
        <p:txBody>
          <a:bodyPr/>
          <a:lstStyle/>
          <a:p>
            <a:r>
              <a:rPr lang="de-DE" dirty="0"/>
              <a:t>3</a:t>
            </a:r>
          </a:p>
        </p:txBody>
      </p:sp>
      <p:sp>
        <p:nvSpPr>
          <p:cNvPr id="29" name="Text Placeholder 28">
            <a:extLst>
              <a:ext uri="{FF2B5EF4-FFF2-40B4-BE49-F238E27FC236}">
                <a16:creationId xmlns:a16="http://schemas.microsoft.com/office/drawing/2014/main" id="{8A6450B7-41AC-C8C8-E799-1AAFC13C2E0B}"/>
              </a:ext>
            </a:extLst>
          </p:cNvPr>
          <p:cNvSpPr>
            <a:spLocks noGrp="1"/>
          </p:cNvSpPr>
          <p:nvPr>
            <p:ph type="body" sz="quarter" idx="35"/>
          </p:nvPr>
        </p:nvSpPr>
        <p:spPr>
          <a:xfrm>
            <a:off x="3319682" y="2431002"/>
            <a:ext cx="303846" cy="364005"/>
          </a:xfrm>
        </p:spPr>
        <p:txBody>
          <a:bodyPr/>
          <a:lstStyle/>
          <a:p>
            <a:r>
              <a:rPr lang="de-DE" dirty="0"/>
              <a:t>4</a:t>
            </a:r>
          </a:p>
        </p:txBody>
      </p:sp>
      <p:sp>
        <p:nvSpPr>
          <p:cNvPr id="4" name="Text Placeholder 3">
            <a:extLst>
              <a:ext uri="{FF2B5EF4-FFF2-40B4-BE49-F238E27FC236}">
                <a16:creationId xmlns:a16="http://schemas.microsoft.com/office/drawing/2014/main" id="{59F0C862-79E6-476D-898F-27CBC24D6A6B}"/>
              </a:ext>
            </a:extLst>
          </p:cNvPr>
          <p:cNvSpPr>
            <a:spLocks noGrp="1"/>
          </p:cNvSpPr>
          <p:nvPr>
            <p:ph type="body" sz="quarter" idx="20"/>
          </p:nvPr>
        </p:nvSpPr>
        <p:spPr>
          <a:xfrm>
            <a:off x="3725227" y="1131320"/>
            <a:ext cx="2214779" cy="364005"/>
          </a:xfrm>
        </p:spPr>
        <p:txBody>
          <a:bodyPr/>
          <a:lstStyle/>
          <a:p>
            <a:r>
              <a:rPr lang="en-US" altLang="zh-CN" sz="1200" dirty="0">
                <a:solidFill>
                  <a:schemeClr val="tx1"/>
                </a:solidFill>
              </a:rPr>
              <a:t>Problem/Biological System</a:t>
            </a:r>
          </a:p>
        </p:txBody>
      </p:sp>
      <p:sp>
        <p:nvSpPr>
          <p:cNvPr id="23" name="Text Placeholder 28">
            <a:extLst>
              <a:ext uri="{FF2B5EF4-FFF2-40B4-BE49-F238E27FC236}">
                <a16:creationId xmlns:a16="http://schemas.microsoft.com/office/drawing/2014/main" id="{4FDA580B-DFEE-42A7-BFEF-62E661F9E36D}"/>
              </a:ext>
            </a:extLst>
          </p:cNvPr>
          <p:cNvSpPr txBox="1">
            <a:spLocks/>
          </p:cNvSpPr>
          <p:nvPr/>
        </p:nvSpPr>
        <p:spPr>
          <a:xfrm>
            <a:off x="3319682" y="2879075"/>
            <a:ext cx="303846" cy="364005"/>
          </a:xfrm>
          <a:prstGeom prst="rect">
            <a:avLst/>
          </a:prstGeom>
        </p:spPr>
        <p:txBody>
          <a:bodyPr vert="horz" lIns="0" tIns="0" rIns="0" bIns="0" rtlCol="0" anchor="ctr">
            <a:noAutofit/>
          </a:bodyP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kern="1200">
                <a:solidFill>
                  <a:schemeClr val="accent1"/>
                </a:solidFill>
                <a:latin typeface="+mn-lt"/>
                <a:ea typeface="+mn-ea"/>
                <a:cs typeface="+mn-cs"/>
              </a:defRPr>
            </a:lvl1pPr>
            <a:lvl2pPr marL="180000" indent="-180000" algn="l" defTabSz="228600" rtl="0" eaLnBrk="1" latinLnBrk="0" hangingPunct="1">
              <a:lnSpc>
                <a:spcPct val="100000"/>
              </a:lnSpc>
              <a:spcBef>
                <a:spcPts val="0"/>
              </a:spcBef>
              <a:spcAft>
                <a:spcPts val="600"/>
              </a:spcAft>
              <a:buClrTx/>
              <a:buFont typeface="Arial" panose="020B0604020202020204" pitchFamily="34" charset="0"/>
              <a:buChar char="•"/>
              <a:defRPr sz="1400" kern="1200">
                <a:solidFill>
                  <a:schemeClr val="tx1"/>
                </a:solidFill>
                <a:latin typeface="+mn-lt"/>
                <a:ea typeface="+mn-ea"/>
                <a:cs typeface="+mn-cs"/>
              </a:defRPr>
            </a:lvl2pPr>
            <a:lvl3pPr marL="360000" indent="-180000" algn="l" defTabSz="228600" rtl="0" eaLnBrk="1" latinLnBrk="0" hangingPunct="1">
              <a:lnSpc>
                <a:spcPct val="100000"/>
              </a:lnSpc>
              <a:spcBef>
                <a:spcPts val="0"/>
              </a:spcBef>
              <a:spcAft>
                <a:spcPts val="600"/>
              </a:spcAft>
              <a:buFont typeface="System Font"/>
              <a:buChar char="–"/>
              <a:defRPr sz="1400" kern="1200">
                <a:solidFill>
                  <a:schemeClr val="tx1"/>
                </a:solidFill>
                <a:latin typeface="+mn-lt"/>
                <a:ea typeface="+mn-ea"/>
                <a:cs typeface="+mn-cs"/>
              </a:defRPr>
            </a:lvl3pPr>
            <a:lvl4pPr marL="540000" indent="-180000" algn="l" defTabSz="2286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720000" indent="-180000" algn="l" defTabSz="228600" rtl="0" eaLnBrk="1" latinLnBrk="0" hangingPunct="1">
              <a:lnSpc>
                <a:spcPct val="100000"/>
              </a:lnSpc>
              <a:spcBef>
                <a:spcPts val="0"/>
              </a:spcBef>
              <a:spcAft>
                <a:spcPts val="600"/>
              </a:spcAft>
              <a:buFont typeface="System Font"/>
              <a:buChar char="–"/>
              <a:defRPr sz="14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defTabSz="171450"/>
            <a:r>
              <a:rPr lang="de-DE" sz="1350" dirty="0">
                <a:solidFill>
                  <a:srgbClr val="A100FF"/>
                </a:solidFill>
                <a:latin typeface="Graphik"/>
              </a:rPr>
              <a:t>5</a:t>
            </a:r>
          </a:p>
        </p:txBody>
      </p:sp>
      <p:sp>
        <p:nvSpPr>
          <p:cNvPr id="13" name="Text Placeholder 28">
            <a:extLst>
              <a:ext uri="{FF2B5EF4-FFF2-40B4-BE49-F238E27FC236}">
                <a16:creationId xmlns:a16="http://schemas.microsoft.com/office/drawing/2014/main" id="{2C58D322-32B4-4E0F-83CE-8D9524D35FC3}"/>
              </a:ext>
            </a:extLst>
          </p:cNvPr>
          <p:cNvSpPr txBox="1">
            <a:spLocks/>
          </p:cNvSpPr>
          <p:nvPr/>
        </p:nvSpPr>
        <p:spPr>
          <a:xfrm>
            <a:off x="3319682" y="3326146"/>
            <a:ext cx="303846" cy="364005"/>
          </a:xfrm>
          <a:prstGeom prst="rect">
            <a:avLst/>
          </a:prstGeom>
        </p:spPr>
        <p:txBody>
          <a:bodyPr vert="horz" lIns="0" tIns="0" rIns="0" bIns="0" rtlCol="0" anchor="ctr">
            <a:noAutofit/>
          </a:bodyP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kern="1200">
                <a:solidFill>
                  <a:schemeClr val="accent1"/>
                </a:solidFill>
                <a:latin typeface="+mn-lt"/>
                <a:ea typeface="+mn-ea"/>
                <a:cs typeface="+mn-cs"/>
              </a:defRPr>
            </a:lvl1pPr>
            <a:lvl2pPr marL="180000" indent="-180000" algn="l" defTabSz="228600" rtl="0" eaLnBrk="1" latinLnBrk="0" hangingPunct="1">
              <a:lnSpc>
                <a:spcPct val="100000"/>
              </a:lnSpc>
              <a:spcBef>
                <a:spcPts val="0"/>
              </a:spcBef>
              <a:spcAft>
                <a:spcPts val="600"/>
              </a:spcAft>
              <a:buClrTx/>
              <a:buFont typeface="Arial" panose="020B0604020202020204" pitchFamily="34" charset="0"/>
              <a:buChar char="•"/>
              <a:defRPr sz="1400" kern="1200">
                <a:solidFill>
                  <a:schemeClr val="tx1"/>
                </a:solidFill>
                <a:latin typeface="+mn-lt"/>
                <a:ea typeface="+mn-ea"/>
                <a:cs typeface="+mn-cs"/>
              </a:defRPr>
            </a:lvl2pPr>
            <a:lvl3pPr marL="360000" indent="-180000" algn="l" defTabSz="228600" rtl="0" eaLnBrk="1" latinLnBrk="0" hangingPunct="1">
              <a:lnSpc>
                <a:spcPct val="100000"/>
              </a:lnSpc>
              <a:spcBef>
                <a:spcPts val="0"/>
              </a:spcBef>
              <a:spcAft>
                <a:spcPts val="600"/>
              </a:spcAft>
              <a:buFont typeface="System Font"/>
              <a:buChar char="–"/>
              <a:defRPr sz="1400" kern="1200">
                <a:solidFill>
                  <a:schemeClr val="tx1"/>
                </a:solidFill>
                <a:latin typeface="+mn-lt"/>
                <a:ea typeface="+mn-ea"/>
                <a:cs typeface="+mn-cs"/>
              </a:defRPr>
            </a:lvl3pPr>
            <a:lvl4pPr marL="540000" indent="-180000" algn="l" defTabSz="2286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720000" indent="-180000" algn="l" defTabSz="228600" rtl="0" eaLnBrk="1" latinLnBrk="0" hangingPunct="1">
              <a:lnSpc>
                <a:spcPct val="100000"/>
              </a:lnSpc>
              <a:spcBef>
                <a:spcPts val="0"/>
              </a:spcBef>
              <a:spcAft>
                <a:spcPts val="600"/>
              </a:spcAft>
              <a:buFont typeface="System Font"/>
              <a:buChar char="–"/>
              <a:defRPr sz="14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defTabSz="171450"/>
            <a:r>
              <a:rPr lang="de-DE" sz="1350" dirty="0">
                <a:solidFill>
                  <a:srgbClr val="A100FF"/>
                </a:solidFill>
                <a:latin typeface="Graphik"/>
              </a:rPr>
              <a:t>6</a:t>
            </a:r>
          </a:p>
        </p:txBody>
      </p:sp>
      <p:sp>
        <p:nvSpPr>
          <p:cNvPr id="14" name="Text Placeholder 20">
            <a:extLst>
              <a:ext uri="{FF2B5EF4-FFF2-40B4-BE49-F238E27FC236}">
                <a16:creationId xmlns:a16="http://schemas.microsoft.com/office/drawing/2014/main" id="{AE74D362-D7D1-479F-B8D8-DCEC07848174}"/>
              </a:ext>
            </a:extLst>
          </p:cNvPr>
          <p:cNvSpPr txBox="1">
            <a:spLocks/>
          </p:cNvSpPr>
          <p:nvPr/>
        </p:nvSpPr>
        <p:spPr>
          <a:xfrm>
            <a:off x="3725225" y="3416450"/>
            <a:ext cx="2815683" cy="364005"/>
          </a:xfrm>
          <a:prstGeom prst="rect">
            <a:avLst/>
          </a:prstGeom>
        </p:spPr>
        <p:txBody>
          <a:bodyPr vert="horz" lIns="0" tIns="0" rIns="0" bIns="0" rtlCol="0" anchor="ctr">
            <a:noAutofit/>
          </a:bodyPr>
          <a:lstStyle>
            <a:lvl1pPr marL="0" indent="0" algn="l" defTabSz="228600" rtl="0" eaLnBrk="1" latinLnBrk="0" hangingPunct="1">
              <a:lnSpc>
                <a:spcPct val="100000"/>
              </a:lnSpc>
              <a:spcBef>
                <a:spcPts val="0"/>
              </a:spcBef>
              <a:spcAft>
                <a:spcPts val="0"/>
              </a:spcAft>
              <a:buFont typeface="Arial" panose="020B0604020202020204" pitchFamily="34" charset="0"/>
              <a:buNone/>
              <a:defRPr sz="1600" b="0" kern="1200">
                <a:solidFill>
                  <a:schemeClr val="tx1"/>
                </a:solidFill>
                <a:latin typeface="+mn-lt"/>
                <a:ea typeface="+mn-ea"/>
                <a:cs typeface="+mn-cs"/>
              </a:defRPr>
            </a:lvl1pPr>
            <a:lvl2pPr marL="180000" indent="-180000" algn="l" defTabSz="228600" rtl="0" eaLnBrk="1" latinLnBrk="0" hangingPunct="1">
              <a:lnSpc>
                <a:spcPct val="100000"/>
              </a:lnSpc>
              <a:spcBef>
                <a:spcPts val="0"/>
              </a:spcBef>
              <a:spcAft>
                <a:spcPts val="600"/>
              </a:spcAft>
              <a:buClrTx/>
              <a:buFont typeface="Arial" panose="020B0604020202020204" pitchFamily="34" charset="0"/>
              <a:buChar char="•"/>
              <a:defRPr sz="1400" kern="1200">
                <a:solidFill>
                  <a:schemeClr val="tx1"/>
                </a:solidFill>
                <a:latin typeface="+mn-lt"/>
                <a:ea typeface="+mn-ea"/>
                <a:cs typeface="+mn-cs"/>
              </a:defRPr>
            </a:lvl2pPr>
            <a:lvl3pPr marL="360000" indent="-180000" algn="l" defTabSz="228600" rtl="0" eaLnBrk="1" latinLnBrk="0" hangingPunct="1">
              <a:lnSpc>
                <a:spcPct val="100000"/>
              </a:lnSpc>
              <a:spcBef>
                <a:spcPts val="0"/>
              </a:spcBef>
              <a:spcAft>
                <a:spcPts val="600"/>
              </a:spcAft>
              <a:buFont typeface="System Font"/>
              <a:buChar char="–"/>
              <a:defRPr sz="1400" kern="1200">
                <a:solidFill>
                  <a:schemeClr val="tx1"/>
                </a:solidFill>
                <a:latin typeface="+mn-lt"/>
                <a:ea typeface="+mn-ea"/>
                <a:cs typeface="+mn-cs"/>
              </a:defRPr>
            </a:lvl3pPr>
            <a:lvl4pPr marL="540000" indent="-180000" algn="l" defTabSz="2286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720000" indent="-180000" algn="l" defTabSz="228600" rtl="0" eaLnBrk="1" latinLnBrk="0" hangingPunct="1">
              <a:lnSpc>
                <a:spcPct val="100000"/>
              </a:lnSpc>
              <a:spcBef>
                <a:spcPts val="0"/>
              </a:spcBef>
              <a:spcAft>
                <a:spcPts val="600"/>
              </a:spcAft>
              <a:buFont typeface="System Font"/>
              <a:buChar char="–"/>
              <a:defRPr sz="14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a:lstStyle>
          <a:p>
            <a:pPr defTabSz="171450" fontAlgn="auto"/>
            <a:r>
              <a:rPr lang="de-DE" sz="1200" dirty="0">
                <a:solidFill>
                  <a:srgbClr val="000000"/>
                </a:solidFill>
                <a:latin typeface="Arial" panose="020B0604020202020204" pitchFamily="34" charset="0"/>
              </a:rPr>
              <a:t>X x x</a:t>
            </a:r>
            <a:endParaRPr lang="de-DE" sz="1200" dirty="0">
              <a:solidFill>
                <a:srgbClr val="460073"/>
              </a:solidFill>
              <a:latin typeface="Graphik"/>
            </a:endParaRPr>
          </a:p>
        </p:txBody>
      </p:sp>
    </p:spTree>
    <p:extLst>
      <p:ext uri="{BB962C8B-B14F-4D97-AF65-F5344CB8AC3E}">
        <p14:creationId xmlns:p14="http://schemas.microsoft.com/office/powerpoint/2010/main" val="3534027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7" name="Rectangle 376">
            <a:extLst>
              <a:ext uri="{FF2B5EF4-FFF2-40B4-BE49-F238E27FC236}">
                <a16:creationId xmlns:a16="http://schemas.microsoft.com/office/drawing/2014/main" id="{1BEBA5E9-EF7A-7B88-6428-389EEF815D5E}"/>
              </a:ext>
            </a:extLst>
          </p:cNvPr>
          <p:cNvSpPr/>
          <p:nvPr/>
        </p:nvSpPr>
        <p:spPr>
          <a:xfrm>
            <a:off x="-26151" y="-43002"/>
            <a:ext cx="3000662" cy="52084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fontAlgn="auto">
              <a:spcBef>
                <a:spcPts val="0"/>
              </a:spcBef>
              <a:spcAft>
                <a:spcPts val="0"/>
              </a:spcAft>
              <a:defRPr/>
            </a:pPr>
            <a:endParaRPr lang="de-DE" sz="1350" err="1">
              <a:solidFill>
                <a:srgbClr val="FFFFFF"/>
              </a:solidFill>
              <a:latin typeface="Graphik"/>
            </a:endParaRPr>
          </a:p>
        </p:txBody>
      </p:sp>
      <p:sp>
        <p:nvSpPr>
          <p:cNvPr id="364" name="Rectangle 363">
            <a:extLst>
              <a:ext uri="{FF2B5EF4-FFF2-40B4-BE49-F238E27FC236}">
                <a16:creationId xmlns:a16="http://schemas.microsoft.com/office/drawing/2014/main" id="{4A7D6856-30B7-D6CF-2590-2303AE0C5523}"/>
              </a:ext>
            </a:extLst>
          </p:cNvPr>
          <p:cNvSpPr/>
          <p:nvPr/>
        </p:nvSpPr>
        <p:spPr>
          <a:xfrm>
            <a:off x="4740483" y="1"/>
            <a:ext cx="1887361" cy="52084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algn="ctr" defTabSz="685800" fontAlgn="auto">
              <a:spcBef>
                <a:spcPts val="0"/>
              </a:spcBef>
              <a:spcAft>
                <a:spcPts val="0"/>
              </a:spcAft>
              <a:defRPr/>
            </a:pPr>
            <a:endParaRPr lang="de-DE" sz="1350" err="1">
              <a:solidFill>
                <a:srgbClr val="FFFFFF"/>
              </a:solidFill>
              <a:latin typeface="Graphik"/>
            </a:endParaRPr>
          </a:p>
        </p:txBody>
      </p:sp>
      <p:graphicFrame>
        <p:nvGraphicFramePr>
          <p:cNvPr id="8" name="Objekt 7" hidden="1">
            <a:extLst>
              <a:ext uri="{FF2B5EF4-FFF2-40B4-BE49-F238E27FC236}">
                <a16:creationId xmlns:a16="http://schemas.microsoft.com/office/drawing/2014/main" id="{8F4940DC-2E30-443C-8DF4-A2FC460B140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4" imgH="424" progId="TCLayout.ActiveDocument.1">
                  <p:embed/>
                </p:oleObj>
              </mc:Choice>
              <mc:Fallback>
                <p:oleObj name="think-cell Slide" r:id="rId4" imgW="424" imgH="424" progId="TCLayout.ActiveDocument.1">
                  <p:embed/>
                  <p:pic>
                    <p:nvPicPr>
                      <p:cNvPr id="8" name="Objekt 7" hidden="1">
                        <a:extLst>
                          <a:ext uri="{FF2B5EF4-FFF2-40B4-BE49-F238E27FC236}">
                            <a16:creationId xmlns:a16="http://schemas.microsoft.com/office/drawing/2014/main" id="{8F4940DC-2E30-443C-8DF4-A2FC460B140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66000458-E988-45B6-8A01-DB7A85802E50}"/>
              </a:ext>
            </a:extLst>
          </p:cNvPr>
          <p:cNvSpPr>
            <a:spLocks noGrp="1"/>
          </p:cNvSpPr>
          <p:nvPr>
            <p:ph type="title"/>
          </p:nvPr>
        </p:nvSpPr>
        <p:spPr/>
        <p:txBody>
          <a:bodyPr/>
          <a:lstStyle/>
          <a:p>
            <a:r>
              <a:rPr lang="en-US"/>
              <a:t>We have a strong global network connecting cutting-edge Applied Intelligence capabilities</a:t>
            </a:r>
          </a:p>
        </p:txBody>
      </p:sp>
      <p:sp>
        <p:nvSpPr>
          <p:cNvPr id="2" name="Slide Number Placeholder 1">
            <a:extLst>
              <a:ext uri="{FF2B5EF4-FFF2-40B4-BE49-F238E27FC236}">
                <a16:creationId xmlns:a16="http://schemas.microsoft.com/office/drawing/2014/main" id="{F0C120FA-FCF6-4D66-A1AB-04DFA35A1018}"/>
              </a:ext>
            </a:extLst>
          </p:cNvPr>
          <p:cNvSpPr>
            <a:spLocks noGrp="1"/>
          </p:cNvSpPr>
          <p:nvPr>
            <p:ph type="sldNum" sz="quarter" idx="10"/>
          </p:nvPr>
        </p:nvSpPr>
        <p:spPr/>
        <p:txBody>
          <a:bodyPr/>
          <a:lstStyle/>
          <a:p>
            <a:pPr defTabSz="685800" fontAlgn="auto">
              <a:spcBef>
                <a:spcPts val="0"/>
              </a:spcBef>
              <a:spcAft>
                <a:spcPts val="0"/>
              </a:spcAft>
              <a:defRPr/>
            </a:pPr>
            <a:fld id="{CC9E6EB9-168E-4914-8CC7-2E853AFB4F1B}" type="slidenum">
              <a:rPr lang="en-US">
                <a:latin typeface="Graphik"/>
                <a:cs typeface="+mn-cs"/>
              </a:rPr>
              <a:pPr defTabSz="685800" fontAlgn="auto">
                <a:spcBef>
                  <a:spcPts val="0"/>
                </a:spcBef>
                <a:spcAft>
                  <a:spcPts val="0"/>
                </a:spcAft>
                <a:defRPr/>
              </a:pPr>
              <a:t>3</a:t>
            </a:fld>
            <a:endParaRPr lang="en-US">
              <a:latin typeface="Graphik"/>
              <a:cs typeface="+mn-cs"/>
            </a:endParaRPr>
          </a:p>
        </p:txBody>
      </p:sp>
      <p:grpSp>
        <p:nvGrpSpPr>
          <p:cNvPr id="447" name="Group 446">
            <a:extLst>
              <a:ext uri="{FF2B5EF4-FFF2-40B4-BE49-F238E27FC236}">
                <a16:creationId xmlns:a16="http://schemas.microsoft.com/office/drawing/2014/main" id="{5308DF68-C6AA-9FCF-DDC1-18744920431C}"/>
              </a:ext>
            </a:extLst>
          </p:cNvPr>
          <p:cNvGrpSpPr/>
          <p:nvPr/>
        </p:nvGrpSpPr>
        <p:grpSpPr>
          <a:xfrm>
            <a:off x="6702576" y="1068115"/>
            <a:ext cx="2414254" cy="3425398"/>
            <a:chOff x="8936767" y="1424153"/>
            <a:chExt cx="3219005" cy="4567197"/>
          </a:xfrm>
        </p:grpSpPr>
        <p:grpSp>
          <p:nvGrpSpPr>
            <p:cNvPr id="379" name="Group 378">
              <a:extLst>
                <a:ext uri="{FF2B5EF4-FFF2-40B4-BE49-F238E27FC236}">
                  <a16:creationId xmlns:a16="http://schemas.microsoft.com/office/drawing/2014/main" id="{66E5FE9A-FACC-9024-5899-AF378B3D25F4}"/>
                </a:ext>
              </a:extLst>
            </p:cNvPr>
            <p:cNvGrpSpPr/>
            <p:nvPr/>
          </p:nvGrpSpPr>
          <p:grpSpPr>
            <a:xfrm>
              <a:off x="9440740" y="2126174"/>
              <a:ext cx="2538203" cy="3865176"/>
              <a:chOff x="9440740" y="2126174"/>
              <a:chExt cx="2538203" cy="3865176"/>
            </a:xfrm>
          </p:grpSpPr>
          <p:pic>
            <p:nvPicPr>
              <p:cNvPr id="43" name="Picture 42">
                <a:extLst>
                  <a:ext uri="{FF2B5EF4-FFF2-40B4-BE49-F238E27FC236}">
                    <a16:creationId xmlns:a16="http://schemas.microsoft.com/office/drawing/2014/main" id="{7207BD26-C289-4DEE-8344-D964E3F58941}"/>
                  </a:ext>
                </a:extLst>
              </p:cNvPr>
              <p:cNvPicPr/>
              <p:nvPr/>
            </p:nvPicPr>
            <p:blipFill>
              <a:blip r:embed="rId6" cstate="email">
                <a:extLst>
                  <a:ext uri="{28A0092B-C50C-407E-A947-70E740481C1C}">
                    <a14:useLocalDpi xmlns:a14="http://schemas.microsoft.com/office/drawing/2010/main"/>
                  </a:ext>
                </a:extLst>
              </a:blip>
              <a:stretch>
                <a:fillRect/>
              </a:stretch>
            </p:blipFill>
            <p:spPr>
              <a:xfrm>
                <a:off x="10074678" y="2684030"/>
                <a:ext cx="574052" cy="180451"/>
              </a:xfrm>
              <a:prstGeom prst="rect">
                <a:avLst/>
              </a:prstGeom>
              <a:noFill/>
              <a:ln>
                <a:noFill/>
              </a:ln>
            </p:spPr>
          </p:pic>
          <p:pic>
            <p:nvPicPr>
              <p:cNvPr id="44" name="Picture 43">
                <a:extLst>
                  <a:ext uri="{FF2B5EF4-FFF2-40B4-BE49-F238E27FC236}">
                    <a16:creationId xmlns:a16="http://schemas.microsoft.com/office/drawing/2014/main" id="{37DDAF3D-B254-4B12-901F-0EE01CB19BAB}"/>
                  </a:ext>
                </a:extLst>
              </p:cNvPr>
              <p:cNvPicPr/>
              <p:nvPr/>
            </p:nvPicPr>
            <p:blipFill>
              <a:blip r:embed="rId7" cstate="email">
                <a:extLst>
                  <a:ext uri="{28A0092B-C50C-407E-A947-70E740481C1C}">
                    <a14:useLocalDpi xmlns:a14="http://schemas.microsoft.com/office/drawing/2010/main"/>
                  </a:ext>
                </a:extLst>
              </a:blip>
              <a:stretch>
                <a:fillRect/>
              </a:stretch>
            </p:blipFill>
            <p:spPr>
              <a:xfrm>
                <a:off x="9518268" y="2979061"/>
                <a:ext cx="538802" cy="348049"/>
              </a:xfrm>
              <a:prstGeom prst="rect">
                <a:avLst/>
              </a:prstGeom>
              <a:noFill/>
              <a:ln>
                <a:noFill/>
              </a:ln>
            </p:spPr>
          </p:pic>
          <p:pic>
            <p:nvPicPr>
              <p:cNvPr id="45" name="Picture 44">
                <a:extLst>
                  <a:ext uri="{FF2B5EF4-FFF2-40B4-BE49-F238E27FC236}">
                    <a16:creationId xmlns:a16="http://schemas.microsoft.com/office/drawing/2014/main" id="{D0616A7E-D7F3-4EBC-8061-B31088099CE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526736" y="3821845"/>
                <a:ext cx="586865" cy="220074"/>
              </a:xfrm>
              <a:prstGeom prst="rect">
                <a:avLst/>
              </a:prstGeom>
            </p:spPr>
          </p:pic>
          <p:pic>
            <p:nvPicPr>
              <p:cNvPr id="46" name="Picture 45">
                <a:extLst>
                  <a:ext uri="{FF2B5EF4-FFF2-40B4-BE49-F238E27FC236}">
                    <a16:creationId xmlns:a16="http://schemas.microsoft.com/office/drawing/2014/main" id="{902F6DE4-2030-46B1-A6A5-8E4F6FC73C7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852934" y="2484556"/>
                <a:ext cx="677791" cy="229112"/>
              </a:xfrm>
              <a:prstGeom prst="rect">
                <a:avLst/>
              </a:prstGeom>
            </p:spPr>
          </p:pic>
          <p:pic>
            <p:nvPicPr>
              <p:cNvPr id="47" name="Picture 46">
                <a:extLst>
                  <a:ext uri="{FF2B5EF4-FFF2-40B4-BE49-F238E27FC236}">
                    <a16:creationId xmlns:a16="http://schemas.microsoft.com/office/drawing/2014/main" id="{EEB42552-9C9A-4804-A2D1-87E6B4A6177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361704" y="3898181"/>
                <a:ext cx="846479" cy="312337"/>
              </a:xfrm>
              <a:prstGeom prst="rect">
                <a:avLst/>
              </a:prstGeom>
            </p:spPr>
          </p:pic>
          <p:pic>
            <p:nvPicPr>
              <p:cNvPr id="48" name="Picture 47">
                <a:extLst>
                  <a:ext uri="{FF2B5EF4-FFF2-40B4-BE49-F238E27FC236}">
                    <a16:creationId xmlns:a16="http://schemas.microsoft.com/office/drawing/2014/main" id="{F5CF7A65-A9F2-4589-ADFA-54A467789C78}"/>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950136" y="5170977"/>
                <a:ext cx="579963" cy="287249"/>
              </a:xfrm>
              <a:prstGeom prst="rect">
                <a:avLst/>
              </a:prstGeom>
            </p:spPr>
          </p:pic>
          <p:pic>
            <p:nvPicPr>
              <p:cNvPr id="49" name="Picture 48">
                <a:extLst>
                  <a:ext uri="{FF2B5EF4-FFF2-40B4-BE49-F238E27FC236}">
                    <a16:creationId xmlns:a16="http://schemas.microsoft.com/office/drawing/2014/main" id="{386BF0C2-E7D6-4BD0-9B15-B8B22AE79A1A}"/>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501340" y="3216779"/>
                <a:ext cx="586866" cy="220662"/>
              </a:xfrm>
              <a:prstGeom prst="rect">
                <a:avLst/>
              </a:prstGeom>
            </p:spPr>
          </p:pic>
          <p:pic>
            <p:nvPicPr>
              <p:cNvPr id="51" name="Picture 4" descr="Image result for paxata logo">
                <a:extLst>
                  <a:ext uri="{FF2B5EF4-FFF2-40B4-BE49-F238E27FC236}">
                    <a16:creationId xmlns:a16="http://schemas.microsoft.com/office/drawing/2014/main" id="{9ACF209F-1DA0-435E-8B57-BDEED9B06DC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9600340" y="5813612"/>
                <a:ext cx="770841" cy="17773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Image result for informatica logo png">
                <a:extLst>
                  <a:ext uri="{FF2B5EF4-FFF2-40B4-BE49-F238E27FC236}">
                    <a16:creationId xmlns:a16="http://schemas.microsoft.com/office/drawing/2014/main" id="{9A0A27C7-C0CD-44BD-9255-5A04319F2BC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809275" y="2126174"/>
                <a:ext cx="906895" cy="24712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00FFDAD3-3ECC-4E04-89D0-E0B312399B04}"/>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440740" y="4754958"/>
                <a:ext cx="384564" cy="269330"/>
              </a:xfrm>
              <a:prstGeom prst="rect">
                <a:avLst/>
              </a:prstGeom>
            </p:spPr>
          </p:pic>
          <p:pic>
            <p:nvPicPr>
              <p:cNvPr id="55" name="Picture 128" descr="MIT.png">
                <a:extLst>
                  <a:ext uri="{FF2B5EF4-FFF2-40B4-BE49-F238E27FC236}">
                    <a16:creationId xmlns:a16="http://schemas.microsoft.com/office/drawing/2014/main" id="{9065BE06-08BF-485D-8D02-724AECFC26A8}"/>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1025422" y="5119391"/>
                <a:ext cx="953521" cy="269330"/>
              </a:xfrm>
              <a:prstGeom prst="rect">
                <a:avLst/>
              </a:prstGeom>
            </p:spPr>
          </p:pic>
        </p:grpSp>
        <p:sp>
          <p:nvSpPr>
            <p:cNvPr id="104" name="TextBox 103">
              <a:extLst>
                <a:ext uri="{FF2B5EF4-FFF2-40B4-BE49-F238E27FC236}">
                  <a16:creationId xmlns:a16="http://schemas.microsoft.com/office/drawing/2014/main" id="{504489DD-512A-924B-3ACC-3C161FFA27E1}"/>
                </a:ext>
              </a:extLst>
            </p:cNvPr>
            <p:cNvSpPr txBox="1"/>
            <p:nvPr/>
          </p:nvSpPr>
          <p:spPr>
            <a:xfrm>
              <a:off x="8936767" y="1424153"/>
              <a:ext cx="3219005" cy="400109"/>
            </a:xfrm>
            <a:prstGeom prst="rect">
              <a:avLst/>
            </a:prstGeom>
            <a:noFill/>
          </p:spPr>
          <p:txBody>
            <a:bodyPr wrap="square">
              <a:spAutoFit/>
            </a:bodyPr>
            <a:lstStyle/>
            <a:p>
              <a:pPr defTabSz="685800" fontAlgn="auto">
                <a:spcBef>
                  <a:spcPts val="0"/>
                </a:spcBef>
                <a:spcAft>
                  <a:spcPts val="0"/>
                </a:spcAft>
                <a:defRPr/>
              </a:pPr>
              <a:r>
                <a:rPr lang="en-US" sz="1350" b="1">
                  <a:solidFill>
                    <a:srgbClr val="6603C7"/>
                  </a:solidFill>
                  <a:latin typeface="Graphik" panose="020B0503030202060203" pitchFamily="34" charset="0"/>
                  <a:cs typeface="+mn-cs"/>
                </a:rPr>
                <a:t>Our partner ecosystem</a:t>
              </a:r>
            </a:p>
          </p:txBody>
        </p:sp>
      </p:grpSp>
      <p:grpSp>
        <p:nvGrpSpPr>
          <p:cNvPr id="446" name="Group 445">
            <a:extLst>
              <a:ext uri="{FF2B5EF4-FFF2-40B4-BE49-F238E27FC236}">
                <a16:creationId xmlns:a16="http://schemas.microsoft.com/office/drawing/2014/main" id="{4E3E5591-F78B-32B3-96A4-FAFDF07B713E}"/>
              </a:ext>
            </a:extLst>
          </p:cNvPr>
          <p:cNvGrpSpPr/>
          <p:nvPr/>
        </p:nvGrpSpPr>
        <p:grpSpPr>
          <a:xfrm>
            <a:off x="285750" y="1031237"/>
            <a:ext cx="2761273" cy="2842849"/>
            <a:chOff x="381000" y="1374982"/>
            <a:chExt cx="3681697" cy="3790465"/>
          </a:xfrm>
        </p:grpSpPr>
        <p:sp>
          <p:nvSpPr>
            <p:cNvPr id="11" name="TextBox 10">
              <a:extLst>
                <a:ext uri="{FF2B5EF4-FFF2-40B4-BE49-F238E27FC236}">
                  <a16:creationId xmlns:a16="http://schemas.microsoft.com/office/drawing/2014/main" id="{7416A811-3DC1-413E-BC87-CD6B5B838D1A}"/>
                </a:ext>
              </a:extLst>
            </p:cNvPr>
            <p:cNvSpPr txBox="1"/>
            <p:nvPr/>
          </p:nvSpPr>
          <p:spPr>
            <a:xfrm>
              <a:off x="448312" y="1862042"/>
              <a:ext cx="1562875" cy="634522"/>
            </a:xfrm>
            <a:prstGeom prst="rect">
              <a:avLst/>
            </a:prstGeom>
            <a:noFill/>
          </p:spPr>
          <p:txBody>
            <a:bodyPr wrap="square" lIns="0" tIns="0" rIns="0" bIns="0" rtlCol="0" anchor="t">
              <a:noAutofit/>
            </a:bodyPr>
            <a:lstStyle>
              <a:defPPr>
                <a:defRPr lang="en-US"/>
              </a:defPPr>
              <a:lvl1pPr algn="ctr">
                <a:lnSpc>
                  <a:spcPct val="75000"/>
                </a:lnSpc>
                <a:defRPr sz="3200" b="1">
                  <a:solidFill>
                    <a:schemeClr val="tx2"/>
                  </a:solidFill>
                  <a:latin typeface="Graphik" panose="020B0503030202060203" pitchFamily="34" charset="77"/>
                </a:defRPr>
              </a:lvl1pPr>
            </a:lstStyle>
            <a:p>
              <a:pPr algn="l" defTabSz="685800" fontAlgn="auto">
                <a:lnSpc>
                  <a:spcPct val="100000"/>
                </a:lnSpc>
                <a:spcBef>
                  <a:spcPts val="0"/>
                </a:spcBef>
                <a:spcAft>
                  <a:spcPts val="0"/>
                </a:spcAft>
                <a:defRPr/>
              </a:pPr>
              <a:r>
                <a:rPr lang="en-US" sz="2400">
                  <a:solidFill>
                    <a:srgbClr val="6603C7"/>
                  </a:solidFill>
                  <a:latin typeface="Graphik"/>
                  <a:cs typeface="+mn-cs"/>
                </a:rPr>
                <a:t>20+ </a:t>
              </a:r>
            </a:p>
            <a:p>
              <a:pPr algn="l" defTabSz="685800" fontAlgn="auto">
                <a:lnSpc>
                  <a:spcPct val="100000"/>
                </a:lnSpc>
                <a:spcBef>
                  <a:spcPts val="0"/>
                </a:spcBef>
                <a:spcAft>
                  <a:spcPts val="0"/>
                </a:spcAft>
                <a:defRPr/>
              </a:pPr>
              <a:r>
                <a:rPr lang="en-US" sz="788" b="0">
                  <a:solidFill>
                    <a:srgbClr val="000000">
                      <a:lumMod val="100000"/>
                    </a:srgbClr>
                  </a:solidFill>
                  <a:latin typeface="Graphik"/>
                  <a:cs typeface="+mn-cs"/>
                </a:rPr>
                <a:t>Years of experience in advanced analytics</a:t>
              </a:r>
            </a:p>
          </p:txBody>
        </p:sp>
        <p:sp>
          <p:nvSpPr>
            <p:cNvPr id="12" name="TextBox 11">
              <a:extLst>
                <a:ext uri="{FF2B5EF4-FFF2-40B4-BE49-F238E27FC236}">
                  <a16:creationId xmlns:a16="http://schemas.microsoft.com/office/drawing/2014/main" id="{2293A986-7E52-47BC-9E96-6B96852B89ED}"/>
                </a:ext>
              </a:extLst>
            </p:cNvPr>
            <p:cNvSpPr txBox="1"/>
            <p:nvPr/>
          </p:nvSpPr>
          <p:spPr>
            <a:xfrm>
              <a:off x="2169408" y="1862042"/>
              <a:ext cx="1562875" cy="634522"/>
            </a:xfrm>
            <a:prstGeom prst="rect">
              <a:avLst/>
            </a:prstGeom>
            <a:noFill/>
          </p:spPr>
          <p:txBody>
            <a:bodyPr wrap="square" lIns="0" tIns="0" rIns="0" bIns="0" rtlCol="0" anchor="t">
              <a:noAutofit/>
            </a:bodyPr>
            <a:lstStyle>
              <a:defPPr>
                <a:defRPr lang="en-US"/>
              </a:defPPr>
              <a:lvl1pPr algn="ctr">
                <a:lnSpc>
                  <a:spcPct val="75000"/>
                </a:lnSpc>
                <a:defRPr sz="3200" b="1">
                  <a:solidFill>
                    <a:schemeClr val="tx2"/>
                  </a:solidFill>
                  <a:latin typeface="Graphik" panose="020B0503030202060203" pitchFamily="34" charset="77"/>
                </a:defRPr>
              </a:lvl1pPr>
            </a:lstStyle>
            <a:p>
              <a:pPr algn="l" defTabSz="685800" fontAlgn="auto">
                <a:lnSpc>
                  <a:spcPct val="100000"/>
                </a:lnSpc>
                <a:spcBef>
                  <a:spcPts val="0"/>
                </a:spcBef>
                <a:spcAft>
                  <a:spcPts val="0"/>
                </a:spcAft>
                <a:defRPr/>
              </a:pPr>
              <a:r>
                <a:rPr lang="en-US" sz="2400">
                  <a:solidFill>
                    <a:srgbClr val="6603C7"/>
                  </a:solidFill>
                  <a:latin typeface="Graphik"/>
                  <a:cs typeface="+mn-cs"/>
                </a:rPr>
                <a:t>20K+ </a:t>
              </a:r>
            </a:p>
            <a:p>
              <a:pPr algn="l" defTabSz="685800" fontAlgn="auto">
                <a:lnSpc>
                  <a:spcPct val="100000"/>
                </a:lnSpc>
                <a:spcBef>
                  <a:spcPts val="0"/>
                </a:spcBef>
                <a:spcAft>
                  <a:spcPts val="0"/>
                </a:spcAft>
                <a:defRPr/>
              </a:pPr>
              <a:r>
                <a:rPr lang="en-US" sz="788" b="0">
                  <a:solidFill>
                    <a:srgbClr val="000000"/>
                  </a:solidFill>
                  <a:latin typeface="Graphik"/>
                  <a:cs typeface="+mn-cs"/>
                </a:rPr>
                <a:t>Employees and experts</a:t>
              </a:r>
              <a:endParaRPr lang="en-US" sz="788" b="0">
                <a:solidFill>
                  <a:srgbClr val="000000"/>
                </a:solidFill>
                <a:cs typeface="+mn-cs"/>
              </a:endParaRPr>
            </a:p>
          </p:txBody>
        </p:sp>
        <p:sp>
          <p:nvSpPr>
            <p:cNvPr id="13" name="TextBox 12">
              <a:extLst>
                <a:ext uri="{FF2B5EF4-FFF2-40B4-BE49-F238E27FC236}">
                  <a16:creationId xmlns:a16="http://schemas.microsoft.com/office/drawing/2014/main" id="{1C3B5295-F322-4701-A67D-D0AD0369A672}"/>
                </a:ext>
              </a:extLst>
            </p:cNvPr>
            <p:cNvSpPr txBox="1"/>
            <p:nvPr/>
          </p:nvSpPr>
          <p:spPr>
            <a:xfrm>
              <a:off x="448312" y="3592024"/>
              <a:ext cx="1562875" cy="634522"/>
            </a:xfrm>
            <a:prstGeom prst="rect">
              <a:avLst/>
            </a:prstGeom>
            <a:noFill/>
          </p:spPr>
          <p:txBody>
            <a:bodyPr wrap="square" lIns="0" tIns="0" rIns="0" bIns="0" rtlCol="0" anchor="t">
              <a:noAutofit/>
            </a:bodyPr>
            <a:lstStyle>
              <a:defPPr>
                <a:defRPr lang="en-US"/>
              </a:defPPr>
              <a:lvl1pPr algn="ctr">
                <a:lnSpc>
                  <a:spcPct val="75000"/>
                </a:lnSpc>
                <a:defRPr sz="3200" b="1">
                  <a:solidFill>
                    <a:schemeClr val="tx2"/>
                  </a:solidFill>
                  <a:latin typeface="Graphik" panose="020B0503030202060203" pitchFamily="34" charset="77"/>
                </a:defRPr>
              </a:lvl1pPr>
            </a:lstStyle>
            <a:p>
              <a:pPr algn="l" defTabSz="685800" fontAlgn="auto">
                <a:lnSpc>
                  <a:spcPct val="100000"/>
                </a:lnSpc>
                <a:spcBef>
                  <a:spcPts val="0"/>
                </a:spcBef>
                <a:spcAft>
                  <a:spcPts val="0"/>
                </a:spcAft>
                <a:defRPr/>
              </a:pPr>
              <a:r>
                <a:rPr lang="en-US" sz="2400">
                  <a:solidFill>
                    <a:srgbClr val="6603C7"/>
                  </a:solidFill>
                  <a:latin typeface="Graphik"/>
                  <a:cs typeface="+mn-cs"/>
                </a:rPr>
                <a:t>20+ </a:t>
              </a:r>
            </a:p>
            <a:p>
              <a:pPr algn="l" defTabSz="685800" fontAlgn="auto">
                <a:lnSpc>
                  <a:spcPct val="100000"/>
                </a:lnSpc>
                <a:spcBef>
                  <a:spcPts val="0"/>
                </a:spcBef>
                <a:spcAft>
                  <a:spcPts val="0"/>
                </a:spcAft>
                <a:defRPr/>
              </a:pPr>
              <a:r>
                <a:rPr lang="en-US" sz="788" b="0">
                  <a:solidFill>
                    <a:srgbClr val="000000">
                      <a:lumMod val="100000"/>
                    </a:srgbClr>
                  </a:solidFill>
                  <a:latin typeface="Graphik"/>
                  <a:cs typeface="+mn-cs"/>
                </a:rPr>
                <a:t>Innovation centers</a:t>
              </a:r>
            </a:p>
          </p:txBody>
        </p:sp>
        <p:sp>
          <p:nvSpPr>
            <p:cNvPr id="14" name="TextBox 13">
              <a:extLst>
                <a:ext uri="{FF2B5EF4-FFF2-40B4-BE49-F238E27FC236}">
                  <a16:creationId xmlns:a16="http://schemas.microsoft.com/office/drawing/2014/main" id="{5184F454-948E-4759-BE8B-2A818204AB5A}"/>
                </a:ext>
              </a:extLst>
            </p:cNvPr>
            <p:cNvSpPr txBox="1"/>
            <p:nvPr/>
          </p:nvSpPr>
          <p:spPr>
            <a:xfrm>
              <a:off x="448312" y="2732020"/>
              <a:ext cx="1185298" cy="634522"/>
            </a:xfrm>
            <a:prstGeom prst="rect">
              <a:avLst/>
            </a:prstGeom>
            <a:noFill/>
          </p:spPr>
          <p:txBody>
            <a:bodyPr wrap="square" lIns="0" tIns="0" rIns="0" bIns="0" rtlCol="0" anchor="t">
              <a:noAutofit/>
            </a:bodyPr>
            <a:lstStyle>
              <a:defPPr>
                <a:defRPr lang="en-US"/>
              </a:defPPr>
              <a:lvl1pPr algn="ctr">
                <a:lnSpc>
                  <a:spcPct val="75000"/>
                </a:lnSpc>
                <a:defRPr sz="3200" b="1">
                  <a:solidFill>
                    <a:schemeClr val="tx2"/>
                  </a:solidFill>
                  <a:latin typeface="Graphik" panose="020B0503030202060203" pitchFamily="34" charset="77"/>
                </a:defRPr>
              </a:lvl1pPr>
            </a:lstStyle>
            <a:p>
              <a:pPr algn="l" defTabSz="685800" fontAlgn="auto">
                <a:lnSpc>
                  <a:spcPct val="100000"/>
                </a:lnSpc>
                <a:spcBef>
                  <a:spcPts val="0"/>
                </a:spcBef>
                <a:spcAft>
                  <a:spcPts val="0"/>
                </a:spcAft>
                <a:defRPr/>
              </a:pPr>
              <a:r>
                <a:rPr lang="en-US" sz="2400">
                  <a:solidFill>
                    <a:srgbClr val="6603C7"/>
                  </a:solidFill>
                  <a:latin typeface="Graphik"/>
                  <a:cs typeface="+mn-cs"/>
                </a:rPr>
                <a:t>6K+ </a:t>
              </a:r>
            </a:p>
            <a:p>
              <a:pPr algn="l" defTabSz="685800" fontAlgn="auto">
                <a:lnSpc>
                  <a:spcPct val="100000"/>
                </a:lnSpc>
                <a:spcBef>
                  <a:spcPts val="0"/>
                </a:spcBef>
                <a:spcAft>
                  <a:spcPts val="0"/>
                </a:spcAft>
                <a:defRPr/>
              </a:pPr>
              <a:r>
                <a:rPr lang="en-US" sz="788" b="0">
                  <a:solidFill>
                    <a:srgbClr val="000000">
                      <a:lumMod val="100000"/>
                    </a:srgbClr>
                  </a:solidFill>
                  <a:latin typeface="Graphik"/>
                  <a:cs typeface="+mn-cs"/>
                </a:rPr>
                <a:t>Deep AI experts</a:t>
              </a:r>
            </a:p>
          </p:txBody>
        </p:sp>
        <p:sp>
          <p:nvSpPr>
            <p:cNvPr id="15" name="TextBox 14">
              <a:extLst>
                <a:ext uri="{FF2B5EF4-FFF2-40B4-BE49-F238E27FC236}">
                  <a16:creationId xmlns:a16="http://schemas.microsoft.com/office/drawing/2014/main" id="{3A3E55B4-0015-4F25-A5C2-8304EC2DF985}"/>
                </a:ext>
              </a:extLst>
            </p:cNvPr>
            <p:cNvSpPr txBox="1"/>
            <p:nvPr/>
          </p:nvSpPr>
          <p:spPr>
            <a:xfrm>
              <a:off x="2169408" y="4530925"/>
              <a:ext cx="1562875" cy="634522"/>
            </a:xfrm>
            <a:prstGeom prst="rect">
              <a:avLst/>
            </a:prstGeom>
            <a:noFill/>
          </p:spPr>
          <p:txBody>
            <a:bodyPr wrap="square" lIns="0" tIns="0" rIns="0" bIns="0" rtlCol="0" anchor="t">
              <a:noAutofit/>
            </a:bodyPr>
            <a:lstStyle/>
            <a:p>
              <a:pPr defTabSz="685800" fontAlgn="auto">
                <a:spcBef>
                  <a:spcPts val="0"/>
                </a:spcBef>
                <a:spcAft>
                  <a:spcPts val="0"/>
                </a:spcAft>
                <a:defRPr/>
              </a:pPr>
              <a:r>
                <a:rPr lang="en-US" sz="2400" b="1">
                  <a:solidFill>
                    <a:srgbClr val="6603C7"/>
                  </a:solidFill>
                  <a:latin typeface="Graphik"/>
                  <a:cs typeface="+mn-cs"/>
                </a:rPr>
                <a:t>250+</a:t>
              </a:r>
            </a:p>
            <a:p>
              <a:pPr defTabSz="685800" fontAlgn="auto">
                <a:spcBef>
                  <a:spcPts val="0"/>
                </a:spcBef>
                <a:spcAft>
                  <a:spcPts val="0"/>
                </a:spcAft>
                <a:defRPr/>
              </a:pPr>
              <a:r>
                <a:rPr lang="en-US" sz="788">
                  <a:solidFill>
                    <a:srgbClr val="000000">
                      <a:lumMod val="100000"/>
                    </a:srgbClr>
                  </a:solidFill>
                  <a:latin typeface="Graphik"/>
                  <a:cs typeface="+mn-cs"/>
                </a:rPr>
                <a:t>Apps and solutions</a:t>
              </a:r>
            </a:p>
          </p:txBody>
        </p:sp>
        <p:sp>
          <p:nvSpPr>
            <p:cNvPr id="16" name="TextBox 15">
              <a:extLst>
                <a:ext uri="{FF2B5EF4-FFF2-40B4-BE49-F238E27FC236}">
                  <a16:creationId xmlns:a16="http://schemas.microsoft.com/office/drawing/2014/main" id="{175D0277-8027-4EE1-AEE2-E221DA490A16}"/>
                </a:ext>
              </a:extLst>
            </p:cNvPr>
            <p:cNvSpPr txBox="1"/>
            <p:nvPr/>
          </p:nvSpPr>
          <p:spPr>
            <a:xfrm>
              <a:off x="2169408" y="3660947"/>
              <a:ext cx="1562875" cy="634522"/>
            </a:xfrm>
            <a:prstGeom prst="rect">
              <a:avLst/>
            </a:prstGeom>
            <a:noFill/>
          </p:spPr>
          <p:txBody>
            <a:bodyPr wrap="square" lIns="0" tIns="0" rIns="0" bIns="0" rtlCol="0" anchor="t">
              <a:noAutofit/>
            </a:bodyPr>
            <a:lstStyle>
              <a:defPPr>
                <a:defRPr lang="en-US"/>
              </a:defPPr>
              <a:lvl1pPr algn="ctr">
                <a:lnSpc>
                  <a:spcPct val="75000"/>
                </a:lnSpc>
                <a:defRPr sz="3200" b="1">
                  <a:solidFill>
                    <a:schemeClr val="tx2"/>
                  </a:solidFill>
                  <a:latin typeface="Graphik" panose="020B0503030202060203" pitchFamily="34" charset="77"/>
                </a:defRPr>
              </a:lvl1pPr>
            </a:lstStyle>
            <a:p>
              <a:pPr algn="l" defTabSz="685800" fontAlgn="auto">
                <a:lnSpc>
                  <a:spcPct val="100000"/>
                </a:lnSpc>
                <a:spcBef>
                  <a:spcPts val="0"/>
                </a:spcBef>
                <a:spcAft>
                  <a:spcPts val="0"/>
                </a:spcAft>
                <a:defRPr/>
              </a:pPr>
              <a:r>
                <a:rPr lang="en-US" sz="2400">
                  <a:solidFill>
                    <a:srgbClr val="6603C7"/>
                  </a:solidFill>
                  <a:latin typeface="Graphik"/>
                  <a:cs typeface="+mn-cs"/>
                </a:rPr>
                <a:t>1,600+</a:t>
              </a:r>
            </a:p>
            <a:p>
              <a:pPr algn="l" defTabSz="685800" fontAlgn="auto">
                <a:lnSpc>
                  <a:spcPct val="100000"/>
                </a:lnSpc>
                <a:spcBef>
                  <a:spcPts val="0"/>
                </a:spcBef>
                <a:spcAft>
                  <a:spcPts val="0"/>
                </a:spcAft>
                <a:defRPr/>
              </a:pPr>
              <a:r>
                <a:rPr lang="en-US" sz="788" b="0">
                  <a:solidFill>
                    <a:srgbClr val="000000">
                      <a:lumMod val="100000"/>
                    </a:srgbClr>
                  </a:solidFill>
                  <a:latin typeface="Graphik"/>
                  <a:cs typeface="+mn-cs"/>
                </a:rPr>
                <a:t>Patents and registered patents</a:t>
              </a:r>
            </a:p>
          </p:txBody>
        </p:sp>
        <p:sp>
          <p:nvSpPr>
            <p:cNvPr id="18" name="TextBox 17">
              <a:extLst>
                <a:ext uri="{FF2B5EF4-FFF2-40B4-BE49-F238E27FC236}">
                  <a16:creationId xmlns:a16="http://schemas.microsoft.com/office/drawing/2014/main" id="{92AD3BC6-0FDA-4842-BA76-6B1C658132EC}"/>
                </a:ext>
              </a:extLst>
            </p:cNvPr>
            <p:cNvSpPr txBox="1"/>
            <p:nvPr/>
          </p:nvSpPr>
          <p:spPr>
            <a:xfrm>
              <a:off x="2169408" y="2732020"/>
              <a:ext cx="1562875" cy="634522"/>
            </a:xfrm>
            <a:prstGeom prst="rect">
              <a:avLst/>
            </a:prstGeom>
            <a:noFill/>
          </p:spPr>
          <p:txBody>
            <a:bodyPr wrap="square" lIns="0" tIns="0" rIns="0" bIns="0" rtlCol="0" anchor="t">
              <a:noAutofit/>
            </a:bodyPr>
            <a:lstStyle>
              <a:defPPr>
                <a:defRPr lang="en-US"/>
              </a:defPPr>
              <a:lvl1pPr algn="ctr">
                <a:lnSpc>
                  <a:spcPct val="75000"/>
                </a:lnSpc>
                <a:defRPr sz="3200" b="1">
                  <a:solidFill>
                    <a:schemeClr val="tx2"/>
                  </a:solidFill>
                  <a:latin typeface="Graphik" panose="020B0503030202060203" pitchFamily="34" charset="77"/>
                </a:defRPr>
              </a:lvl1pPr>
            </a:lstStyle>
            <a:p>
              <a:pPr algn="l" defTabSz="685800" fontAlgn="auto">
                <a:lnSpc>
                  <a:spcPct val="100000"/>
                </a:lnSpc>
                <a:spcBef>
                  <a:spcPts val="0"/>
                </a:spcBef>
                <a:spcAft>
                  <a:spcPts val="0"/>
                </a:spcAft>
                <a:defRPr/>
              </a:pPr>
              <a:r>
                <a:rPr lang="en-US" sz="2400">
                  <a:solidFill>
                    <a:srgbClr val="6603C7"/>
                  </a:solidFill>
                  <a:latin typeface="Graphik"/>
                  <a:cs typeface="+mn-cs"/>
                </a:rPr>
                <a:t>3K+ </a:t>
              </a:r>
            </a:p>
            <a:p>
              <a:pPr algn="l" defTabSz="685800" fontAlgn="auto">
                <a:lnSpc>
                  <a:spcPct val="100000"/>
                </a:lnSpc>
                <a:spcBef>
                  <a:spcPts val="0"/>
                </a:spcBef>
                <a:spcAft>
                  <a:spcPts val="0"/>
                </a:spcAft>
                <a:defRPr/>
              </a:pPr>
              <a:r>
                <a:rPr lang="en-US" sz="788" b="0">
                  <a:solidFill>
                    <a:srgbClr val="000000">
                      <a:lumMod val="100000"/>
                    </a:srgbClr>
                  </a:solidFill>
                  <a:latin typeface="Graphik"/>
                  <a:cs typeface="+mn-cs"/>
                </a:rPr>
                <a:t>Data </a:t>
              </a:r>
              <a:br>
                <a:rPr lang="en-US" sz="788" b="0">
                  <a:solidFill>
                    <a:srgbClr val="000000">
                      <a:lumMod val="100000"/>
                    </a:srgbClr>
                  </a:solidFill>
                  <a:latin typeface="Graphik"/>
                  <a:cs typeface="+mn-cs"/>
                </a:rPr>
              </a:br>
              <a:r>
                <a:rPr lang="en-US" sz="788" b="0">
                  <a:solidFill>
                    <a:srgbClr val="000000">
                      <a:lumMod val="100000"/>
                    </a:srgbClr>
                  </a:solidFill>
                  <a:latin typeface="Graphik"/>
                  <a:cs typeface="+mn-cs"/>
                </a:rPr>
                <a:t>scientists</a:t>
              </a:r>
            </a:p>
          </p:txBody>
        </p:sp>
        <p:sp>
          <p:nvSpPr>
            <p:cNvPr id="19" name="TextBox 18">
              <a:extLst>
                <a:ext uri="{FF2B5EF4-FFF2-40B4-BE49-F238E27FC236}">
                  <a16:creationId xmlns:a16="http://schemas.microsoft.com/office/drawing/2014/main" id="{72441D4C-C591-46EA-8886-FF34D778D4B8}"/>
                </a:ext>
              </a:extLst>
            </p:cNvPr>
            <p:cNvSpPr txBox="1"/>
            <p:nvPr/>
          </p:nvSpPr>
          <p:spPr>
            <a:xfrm>
              <a:off x="448312" y="4462002"/>
              <a:ext cx="1562875" cy="634522"/>
            </a:xfrm>
            <a:prstGeom prst="rect">
              <a:avLst/>
            </a:prstGeom>
            <a:noFill/>
          </p:spPr>
          <p:txBody>
            <a:bodyPr wrap="square" lIns="0" tIns="0" rIns="0" bIns="0" rtlCol="0" anchor="t">
              <a:noAutofit/>
            </a:bodyPr>
            <a:lstStyle>
              <a:defPPr>
                <a:defRPr lang="en-US"/>
              </a:defPPr>
              <a:lvl1pPr algn="ctr">
                <a:lnSpc>
                  <a:spcPct val="75000"/>
                </a:lnSpc>
                <a:defRPr sz="3200" b="1">
                  <a:solidFill>
                    <a:schemeClr val="tx2"/>
                  </a:solidFill>
                  <a:latin typeface="Graphik" panose="020B0503030202060203" pitchFamily="34" charset="77"/>
                </a:defRPr>
              </a:lvl1pPr>
            </a:lstStyle>
            <a:p>
              <a:pPr algn="l" defTabSz="685800" fontAlgn="auto">
                <a:lnSpc>
                  <a:spcPct val="100000"/>
                </a:lnSpc>
                <a:spcBef>
                  <a:spcPts val="0"/>
                </a:spcBef>
                <a:spcAft>
                  <a:spcPts val="0"/>
                </a:spcAft>
                <a:defRPr/>
              </a:pPr>
              <a:r>
                <a:rPr lang="en-US" sz="2400">
                  <a:solidFill>
                    <a:srgbClr val="6603C7"/>
                  </a:solidFill>
                  <a:latin typeface="Graphik"/>
                  <a:cs typeface="+mn-cs"/>
                </a:rPr>
                <a:t>100+</a:t>
              </a:r>
              <a:r>
                <a:rPr lang="en-US" sz="2400">
                  <a:solidFill>
                    <a:srgbClr val="A100FF">
                      <a:lumMod val="100000"/>
                    </a:srgbClr>
                  </a:solidFill>
                  <a:latin typeface="Graphik"/>
                  <a:cs typeface="+mn-cs"/>
                </a:rPr>
                <a:t> </a:t>
              </a:r>
            </a:p>
            <a:p>
              <a:pPr algn="l" defTabSz="685800" fontAlgn="auto">
                <a:lnSpc>
                  <a:spcPct val="100000"/>
                </a:lnSpc>
                <a:spcBef>
                  <a:spcPts val="0"/>
                </a:spcBef>
                <a:spcAft>
                  <a:spcPts val="0"/>
                </a:spcAft>
                <a:defRPr/>
              </a:pPr>
              <a:r>
                <a:rPr lang="en-US" sz="788" b="0">
                  <a:solidFill>
                    <a:srgbClr val="000000">
                      <a:lumMod val="100000"/>
                    </a:srgbClr>
                  </a:solidFill>
                  <a:latin typeface="Graphik"/>
                  <a:cs typeface="+mn-cs"/>
                </a:rPr>
                <a:t>Alliances and partner </a:t>
              </a:r>
              <a:br>
                <a:rPr lang="en-US" sz="788" b="0">
                  <a:solidFill>
                    <a:srgbClr val="000000">
                      <a:lumMod val="100000"/>
                    </a:srgbClr>
                  </a:solidFill>
                  <a:latin typeface="Graphik"/>
                  <a:cs typeface="+mn-cs"/>
                </a:rPr>
              </a:br>
              <a:r>
                <a:rPr lang="en-US" sz="788" b="0">
                  <a:solidFill>
                    <a:srgbClr val="000000">
                      <a:lumMod val="100000"/>
                    </a:srgbClr>
                  </a:solidFill>
                  <a:latin typeface="Graphik"/>
                  <a:cs typeface="+mn-cs"/>
                </a:rPr>
                <a:t>in ecosystem</a:t>
              </a:r>
            </a:p>
          </p:txBody>
        </p:sp>
        <p:pic>
          <p:nvPicPr>
            <p:cNvPr id="32" name="Content Placeholder 22" descr="A picture containing shape&#10;&#10;Description automatically generated">
              <a:extLst>
                <a:ext uri="{FF2B5EF4-FFF2-40B4-BE49-F238E27FC236}">
                  <a16:creationId xmlns:a16="http://schemas.microsoft.com/office/drawing/2014/main" id="{FE8BF934-85D6-4D26-AD7E-0D1A6787D96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81000" y="1398136"/>
              <a:ext cx="984241" cy="264139"/>
            </a:xfrm>
            <a:prstGeom prst="rect">
              <a:avLst/>
            </a:prstGeom>
          </p:spPr>
        </p:pic>
        <p:sp>
          <p:nvSpPr>
            <p:cNvPr id="363" name="TextBox 362">
              <a:extLst>
                <a:ext uri="{FF2B5EF4-FFF2-40B4-BE49-F238E27FC236}">
                  <a16:creationId xmlns:a16="http://schemas.microsoft.com/office/drawing/2014/main" id="{2709FB78-1791-CC38-12C0-19AD274D1365}"/>
                </a:ext>
              </a:extLst>
            </p:cNvPr>
            <p:cNvSpPr txBox="1"/>
            <p:nvPr/>
          </p:nvSpPr>
          <p:spPr>
            <a:xfrm>
              <a:off x="1360523" y="1374982"/>
              <a:ext cx="2702174" cy="400109"/>
            </a:xfrm>
            <a:prstGeom prst="rect">
              <a:avLst/>
            </a:prstGeom>
            <a:noFill/>
          </p:spPr>
          <p:txBody>
            <a:bodyPr wrap="square">
              <a:spAutoFit/>
            </a:bodyPr>
            <a:lstStyle/>
            <a:p>
              <a:pPr defTabSz="685800" fontAlgn="auto">
                <a:spcBef>
                  <a:spcPts val="0"/>
                </a:spcBef>
                <a:spcAft>
                  <a:spcPts val="0"/>
                </a:spcAft>
                <a:defRPr/>
              </a:pPr>
              <a:r>
                <a:rPr lang="en-US" sz="1350" b="1">
                  <a:solidFill>
                    <a:srgbClr val="6603C7"/>
                  </a:solidFill>
                  <a:latin typeface="Graphik" panose="020B0503030202060203" pitchFamily="34" charset="0"/>
                  <a:cs typeface="+mn-cs"/>
                </a:rPr>
                <a:t>Applied Intelligence</a:t>
              </a:r>
            </a:p>
          </p:txBody>
        </p:sp>
      </p:grpSp>
      <p:sp>
        <p:nvSpPr>
          <p:cNvPr id="382" name="TextBox 381">
            <a:extLst>
              <a:ext uri="{FF2B5EF4-FFF2-40B4-BE49-F238E27FC236}">
                <a16:creationId xmlns:a16="http://schemas.microsoft.com/office/drawing/2014/main" id="{F8890F54-798A-0ADD-B729-2E3851A760F2}"/>
              </a:ext>
            </a:extLst>
          </p:cNvPr>
          <p:cNvSpPr txBox="1"/>
          <p:nvPr/>
        </p:nvSpPr>
        <p:spPr>
          <a:xfrm>
            <a:off x="4865209" y="1048602"/>
            <a:ext cx="1795030" cy="300082"/>
          </a:xfrm>
          <a:prstGeom prst="rect">
            <a:avLst/>
          </a:prstGeom>
          <a:noFill/>
        </p:spPr>
        <p:txBody>
          <a:bodyPr wrap="square">
            <a:spAutoFit/>
          </a:bodyPr>
          <a:lstStyle/>
          <a:p>
            <a:pPr defTabSz="685800" fontAlgn="auto">
              <a:spcBef>
                <a:spcPts val="0"/>
              </a:spcBef>
              <a:spcAft>
                <a:spcPts val="0"/>
              </a:spcAft>
              <a:defRPr/>
            </a:pPr>
            <a:r>
              <a:rPr lang="en-US" sz="1350" b="1">
                <a:solidFill>
                  <a:srgbClr val="6603C7"/>
                </a:solidFill>
                <a:latin typeface="Graphik" panose="020B0503030202060203" pitchFamily="34" charset="0"/>
                <a:cs typeface="+mn-cs"/>
              </a:rPr>
              <a:t>Our </a:t>
            </a:r>
            <a:r>
              <a:rPr lang="de-DE" sz="1350" b="1">
                <a:solidFill>
                  <a:srgbClr val="6603C7"/>
                </a:solidFill>
                <a:latin typeface="Graphik" panose="020B0503030202060203" pitchFamily="34" charset="0"/>
                <a:cs typeface="+mn-cs"/>
              </a:rPr>
              <a:t>accelerators</a:t>
            </a:r>
            <a:endParaRPr lang="en-US" sz="1350" b="1">
              <a:solidFill>
                <a:srgbClr val="6603C7"/>
              </a:solidFill>
              <a:latin typeface="Graphik" panose="020B0503030202060203" pitchFamily="34" charset="0"/>
              <a:cs typeface="+mn-cs"/>
            </a:endParaRPr>
          </a:p>
        </p:txBody>
      </p:sp>
      <p:sp>
        <p:nvSpPr>
          <p:cNvPr id="391" name="TextBox 390">
            <a:extLst>
              <a:ext uri="{FF2B5EF4-FFF2-40B4-BE49-F238E27FC236}">
                <a16:creationId xmlns:a16="http://schemas.microsoft.com/office/drawing/2014/main" id="{4B740AC9-FD6D-4BEA-D7D8-F2500D26C3FE}"/>
              </a:ext>
            </a:extLst>
          </p:cNvPr>
          <p:cNvSpPr txBox="1"/>
          <p:nvPr/>
        </p:nvSpPr>
        <p:spPr>
          <a:xfrm>
            <a:off x="5383726" y="3498303"/>
            <a:ext cx="1269956" cy="236113"/>
          </a:xfrm>
          <a:prstGeom prst="rect">
            <a:avLst/>
          </a:prstGeom>
          <a:ln>
            <a:noFill/>
          </a:ln>
        </p:spPr>
        <p:txBody>
          <a:bodyPr vert="horz" wrap="square" lIns="0" tIns="0" rIns="0" bIns="0" rtlCol="0" anchor="ctr">
            <a:noAutofit/>
          </a:bodyPr>
          <a:lstStyle/>
          <a:p>
            <a:pPr defTabSz="685800" fontAlgn="auto">
              <a:spcBef>
                <a:spcPts val="0"/>
              </a:spcBef>
              <a:spcAft>
                <a:spcPts val="675"/>
              </a:spcAft>
              <a:tabLst>
                <a:tab pos="940594" algn="l"/>
              </a:tabLst>
              <a:defRPr/>
            </a:pPr>
            <a:r>
              <a:rPr lang="de-CH" sz="900" b="1">
                <a:solidFill>
                  <a:srgbClr val="000000"/>
                </a:solidFill>
                <a:latin typeface="Graphik" panose="020B0503030202060203" pitchFamily="34" charset="0"/>
                <a:cs typeface="+mn-cs"/>
              </a:rPr>
              <a:t>Regular Platform Vendor Scans</a:t>
            </a:r>
          </a:p>
        </p:txBody>
      </p:sp>
      <p:sp>
        <p:nvSpPr>
          <p:cNvPr id="392" name="TextBox 391">
            <a:extLst>
              <a:ext uri="{FF2B5EF4-FFF2-40B4-BE49-F238E27FC236}">
                <a16:creationId xmlns:a16="http://schemas.microsoft.com/office/drawing/2014/main" id="{DF9D0583-CB02-905D-BFC6-FFCFE6137B76}"/>
              </a:ext>
            </a:extLst>
          </p:cNvPr>
          <p:cNvSpPr txBox="1"/>
          <p:nvPr/>
        </p:nvSpPr>
        <p:spPr>
          <a:xfrm>
            <a:off x="5383727" y="3952977"/>
            <a:ext cx="1279092" cy="236113"/>
          </a:xfrm>
          <a:prstGeom prst="rect">
            <a:avLst/>
          </a:prstGeom>
          <a:ln>
            <a:noFill/>
          </a:ln>
        </p:spPr>
        <p:txBody>
          <a:bodyPr vert="horz" wrap="square" lIns="0" tIns="0" rIns="0" bIns="0" rtlCol="0" anchor="ctr">
            <a:noAutofit/>
          </a:bodyPr>
          <a:lstStyle/>
          <a:p>
            <a:pPr defTabSz="685800" fontAlgn="auto">
              <a:spcBef>
                <a:spcPts val="0"/>
              </a:spcBef>
              <a:spcAft>
                <a:spcPts val="675"/>
              </a:spcAft>
              <a:tabLst>
                <a:tab pos="940594" algn="l"/>
              </a:tabLst>
              <a:defRPr/>
            </a:pPr>
            <a:r>
              <a:rPr lang="de-CH" sz="900" b="1">
                <a:solidFill>
                  <a:srgbClr val="000000"/>
                </a:solidFill>
                <a:latin typeface="Graphik" panose="020B0503030202060203" pitchFamily="34" charset="0"/>
                <a:cs typeface="+mn-cs"/>
              </a:rPr>
              <a:t>Accenture Insights Platform</a:t>
            </a:r>
          </a:p>
        </p:txBody>
      </p:sp>
      <p:sp>
        <p:nvSpPr>
          <p:cNvPr id="106" name="TextBox 105">
            <a:extLst>
              <a:ext uri="{FF2B5EF4-FFF2-40B4-BE49-F238E27FC236}">
                <a16:creationId xmlns:a16="http://schemas.microsoft.com/office/drawing/2014/main" id="{0BDBE074-D0C2-E1D5-269B-CDC3608C28A8}"/>
              </a:ext>
            </a:extLst>
          </p:cNvPr>
          <p:cNvSpPr txBox="1"/>
          <p:nvPr/>
        </p:nvSpPr>
        <p:spPr>
          <a:xfrm>
            <a:off x="3072270" y="1048602"/>
            <a:ext cx="1795030" cy="300082"/>
          </a:xfrm>
          <a:prstGeom prst="rect">
            <a:avLst/>
          </a:prstGeom>
          <a:noFill/>
        </p:spPr>
        <p:txBody>
          <a:bodyPr wrap="square">
            <a:spAutoFit/>
          </a:bodyPr>
          <a:lstStyle/>
          <a:p>
            <a:pPr defTabSz="685800" fontAlgn="auto">
              <a:spcBef>
                <a:spcPts val="0"/>
              </a:spcBef>
              <a:spcAft>
                <a:spcPts val="0"/>
              </a:spcAft>
              <a:defRPr/>
            </a:pPr>
            <a:r>
              <a:rPr lang="en-US" sz="1350" b="1">
                <a:solidFill>
                  <a:srgbClr val="6603C7"/>
                </a:solidFill>
                <a:latin typeface="Graphik" panose="020B0503030202060203" pitchFamily="34" charset="0"/>
                <a:cs typeface="+mn-cs"/>
              </a:rPr>
              <a:t>Our capabilities</a:t>
            </a:r>
          </a:p>
        </p:txBody>
      </p:sp>
      <p:grpSp>
        <p:nvGrpSpPr>
          <p:cNvPr id="138" name="Group 121">
            <a:extLst>
              <a:ext uri="{FF2B5EF4-FFF2-40B4-BE49-F238E27FC236}">
                <a16:creationId xmlns:a16="http://schemas.microsoft.com/office/drawing/2014/main" id="{3299FC68-6AED-E346-D7E8-03855E386118}"/>
              </a:ext>
            </a:extLst>
          </p:cNvPr>
          <p:cNvGrpSpPr>
            <a:grpSpLocks noChangeAspect="1"/>
          </p:cNvGrpSpPr>
          <p:nvPr/>
        </p:nvGrpSpPr>
        <p:grpSpPr bwMode="auto">
          <a:xfrm>
            <a:off x="3219291" y="1497164"/>
            <a:ext cx="257389" cy="287947"/>
            <a:chOff x="552" y="3156"/>
            <a:chExt cx="378" cy="447"/>
          </a:xfrm>
          <a:solidFill>
            <a:schemeClr val="accent2"/>
          </a:solidFill>
        </p:grpSpPr>
        <p:sp>
          <p:nvSpPr>
            <p:cNvPr id="139" name="Freeform 122">
              <a:extLst>
                <a:ext uri="{FF2B5EF4-FFF2-40B4-BE49-F238E27FC236}">
                  <a16:creationId xmlns:a16="http://schemas.microsoft.com/office/drawing/2014/main" id="{E172ACE3-D60D-2B73-4A1A-E66CF82AD6B5}"/>
                </a:ext>
              </a:extLst>
            </p:cNvPr>
            <p:cNvSpPr>
              <a:spLocks/>
            </p:cNvSpPr>
            <p:nvPr/>
          </p:nvSpPr>
          <p:spPr bwMode="auto">
            <a:xfrm>
              <a:off x="708" y="3491"/>
              <a:ext cx="222" cy="112"/>
            </a:xfrm>
            <a:custGeom>
              <a:avLst/>
              <a:gdLst>
                <a:gd name="T0" fmla="*/ 108 w 145"/>
                <a:gd name="T1" fmla="*/ 0 h 75"/>
                <a:gd name="T2" fmla="*/ 68 w 145"/>
                <a:gd name="T3" fmla="*/ 35 h 75"/>
                <a:gd name="T4" fmla="*/ 37 w 145"/>
                <a:gd name="T5" fmla="*/ 66 h 75"/>
                <a:gd name="T6" fmla="*/ 9 w 145"/>
                <a:gd name="T7" fmla="*/ 38 h 75"/>
                <a:gd name="T8" fmla="*/ 37 w 145"/>
                <a:gd name="T9" fmla="*/ 10 h 75"/>
                <a:gd name="T10" fmla="*/ 52 w 145"/>
                <a:gd name="T11" fmla="*/ 17 h 75"/>
                <a:gd name="T12" fmla="*/ 54 w 145"/>
                <a:gd name="T13" fmla="*/ 19 h 75"/>
                <a:gd name="T14" fmla="*/ 44 w 145"/>
                <a:gd name="T15" fmla="*/ 17 h 75"/>
                <a:gd name="T16" fmla="*/ 38 w 145"/>
                <a:gd name="T17" fmla="*/ 21 h 75"/>
                <a:gd name="T18" fmla="*/ 39 w 145"/>
                <a:gd name="T19" fmla="*/ 25 h 75"/>
                <a:gd name="T20" fmla="*/ 42 w 145"/>
                <a:gd name="T21" fmla="*/ 27 h 75"/>
                <a:gd name="T22" fmla="*/ 63 w 145"/>
                <a:gd name="T23" fmla="*/ 31 h 75"/>
                <a:gd name="T24" fmla="*/ 64 w 145"/>
                <a:gd name="T25" fmla="*/ 31 h 75"/>
                <a:gd name="T26" fmla="*/ 64 w 145"/>
                <a:gd name="T27" fmla="*/ 31 h 75"/>
                <a:gd name="T28" fmla="*/ 65 w 145"/>
                <a:gd name="T29" fmla="*/ 30 h 75"/>
                <a:gd name="T30" fmla="*/ 65 w 145"/>
                <a:gd name="T31" fmla="*/ 30 h 75"/>
                <a:gd name="T32" fmla="*/ 66 w 145"/>
                <a:gd name="T33" fmla="*/ 30 h 75"/>
                <a:gd name="T34" fmla="*/ 66 w 145"/>
                <a:gd name="T35" fmla="*/ 30 h 75"/>
                <a:gd name="T36" fmla="*/ 67 w 145"/>
                <a:gd name="T37" fmla="*/ 29 h 75"/>
                <a:gd name="T38" fmla="*/ 68 w 145"/>
                <a:gd name="T39" fmla="*/ 28 h 75"/>
                <a:gd name="T40" fmla="*/ 68 w 145"/>
                <a:gd name="T41" fmla="*/ 28 h 75"/>
                <a:gd name="T42" fmla="*/ 68 w 145"/>
                <a:gd name="T43" fmla="*/ 28 h 75"/>
                <a:gd name="T44" fmla="*/ 68 w 145"/>
                <a:gd name="T45" fmla="*/ 27 h 75"/>
                <a:gd name="T46" fmla="*/ 72 w 145"/>
                <a:gd name="T47" fmla="*/ 6 h 75"/>
                <a:gd name="T48" fmla="*/ 71 w 145"/>
                <a:gd name="T49" fmla="*/ 3 h 75"/>
                <a:gd name="T50" fmla="*/ 68 w 145"/>
                <a:gd name="T51" fmla="*/ 1 h 75"/>
                <a:gd name="T52" fmla="*/ 65 w 145"/>
                <a:gd name="T53" fmla="*/ 1 h 75"/>
                <a:gd name="T54" fmla="*/ 63 w 145"/>
                <a:gd name="T55" fmla="*/ 4 h 75"/>
                <a:gd name="T56" fmla="*/ 61 w 145"/>
                <a:gd name="T57" fmla="*/ 13 h 75"/>
                <a:gd name="T58" fmla="*/ 60 w 145"/>
                <a:gd name="T59" fmla="*/ 12 h 75"/>
                <a:gd name="T60" fmla="*/ 37 w 145"/>
                <a:gd name="T61" fmla="*/ 0 h 75"/>
                <a:gd name="T62" fmla="*/ 0 w 145"/>
                <a:gd name="T63" fmla="*/ 38 h 75"/>
                <a:gd name="T64" fmla="*/ 37 w 145"/>
                <a:gd name="T65" fmla="*/ 75 h 75"/>
                <a:gd name="T66" fmla="*/ 76 w 145"/>
                <a:gd name="T67" fmla="*/ 40 h 75"/>
                <a:gd name="T68" fmla="*/ 108 w 145"/>
                <a:gd name="T69" fmla="*/ 10 h 75"/>
                <a:gd name="T70" fmla="*/ 136 w 145"/>
                <a:gd name="T71" fmla="*/ 38 h 75"/>
                <a:gd name="T72" fmla="*/ 108 w 145"/>
                <a:gd name="T73" fmla="*/ 66 h 75"/>
                <a:gd name="T74" fmla="*/ 85 w 145"/>
                <a:gd name="T75" fmla="*/ 53 h 75"/>
                <a:gd name="T76" fmla="*/ 82 w 145"/>
                <a:gd name="T77" fmla="*/ 51 h 75"/>
                <a:gd name="T78" fmla="*/ 81 w 145"/>
                <a:gd name="T79" fmla="*/ 51 h 75"/>
                <a:gd name="T80" fmla="*/ 79 w 145"/>
                <a:gd name="T81" fmla="*/ 51 h 75"/>
                <a:gd name="T82" fmla="*/ 77 w 145"/>
                <a:gd name="T83" fmla="*/ 58 h 75"/>
                <a:gd name="T84" fmla="*/ 108 w 145"/>
                <a:gd name="T85" fmla="*/ 75 h 75"/>
                <a:gd name="T86" fmla="*/ 145 w 145"/>
                <a:gd name="T87" fmla="*/ 38 h 75"/>
                <a:gd name="T88" fmla="*/ 108 w 145"/>
                <a:gd name="T8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5" h="75">
                  <a:moveTo>
                    <a:pt x="108" y="0"/>
                  </a:moveTo>
                  <a:cubicBezTo>
                    <a:pt x="91" y="0"/>
                    <a:pt x="79" y="18"/>
                    <a:pt x="68" y="35"/>
                  </a:cubicBezTo>
                  <a:cubicBezTo>
                    <a:pt x="59" y="50"/>
                    <a:pt x="49" y="66"/>
                    <a:pt x="37" y="66"/>
                  </a:cubicBezTo>
                  <a:cubicBezTo>
                    <a:pt x="22" y="66"/>
                    <a:pt x="9" y="53"/>
                    <a:pt x="9" y="38"/>
                  </a:cubicBezTo>
                  <a:cubicBezTo>
                    <a:pt x="9" y="22"/>
                    <a:pt x="22" y="10"/>
                    <a:pt x="37" y="10"/>
                  </a:cubicBezTo>
                  <a:cubicBezTo>
                    <a:pt x="42" y="10"/>
                    <a:pt x="48" y="12"/>
                    <a:pt x="52" y="17"/>
                  </a:cubicBezTo>
                  <a:cubicBezTo>
                    <a:pt x="54" y="19"/>
                    <a:pt x="54" y="19"/>
                    <a:pt x="54" y="19"/>
                  </a:cubicBezTo>
                  <a:cubicBezTo>
                    <a:pt x="44" y="17"/>
                    <a:pt x="44" y="17"/>
                    <a:pt x="44" y="17"/>
                  </a:cubicBezTo>
                  <a:cubicBezTo>
                    <a:pt x="41" y="17"/>
                    <a:pt x="39" y="19"/>
                    <a:pt x="38" y="21"/>
                  </a:cubicBezTo>
                  <a:cubicBezTo>
                    <a:pt x="38" y="22"/>
                    <a:pt x="38" y="24"/>
                    <a:pt x="39" y="25"/>
                  </a:cubicBezTo>
                  <a:cubicBezTo>
                    <a:pt x="40" y="26"/>
                    <a:pt x="41" y="26"/>
                    <a:pt x="42" y="27"/>
                  </a:cubicBezTo>
                  <a:cubicBezTo>
                    <a:pt x="63" y="31"/>
                    <a:pt x="63" y="31"/>
                    <a:pt x="63" y="31"/>
                  </a:cubicBezTo>
                  <a:cubicBezTo>
                    <a:pt x="63" y="31"/>
                    <a:pt x="63" y="31"/>
                    <a:pt x="64" y="31"/>
                  </a:cubicBezTo>
                  <a:cubicBezTo>
                    <a:pt x="64" y="31"/>
                    <a:pt x="64" y="31"/>
                    <a:pt x="64" y="31"/>
                  </a:cubicBezTo>
                  <a:cubicBezTo>
                    <a:pt x="64" y="31"/>
                    <a:pt x="64" y="31"/>
                    <a:pt x="65" y="30"/>
                  </a:cubicBezTo>
                  <a:cubicBezTo>
                    <a:pt x="65" y="30"/>
                    <a:pt x="65" y="30"/>
                    <a:pt x="65" y="30"/>
                  </a:cubicBezTo>
                  <a:cubicBezTo>
                    <a:pt x="66" y="30"/>
                    <a:pt x="66" y="30"/>
                    <a:pt x="66" y="30"/>
                  </a:cubicBezTo>
                  <a:cubicBezTo>
                    <a:pt x="66" y="30"/>
                    <a:pt x="66" y="30"/>
                    <a:pt x="66" y="30"/>
                  </a:cubicBezTo>
                  <a:cubicBezTo>
                    <a:pt x="66" y="30"/>
                    <a:pt x="67" y="29"/>
                    <a:pt x="67" y="29"/>
                  </a:cubicBezTo>
                  <a:cubicBezTo>
                    <a:pt x="67" y="29"/>
                    <a:pt x="67" y="29"/>
                    <a:pt x="68" y="28"/>
                  </a:cubicBezTo>
                  <a:cubicBezTo>
                    <a:pt x="68" y="28"/>
                    <a:pt x="68" y="28"/>
                    <a:pt x="68" y="28"/>
                  </a:cubicBezTo>
                  <a:cubicBezTo>
                    <a:pt x="68" y="28"/>
                    <a:pt x="68" y="28"/>
                    <a:pt x="68" y="28"/>
                  </a:cubicBezTo>
                  <a:cubicBezTo>
                    <a:pt x="68" y="27"/>
                    <a:pt x="68" y="27"/>
                    <a:pt x="68" y="27"/>
                  </a:cubicBezTo>
                  <a:cubicBezTo>
                    <a:pt x="72" y="6"/>
                    <a:pt x="72" y="6"/>
                    <a:pt x="72" y="6"/>
                  </a:cubicBezTo>
                  <a:cubicBezTo>
                    <a:pt x="72" y="5"/>
                    <a:pt x="72" y="4"/>
                    <a:pt x="71" y="3"/>
                  </a:cubicBezTo>
                  <a:cubicBezTo>
                    <a:pt x="71" y="2"/>
                    <a:pt x="70" y="1"/>
                    <a:pt x="68" y="1"/>
                  </a:cubicBezTo>
                  <a:cubicBezTo>
                    <a:pt x="67" y="0"/>
                    <a:pt x="66" y="1"/>
                    <a:pt x="65" y="1"/>
                  </a:cubicBezTo>
                  <a:cubicBezTo>
                    <a:pt x="64" y="2"/>
                    <a:pt x="63" y="3"/>
                    <a:pt x="63" y="4"/>
                  </a:cubicBezTo>
                  <a:cubicBezTo>
                    <a:pt x="61" y="13"/>
                    <a:pt x="61" y="13"/>
                    <a:pt x="61" y="13"/>
                  </a:cubicBezTo>
                  <a:cubicBezTo>
                    <a:pt x="60" y="12"/>
                    <a:pt x="60" y="12"/>
                    <a:pt x="60" y="12"/>
                  </a:cubicBezTo>
                  <a:cubicBezTo>
                    <a:pt x="53" y="4"/>
                    <a:pt x="46" y="0"/>
                    <a:pt x="37" y="0"/>
                  </a:cubicBezTo>
                  <a:cubicBezTo>
                    <a:pt x="16" y="0"/>
                    <a:pt x="0" y="17"/>
                    <a:pt x="0" y="38"/>
                  </a:cubicBezTo>
                  <a:cubicBezTo>
                    <a:pt x="0" y="58"/>
                    <a:pt x="16" y="75"/>
                    <a:pt x="37" y="75"/>
                  </a:cubicBezTo>
                  <a:cubicBezTo>
                    <a:pt x="54" y="75"/>
                    <a:pt x="66" y="57"/>
                    <a:pt x="76" y="40"/>
                  </a:cubicBezTo>
                  <a:cubicBezTo>
                    <a:pt x="86" y="25"/>
                    <a:pt x="96" y="10"/>
                    <a:pt x="108" y="10"/>
                  </a:cubicBezTo>
                  <a:cubicBezTo>
                    <a:pt x="123" y="10"/>
                    <a:pt x="136" y="22"/>
                    <a:pt x="136" y="38"/>
                  </a:cubicBezTo>
                  <a:cubicBezTo>
                    <a:pt x="136" y="53"/>
                    <a:pt x="123" y="66"/>
                    <a:pt x="108" y="66"/>
                  </a:cubicBezTo>
                  <a:cubicBezTo>
                    <a:pt x="93" y="66"/>
                    <a:pt x="86" y="54"/>
                    <a:pt x="85" y="53"/>
                  </a:cubicBezTo>
                  <a:cubicBezTo>
                    <a:pt x="85" y="52"/>
                    <a:pt x="84" y="51"/>
                    <a:pt x="82" y="51"/>
                  </a:cubicBezTo>
                  <a:cubicBezTo>
                    <a:pt x="82" y="51"/>
                    <a:pt x="82" y="51"/>
                    <a:pt x="81" y="51"/>
                  </a:cubicBezTo>
                  <a:cubicBezTo>
                    <a:pt x="80" y="51"/>
                    <a:pt x="80" y="51"/>
                    <a:pt x="79" y="51"/>
                  </a:cubicBezTo>
                  <a:cubicBezTo>
                    <a:pt x="77" y="53"/>
                    <a:pt x="76" y="56"/>
                    <a:pt x="77" y="58"/>
                  </a:cubicBezTo>
                  <a:cubicBezTo>
                    <a:pt x="78" y="59"/>
                    <a:pt x="88" y="75"/>
                    <a:pt x="108" y="75"/>
                  </a:cubicBezTo>
                  <a:cubicBezTo>
                    <a:pt x="129" y="75"/>
                    <a:pt x="145" y="58"/>
                    <a:pt x="145" y="38"/>
                  </a:cubicBezTo>
                  <a:cubicBezTo>
                    <a:pt x="145" y="17"/>
                    <a:pt x="129" y="0"/>
                    <a:pt x="108"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140" name="Freeform 123">
              <a:extLst>
                <a:ext uri="{FF2B5EF4-FFF2-40B4-BE49-F238E27FC236}">
                  <a16:creationId xmlns:a16="http://schemas.microsoft.com/office/drawing/2014/main" id="{13E44CFA-207C-624D-E113-57BD82982FD1}"/>
                </a:ext>
              </a:extLst>
            </p:cNvPr>
            <p:cNvSpPr>
              <a:spLocks noEditPoints="1"/>
            </p:cNvSpPr>
            <p:nvPr/>
          </p:nvSpPr>
          <p:spPr bwMode="auto">
            <a:xfrm>
              <a:off x="552" y="3156"/>
              <a:ext cx="309" cy="420"/>
            </a:xfrm>
            <a:custGeom>
              <a:avLst/>
              <a:gdLst>
                <a:gd name="T0" fmla="*/ 16 w 202"/>
                <a:gd name="T1" fmla="*/ 219 h 281"/>
                <a:gd name="T2" fmla="*/ 23 w 202"/>
                <a:gd name="T3" fmla="*/ 209 h 281"/>
                <a:gd name="T4" fmla="*/ 24 w 202"/>
                <a:gd name="T5" fmla="*/ 208 h 281"/>
                <a:gd name="T6" fmla="*/ 158 w 202"/>
                <a:gd name="T7" fmla="*/ 203 h 281"/>
                <a:gd name="T8" fmla="*/ 163 w 202"/>
                <a:gd name="T9" fmla="*/ 209 h 281"/>
                <a:gd name="T10" fmla="*/ 171 w 202"/>
                <a:gd name="T11" fmla="*/ 209 h 281"/>
                <a:gd name="T12" fmla="*/ 171 w 202"/>
                <a:gd name="T13" fmla="*/ 202 h 281"/>
                <a:gd name="T14" fmla="*/ 165 w 202"/>
                <a:gd name="T15" fmla="*/ 195 h 281"/>
                <a:gd name="T16" fmla="*/ 125 w 202"/>
                <a:gd name="T17" fmla="*/ 112 h 281"/>
                <a:gd name="T18" fmla="*/ 126 w 202"/>
                <a:gd name="T19" fmla="*/ 111 h 281"/>
                <a:gd name="T20" fmla="*/ 189 w 202"/>
                <a:gd name="T21" fmla="*/ 121 h 281"/>
                <a:gd name="T22" fmla="*/ 199 w 202"/>
                <a:gd name="T23" fmla="*/ 85 h 281"/>
                <a:gd name="T24" fmla="*/ 175 w 202"/>
                <a:gd name="T25" fmla="*/ 69 h 281"/>
                <a:gd name="T26" fmla="*/ 161 w 202"/>
                <a:gd name="T27" fmla="*/ 43 h 281"/>
                <a:gd name="T28" fmla="*/ 122 w 202"/>
                <a:gd name="T29" fmla="*/ 6 h 281"/>
                <a:gd name="T30" fmla="*/ 116 w 202"/>
                <a:gd name="T31" fmla="*/ 0 h 281"/>
                <a:gd name="T32" fmla="*/ 36 w 202"/>
                <a:gd name="T33" fmla="*/ 64 h 281"/>
                <a:gd name="T34" fmla="*/ 14 w 202"/>
                <a:gd name="T35" fmla="*/ 147 h 281"/>
                <a:gd name="T36" fmla="*/ 21 w 202"/>
                <a:gd name="T37" fmla="*/ 196 h 281"/>
                <a:gd name="T38" fmla="*/ 0 w 202"/>
                <a:gd name="T39" fmla="*/ 239 h 281"/>
                <a:gd name="T40" fmla="*/ 5 w 202"/>
                <a:gd name="T41" fmla="*/ 281 h 281"/>
                <a:gd name="T42" fmla="*/ 85 w 202"/>
                <a:gd name="T43" fmla="*/ 275 h 281"/>
                <a:gd name="T44" fmla="*/ 10 w 202"/>
                <a:gd name="T45" fmla="*/ 270 h 281"/>
                <a:gd name="T46" fmla="*/ 12 w 202"/>
                <a:gd name="T47" fmla="*/ 230 h 281"/>
                <a:gd name="T48" fmla="*/ 88 w 202"/>
                <a:gd name="T49" fmla="*/ 230 h 281"/>
                <a:gd name="T50" fmla="*/ 88 w 202"/>
                <a:gd name="T51" fmla="*/ 219 h 281"/>
                <a:gd name="T52" fmla="*/ 42 w 202"/>
                <a:gd name="T53" fmla="*/ 75 h 281"/>
                <a:gd name="T54" fmla="*/ 109 w 202"/>
                <a:gd name="T55" fmla="*/ 16 h 281"/>
                <a:gd name="T56" fmla="*/ 110 w 202"/>
                <a:gd name="T57" fmla="*/ 33 h 281"/>
                <a:gd name="T58" fmla="*/ 155 w 202"/>
                <a:gd name="T59" fmla="*/ 53 h 281"/>
                <a:gd name="T60" fmla="*/ 168 w 202"/>
                <a:gd name="T61" fmla="*/ 78 h 281"/>
                <a:gd name="T62" fmla="*/ 190 w 202"/>
                <a:gd name="T63" fmla="*/ 92 h 281"/>
                <a:gd name="T64" fmla="*/ 180 w 202"/>
                <a:gd name="T65" fmla="*/ 113 h 281"/>
                <a:gd name="T66" fmla="*/ 107 w 202"/>
                <a:gd name="T67" fmla="*/ 94 h 281"/>
                <a:gd name="T68" fmla="*/ 153 w 202"/>
                <a:gd name="T69" fmla="*/ 192 h 281"/>
                <a:gd name="T70" fmla="*/ 31 w 202"/>
                <a:gd name="T71" fmla="*/ 192 h 281"/>
                <a:gd name="T72" fmla="*/ 25 w 202"/>
                <a:gd name="T73" fmla="*/ 14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2" h="281">
                  <a:moveTo>
                    <a:pt x="88" y="219"/>
                  </a:moveTo>
                  <a:cubicBezTo>
                    <a:pt x="16" y="219"/>
                    <a:pt x="16" y="219"/>
                    <a:pt x="16" y="219"/>
                  </a:cubicBezTo>
                  <a:cubicBezTo>
                    <a:pt x="17" y="218"/>
                    <a:pt x="17" y="218"/>
                    <a:pt x="17" y="218"/>
                  </a:cubicBezTo>
                  <a:cubicBezTo>
                    <a:pt x="19" y="215"/>
                    <a:pt x="21" y="212"/>
                    <a:pt x="23" y="209"/>
                  </a:cubicBezTo>
                  <a:cubicBezTo>
                    <a:pt x="23" y="209"/>
                    <a:pt x="23" y="209"/>
                    <a:pt x="23" y="209"/>
                  </a:cubicBezTo>
                  <a:cubicBezTo>
                    <a:pt x="24" y="209"/>
                    <a:pt x="24" y="209"/>
                    <a:pt x="24" y="208"/>
                  </a:cubicBezTo>
                  <a:cubicBezTo>
                    <a:pt x="29" y="203"/>
                    <a:pt x="29" y="203"/>
                    <a:pt x="29" y="203"/>
                  </a:cubicBezTo>
                  <a:cubicBezTo>
                    <a:pt x="158" y="203"/>
                    <a:pt x="158" y="203"/>
                    <a:pt x="158" y="203"/>
                  </a:cubicBezTo>
                  <a:cubicBezTo>
                    <a:pt x="158" y="203"/>
                    <a:pt x="158" y="203"/>
                    <a:pt x="158" y="203"/>
                  </a:cubicBezTo>
                  <a:cubicBezTo>
                    <a:pt x="160" y="205"/>
                    <a:pt x="161" y="207"/>
                    <a:pt x="163" y="209"/>
                  </a:cubicBezTo>
                  <a:cubicBezTo>
                    <a:pt x="164" y="210"/>
                    <a:pt x="165" y="211"/>
                    <a:pt x="167" y="211"/>
                  </a:cubicBezTo>
                  <a:cubicBezTo>
                    <a:pt x="168" y="211"/>
                    <a:pt x="170" y="210"/>
                    <a:pt x="171" y="209"/>
                  </a:cubicBezTo>
                  <a:cubicBezTo>
                    <a:pt x="172" y="209"/>
                    <a:pt x="172" y="207"/>
                    <a:pt x="172" y="206"/>
                  </a:cubicBezTo>
                  <a:cubicBezTo>
                    <a:pt x="173" y="204"/>
                    <a:pt x="172" y="203"/>
                    <a:pt x="171" y="202"/>
                  </a:cubicBezTo>
                  <a:cubicBezTo>
                    <a:pt x="169" y="199"/>
                    <a:pt x="166" y="197"/>
                    <a:pt x="165" y="195"/>
                  </a:cubicBezTo>
                  <a:cubicBezTo>
                    <a:pt x="165" y="195"/>
                    <a:pt x="165" y="195"/>
                    <a:pt x="165" y="195"/>
                  </a:cubicBezTo>
                  <a:cubicBezTo>
                    <a:pt x="165" y="195"/>
                    <a:pt x="165" y="195"/>
                    <a:pt x="165" y="195"/>
                  </a:cubicBezTo>
                  <a:cubicBezTo>
                    <a:pt x="160" y="171"/>
                    <a:pt x="138" y="132"/>
                    <a:pt x="125" y="112"/>
                  </a:cubicBezTo>
                  <a:cubicBezTo>
                    <a:pt x="125" y="110"/>
                    <a:pt x="125" y="110"/>
                    <a:pt x="125" y="110"/>
                  </a:cubicBezTo>
                  <a:cubicBezTo>
                    <a:pt x="126" y="111"/>
                    <a:pt x="126" y="111"/>
                    <a:pt x="126" y="111"/>
                  </a:cubicBezTo>
                  <a:cubicBezTo>
                    <a:pt x="139" y="115"/>
                    <a:pt x="158" y="119"/>
                    <a:pt x="183" y="124"/>
                  </a:cubicBezTo>
                  <a:cubicBezTo>
                    <a:pt x="185" y="125"/>
                    <a:pt x="188" y="123"/>
                    <a:pt x="189" y="121"/>
                  </a:cubicBezTo>
                  <a:cubicBezTo>
                    <a:pt x="201" y="92"/>
                    <a:pt x="201" y="92"/>
                    <a:pt x="201" y="92"/>
                  </a:cubicBezTo>
                  <a:cubicBezTo>
                    <a:pt x="202" y="90"/>
                    <a:pt x="202" y="87"/>
                    <a:pt x="199" y="85"/>
                  </a:cubicBezTo>
                  <a:cubicBezTo>
                    <a:pt x="175" y="69"/>
                    <a:pt x="175" y="69"/>
                    <a:pt x="175" y="69"/>
                  </a:cubicBezTo>
                  <a:cubicBezTo>
                    <a:pt x="175" y="69"/>
                    <a:pt x="175" y="69"/>
                    <a:pt x="175" y="69"/>
                  </a:cubicBezTo>
                  <a:cubicBezTo>
                    <a:pt x="164" y="46"/>
                    <a:pt x="164" y="46"/>
                    <a:pt x="164" y="46"/>
                  </a:cubicBezTo>
                  <a:cubicBezTo>
                    <a:pt x="164" y="45"/>
                    <a:pt x="162" y="44"/>
                    <a:pt x="161" y="43"/>
                  </a:cubicBezTo>
                  <a:cubicBezTo>
                    <a:pt x="121" y="29"/>
                    <a:pt x="121" y="29"/>
                    <a:pt x="121" y="29"/>
                  </a:cubicBezTo>
                  <a:cubicBezTo>
                    <a:pt x="122" y="6"/>
                    <a:pt x="122" y="6"/>
                    <a:pt x="122" y="6"/>
                  </a:cubicBezTo>
                  <a:cubicBezTo>
                    <a:pt x="122" y="4"/>
                    <a:pt x="121" y="2"/>
                    <a:pt x="119" y="1"/>
                  </a:cubicBezTo>
                  <a:cubicBezTo>
                    <a:pt x="118" y="0"/>
                    <a:pt x="117" y="0"/>
                    <a:pt x="116" y="0"/>
                  </a:cubicBezTo>
                  <a:cubicBezTo>
                    <a:pt x="115" y="0"/>
                    <a:pt x="114" y="0"/>
                    <a:pt x="113" y="1"/>
                  </a:cubicBezTo>
                  <a:cubicBezTo>
                    <a:pt x="107" y="5"/>
                    <a:pt x="47" y="42"/>
                    <a:pt x="36" y="64"/>
                  </a:cubicBezTo>
                  <a:cubicBezTo>
                    <a:pt x="35" y="66"/>
                    <a:pt x="34" y="68"/>
                    <a:pt x="33" y="70"/>
                  </a:cubicBezTo>
                  <a:cubicBezTo>
                    <a:pt x="23" y="90"/>
                    <a:pt x="11" y="112"/>
                    <a:pt x="14" y="147"/>
                  </a:cubicBezTo>
                  <a:cubicBezTo>
                    <a:pt x="16" y="173"/>
                    <a:pt x="19" y="189"/>
                    <a:pt x="21" y="196"/>
                  </a:cubicBezTo>
                  <a:cubicBezTo>
                    <a:pt x="21" y="196"/>
                    <a:pt x="21" y="196"/>
                    <a:pt x="21" y="196"/>
                  </a:cubicBezTo>
                  <a:cubicBezTo>
                    <a:pt x="20" y="196"/>
                    <a:pt x="20" y="196"/>
                    <a:pt x="20" y="196"/>
                  </a:cubicBezTo>
                  <a:cubicBezTo>
                    <a:pt x="14" y="202"/>
                    <a:pt x="0" y="219"/>
                    <a:pt x="0" y="239"/>
                  </a:cubicBezTo>
                  <a:cubicBezTo>
                    <a:pt x="0" y="275"/>
                    <a:pt x="0" y="275"/>
                    <a:pt x="0" y="275"/>
                  </a:cubicBezTo>
                  <a:cubicBezTo>
                    <a:pt x="0" y="278"/>
                    <a:pt x="2" y="281"/>
                    <a:pt x="5" y="281"/>
                  </a:cubicBezTo>
                  <a:cubicBezTo>
                    <a:pt x="80" y="281"/>
                    <a:pt x="80" y="281"/>
                    <a:pt x="80" y="281"/>
                  </a:cubicBezTo>
                  <a:cubicBezTo>
                    <a:pt x="83" y="281"/>
                    <a:pt x="85" y="278"/>
                    <a:pt x="85" y="275"/>
                  </a:cubicBezTo>
                  <a:cubicBezTo>
                    <a:pt x="85" y="272"/>
                    <a:pt x="83" y="270"/>
                    <a:pt x="80" y="270"/>
                  </a:cubicBezTo>
                  <a:cubicBezTo>
                    <a:pt x="10" y="270"/>
                    <a:pt x="10" y="270"/>
                    <a:pt x="10" y="270"/>
                  </a:cubicBezTo>
                  <a:cubicBezTo>
                    <a:pt x="10" y="239"/>
                    <a:pt x="10" y="239"/>
                    <a:pt x="10" y="239"/>
                  </a:cubicBezTo>
                  <a:cubicBezTo>
                    <a:pt x="10" y="236"/>
                    <a:pt x="11" y="233"/>
                    <a:pt x="12" y="230"/>
                  </a:cubicBezTo>
                  <a:cubicBezTo>
                    <a:pt x="12" y="230"/>
                    <a:pt x="12" y="230"/>
                    <a:pt x="12" y="230"/>
                  </a:cubicBezTo>
                  <a:cubicBezTo>
                    <a:pt x="88" y="230"/>
                    <a:pt x="88" y="230"/>
                    <a:pt x="88" y="230"/>
                  </a:cubicBezTo>
                  <a:cubicBezTo>
                    <a:pt x="91" y="230"/>
                    <a:pt x="93" y="228"/>
                    <a:pt x="93" y="225"/>
                  </a:cubicBezTo>
                  <a:cubicBezTo>
                    <a:pt x="93" y="222"/>
                    <a:pt x="91" y="219"/>
                    <a:pt x="88" y="219"/>
                  </a:cubicBezTo>
                  <a:close/>
                  <a:moveTo>
                    <a:pt x="42" y="75"/>
                  </a:moveTo>
                  <a:cubicBezTo>
                    <a:pt x="42" y="75"/>
                    <a:pt x="42" y="75"/>
                    <a:pt x="42" y="75"/>
                  </a:cubicBezTo>
                  <a:cubicBezTo>
                    <a:pt x="43" y="73"/>
                    <a:pt x="44" y="71"/>
                    <a:pt x="45" y="69"/>
                  </a:cubicBezTo>
                  <a:cubicBezTo>
                    <a:pt x="53" y="53"/>
                    <a:pt x="96" y="25"/>
                    <a:pt x="109" y="16"/>
                  </a:cubicBezTo>
                  <a:cubicBezTo>
                    <a:pt x="110" y="16"/>
                    <a:pt x="110" y="16"/>
                    <a:pt x="110" y="16"/>
                  </a:cubicBezTo>
                  <a:cubicBezTo>
                    <a:pt x="110" y="33"/>
                    <a:pt x="110" y="33"/>
                    <a:pt x="110" y="33"/>
                  </a:cubicBezTo>
                  <a:cubicBezTo>
                    <a:pt x="110" y="35"/>
                    <a:pt x="111" y="37"/>
                    <a:pt x="113" y="38"/>
                  </a:cubicBezTo>
                  <a:cubicBezTo>
                    <a:pt x="155" y="53"/>
                    <a:pt x="155" y="53"/>
                    <a:pt x="155" y="53"/>
                  </a:cubicBezTo>
                  <a:cubicBezTo>
                    <a:pt x="166" y="75"/>
                    <a:pt x="166" y="75"/>
                    <a:pt x="166" y="75"/>
                  </a:cubicBezTo>
                  <a:cubicBezTo>
                    <a:pt x="166" y="76"/>
                    <a:pt x="167" y="77"/>
                    <a:pt x="168" y="78"/>
                  </a:cubicBezTo>
                  <a:cubicBezTo>
                    <a:pt x="190" y="92"/>
                    <a:pt x="190" y="92"/>
                    <a:pt x="190" y="92"/>
                  </a:cubicBezTo>
                  <a:cubicBezTo>
                    <a:pt x="190" y="92"/>
                    <a:pt x="190" y="92"/>
                    <a:pt x="190" y="92"/>
                  </a:cubicBezTo>
                  <a:cubicBezTo>
                    <a:pt x="181" y="113"/>
                    <a:pt x="181" y="113"/>
                    <a:pt x="181" y="113"/>
                  </a:cubicBezTo>
                  <a:cubicBezTo>
                    <a:pt x="180" y="113"/>
                    <a:pt x="180" y="113"/>
                    <a:pt x="180" y="113"/>
                  </a:cubicBezTo>
                  <a:cubicBezTo>
                    <a:pt x="152" y="107"/>
                    <a:pt x="120" y="99"/>
                    <a:pt x="115" y="95"/>
                  </a:cubicBezTo>
                  <a:cubicBezTo>
                    <a:pt x="113" y="93"/>
                    <a:pt x="110" y="92"/>
                    <a:pt x="107" y="94"/>
                  </a:cubicBezTo>
                  <a:cubicBezTo>
                    <a:pt x="105" y="95"/>
                    <a:pt x="104" y="99"/>
                    <a:pt x="106" y="101"/>
                  </a:cubicBezTo>
                  <a:cubicBezTo>
                    <a:pt x="108" y="104"/>
                    <a:pt x="144" y="159"/>
                    <a:pt x="153" y="192"/>
                  </a:cubicBezTo>
                  <a:cubicBezTo>
                    <a:pt x="153" y="192"/>
                    <a:pt x="153" y="192"/>
                    <a:pt x="153" y="192"/>
                  </a:cubicBezTo>
                  <a:cubicBezTo>
                    <a:pt x="31" y="192"/>
                    <a:pt x="31" y="192"/>
                    <a:pt x="31" y="192"/>
                  </a:cubicBezTo>
                  <a:cubicBezTo>
                    <a:pt x="31" y="192"/>
                    <a:pt x="31" y="192"/>
                    <a:pt x="31" y="192"/>
                  </a:cubicBezTo>
                  <a:cubicBezTo>
                    <a:pt x="29" y="185"/>
                    <a:pt x="27" y="170"/>
                    <a:pt x="25" y="146"/>
                  </a:cubicBezTo>
                  <a:cubicBezTo>
                    <a:pt x="22" y="114"/>
                    <a:pt x="33" y="94"/>
                    <a:pt x="42" y="7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grpSp>
      <p:grpSp>
        <p:nvGrpSpPr>
          <p:cNvPr id="156" name="Group 155">
            <a:extLst>
              <a:ext uri="{FF2B5EF4-FFF2-40B4-BE49-F238E27FC236}">
                <a16:creationId xmlns:a16="http://schemas.microsoft.com/office/drawing/2014/main" id="{CD183D07-68B7-D09E-B39D-730FB389F247}"/>
              </a:ext>
            </a:extLst>
          </p:cNvPr>
          <p:cNvGrpSpPr>
            <a:grpSpLocks noChangeAspect="1"/>
          </p:cNvGrpSpPr>
          <p:nvPr/>
        </p:nvGrpSpPr>
        <p:grpSpPr bwMode="auto">
          <a:xfrm>
            <a:off x="3211187" y="1991182"/>
            <a:ext cx="273570" cy="264383"/>
            <a:chOff x="6542" y="2993"/>
            <a:chExt cx="418" cy="427"/>
          </a:xfrm>
          <a:solidFill>
            <a:schemeClr val="accent2"/>
          </a:solidFill>
        </p:grpSpPr>
        <p:sp>
          <p:nvSpPr>
            <p:cNvPr id="157" name="Freeform 5">
              <a:extLst>
                <a:ext uri="{FF2B5EF4-FFF2-40B4-BE49-F238E27FC236}">
                  <a16:creationId xmlns:a16="http://schemas.microsoft.com/office/drawing/2014/main" id="{31E3A36E-ACB3-BCF3-6BD3-E0BC8531C109}"/>
                </a:ext>
              </a:extLst>
            </p:cNvPr>
            <p:cNvSpPr>
              <a:spLocks noEditPoints="1"/>
            </p:cNvSpPr>
            <p:nvPr/>
          </p:nvSpPr>
          <p:spPr bwMode="auto">
            <a:xfrm>
              <a:off x="6745" y="3206"/>
              <a:ext cx="215" cy="214"/>
            </a:xfrm>
            <a:custGeom>
              <a:avLst/>
              <a:gdLst>
                <a:gd name="T0" fmla="*/ 55 w 146"/>
                <a:gd name="T1" fmla="*/ 144 h 144"/>
                <a:gd name="T2" fmla="*/ 49 w 146"/>
                <a:gd name="T3" fmla="*/ 127 h 144"/>
                <a:gd name="T4" fmla="*/ 28 w 146"/>
                <a:gd name="T5" fmla="*/ 126 h 144"/>
                <a:gd name="T6" fmla="*/ 2 w 146"/>
                <a:gd name="T7" fmla="*/ 92 h 144"/>
                <a:gd name="T8" fmla="*/ 14 w 146"/>
                <a:gd name="T9" fmla="*/ 79 h 144"/>
                <a:gd name="T10" fmla="*/ 14 w 146"/>
                <a:gd name="T11" fmla="*/ 65 h 144"/>
                <a:gd name="T12" fmla="*/ 2 w 146"/>
                <a:gd name="T13" fmla="*/ 52 h 144"/>
                <a:gd name="T14" fmla="*/ 28 w 146"/>
                <a:gd name="T15" fmla="*/ 18 h 144"/>
                <a:gd name="T16" fmla="*/ 49 w 146"/>
                <a:gd name="T17" fmla="*/ 17 h 144"/>
                <a:gd name="T18" fmla="*/ 55 w 146"/>
                <a:gd name="T19" fmla="*/ 0 h 144"/>
                <a:gd name="T20" fmla="*/ 97 w 146"/>
                <a:gd name="T21" fmla="*/ 6 h 144"/>
                <a:gd name="T22" fmla="*/ 109 w 146"/>
                <a:gd name="T23" fmla="*/ 24 h 144"/>
                <a:gd name="T24" fmla="*/ 123 w 146"/>
                <a:gd name="T25" fmla="*/ 18 h 144"/>
                <a:gd name="T26" fmla="*/ 145 w 146"/>
                <a:gd name="T27" fmla="*/ 52 h 144"/>
                <a:gd name="T28" fmla="*/ 133 w 146"/>
                <a:gd name="T29" fmla="*/ 65 h 144"/>
                <a:gd name="T30" fmla="*/ 133 w 146"/>
                <a:gd name="T31" fmla="*/ 79 h 144"/>
                <a:gd name="T32" fmla="*/ 145 w 146"/>
                <a:gd name="T33" fmla="*/ 92 h 144"/>
                <a:gd name="T34" fmla="*/ 123 w 146"/>
                <a:gd name="T35" fmla="*/ 126 h 144"/>
                <a:gd name="T36" fmla="*/ 109 w 146"/>
                <a:gd name="T37" fmla="*/ 120 h 144"/>
                <a:gd name="T38" fmla="*/ 97 w 146"/>
                <a:gd name="T39" fmla="*/ 138 h 144"/>
                <a:gd name="T40" fmla="*/ 61 w 146"/>
                <a:gd name="T41" fmla="*/ 132 h 144"/>
                <a:gd name="T42" fmla="*/ 85 w 146"/>
                <a:gd name="T43" fmla="*/ 123 h 144"/>
                <a:gd name="T44" fmla="*/ 104 w 146"/>
                <a:gd name="T45" fmla="*/ 108 h 144"/>
                <a:gd name="T46" fmla="*/ 119 w 146"/>
                <a:gd name="T47" fmla="*/ 112 h 144"/>
                <a:gd name="T48" fmla="*/ 123 w 146"/>
                <a:gd name="T49" fmla="*/ 87 h 144"/>
                <a:gd name="T50" fmla="*/ 121 w 146"/>
                <a:gd name="T51" fmla="*/ 72 h 144"/>
                <a:gd name="T52" fmla="*/ 123 w 146"/>
                <a:gd name="T53" fmla="*/ 57 h 144"/>
                <a:gd name="T54" fmla="*/ 119 w 146"/>
                <a:gd name="T55" fmla="*/ 32 h 144"/>
                <a:gd name="T56" fmla="*/ 104 w 146"/>
                <a:gd name="T57" fmla="*/ 36 h 144"/>
                <a:gd name="T58" fmla="*/ 85 w 146"/>
                <a:gd name="T59" fmla="*/ 21 h 144"/>
                <a:gd name="T60" fmla="*/ 61 w 146"/>
                <a:gd name="T61" fmla="*/ 12 h 144"/>
                <a:gd name="T62" fmla="*/ 57 w 146"/>
                <a:gd name="T63" fmla="*/ 27 h 144"/>
                <a:gd name="T64" fmla="*/ 35 w 146"/>
                <a:gd name="T65" fmla="*/ 36 h 144"/>
                <a:gd name="T66" fmla="*/ 15 w 146"/>
                <a:gd name="T67" fmla="*/ 52 h 144"/>
                <a:gd name="T68" fmla="*/ 26 w 146"/>
                <a:gd name="T69" fmla="*/ 63 h 144"/>
                <a:gd name="T70" fmla="*/ 26 w 146"/>
                <a:gd name="T71" fmla="*/ 81 h 144"/>
                <a:gd name="T72" fmla="*/ 15 w 146"/>
                <a:gd name="T73" fmla="*/ 92 h 144"/>
                <a:gd name="T74" fmla="*/ 35 w 146"/>
                <a:gd name="T75" fmla="*/ 108 h 144"/>
                <a:gd name="T76" fmla="*/ 57 w 146"/>
                <a:gd name="T77" fmla="*/ 117 h 144"/>
                <a:gd name="T78" fmla="*/ 61 w 146"/>
                <a:gd name="T79"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44">
                  <a:moveTo>
                    <a:pt x="91" y="144"/>
                  </a:moveTo>
                  <a:cubicBezTo>
                    <a:pt x="55" y="144"/>
                    <a:pt x="55" y="144"/>
                    <a:pt x="55" y="144"/>
                  </a:cubicBezTo>
                  <a:cubicBezTo>
                    <a:pt x="52" y="144"/>
                    <a:pt x="49" y="141"/>
                    <a:pt x="49" y="138"/>
                  </a:cubicBezTo>
                  <a:cubicBezTo>
                    <a:pt x="49" y="127"/>
                    <a:pt x="49" y="127"/>
                    <a:pt x="49" y="127"/>
                  </a:cubicBezTo>
                  <a:cubicBezTo>
                    <a:pt x="46" y="125"/>
                    <a:pt x="42" y="123"/>
                    <a:pt x="38" y="120"/>
                  </a:cubicBezTo>
                  <a:cubicBezTo>
                    <a:pt x="28" y="126"/>
                    <a:pt x="28" y="126"/>
                    <a:pt x="28" y="126"/>
                  </a:cubicBezTo>
                  <a:cubicBezTo>
                    <a:pt x="25" y="127"/>
                    <a:pt x="22" y="126"/>
                    <a:pt x="20" y="124"/>
                  </a:cubicBezTo>
                  <a:cubicBezTo>
                    <a:pt x="2" y="92"/>
                    <a:pt x="2" y="92"/>
                    <a:pt x="2" y="92"/>
                  </a:cubicBezTo>
                  <a:cubicBezTo>
                    <a:pt x="0" y="90"/>
                    <a:pt x="1" y="86"/>
                    <a:pt x="4" y="84"/>
                  </a:cubicBezTo>
                  <a:cubicBezTo>
                    <a:pt x="14" y="79"/>
                    <a:pt x="14" y="79"/>
                    <a:pt x="14" y="79"/>
                  </a:cubicBezTo>
                  <a:cubicBezTo>
                    <a:pt x="13" y="76"/>
                    <a:pt x="13" y="74"/>
                    <a:pt x="13" y="72"/>
                  </a:cubicBezTo>
                  <a:cubicBezTo>
                    <a:pt x="13" y="70"/>
                    <a:pt x="13" y="68"/>
                    <a:pt x="14" y="65"/>
                  </a:cubicBezTo>
                  <a:cubicBezTo>
                    <a:pt x="4" y="60"/>
                    <a:pt x="4" y="60"/>
                    <a:pt x="4" y="60"/>
                  </a:cubicBezTo>
                  <a:cubicBezTo>
                    <a:pt x="1" y="58"/>
                    <a:pt x="0" y="54"/>
                    <a:pt x="2" y="52"/>
                  </a:cubicBezTo>
                  <a:cubicBezTo>
                    <a:pt x="20" y="20"/>
                    <a:pt x="20" y="20"/>
                    <a:pt x="20" y="20"/>
                  </a:cubicBezTo>
                  <a:cubicBezTo>
                    <a:pt x="22" y="18"/>
                    <a:pt x="25" y="17"/>
                    <a:pt x="28" y="18"/>
                  </a:cubicBezTo>
                  <a:cubicBezTo>
                    <a:pt x="38" y="24"/>
                    <a:pt x="38" y="24"/>
                    <a:pt x="38" y="24"/>
                  </a:cubicBezTo>
                  <a:cubicBezTo>
                    <a:pt x="41" y="21"/>
                    <a:pt x="45" y="19"/>
                    <a:pt x="49" y="17"/>
                  </a:cubicBezTo>
                  <a:cubicBezTo>
                    <a:pt x="49" y="6"/>
                    <a:pt x="49" y="6"/>
                    <a:pt x="49" y="6"/>
                  </a:cubicBezTo>
                  <a:cubicBezTo>
                    <a:pt x="49" y="3"/>
                    <a:pt x="52" y="0"/>
                    <a:pt x="55" y="0"/>
                  </a:cubicBezTo>
                  <a:cubicBezTo>
                    <a:pt x="91" y="0"/>
                    <a:pt x="91" y="0"/>
                    <a:pt x="91" y="0"/>
                  </a:cubicBezTo>
                  <a:cubicBezTo>
                    <a:pt x="95" y="0"/>
                    <a:pt x="97" y="3"/>
                    <a:pt x="97" y="6"/>
                  </a:cubicBezTo>
                  <a:cubicBezTo>
                    <a:pt x="97" y="17"/>
                    <a:pt x="97" y="17"/>
                    <a:pt x="97" y="17"/>
                  </a:cubicBezTo>
                  <a:cubicBezTo>
                    <a:pt x="101" y="19"/>
                    <a:pt x="105" y="21"/>
                    <a:pt x="109" y="24"/>
                  </a:cubicBezTo>
                  <a:cubicBezTo>
                    <a:pt x="118" y="18"/>
                    <a:pt x="118" y="18"/>
                    <a:pt x="118" y="18"/>
                  </a:cubicBezTo>
                  <a:cubicBezTo>
                    <a:pt x="120" y="17"/>
                    <a:pt x="121" y="17"/>
                    <a:pt x="123" y="18"/>
                  </a:cubicBezTo>
                  <a:cubicBezTo>
                    <a:pt x="124" y="18"/>
                    <a:pt x="126" y="19"/>
                    <a:pt x="127" y="20"/>
                  </a:cubicBezTo>
                  <a:cubicBezTo>
                    <a:pt x="145" y="52"/>
                    <a:pt x="145" y="52"/>
                    <a:pt x="145" y="52"/>
                  </a:cubicBezTo>
                  <a:cubicBezTo>
                    <a:pt x="146" y="54"/>
                    <a:pt x="145" y="58"/>
                    <a:pt x="142" y="60"/>
                  </a:cubicBezTo>
                  <a:cubicBezTo>
                    <a:pt x="133" y="65"/>
                    <a:pt x="133" y="65"/>
                    <a:pt x="133" y="65"/>
                  </a:cubicBezTo>
                  <a:cubicBezTo>
                    <a:pt x="133" y="68"/>
                    <a:pt x="133" y="70"/>
                    <a:pt x="133" y="72"/>
                  </a:cubicBezTo>
                  <a:cubicBezTo>
                    <a:pt x="133" y="74"/>
                    <a:pt x="133" y="76"/>
                    <a:pt x="133" y="79"/>
                  </a:cubicBezTo>
                  <a:cubicBezTo>
                    <a:pt x="142" y="84"/>
                    <a:pt x="142" y="84"/>
                    <a:pt x="142" y="84"/>
                  </a:cubicBezTo>
                  <a:cubicBezTo>
                    <a:pt x="145" y="86"/>
                    <a:pt x="146" y="90"/>
                    <a:pt x="145" y="92"/>
                  </a:cubicBezTo>
                  <a:cubicBezTo>
                    <a:pt x="127" y="124"/>
                    <a:pt x="127" y="124"/>
                    <a:pt x="127" y="124"/>
                  </a:cubicBezTo>
                  <a:cubicBezTo>
                    <a:pt x="126" y="125"/>
                    <a:pt x="125" y="126"/>
                    <a:pt x="123" y="126"/>
                  </a:cubicBezTo>
                  <a:cubicBezTo>
                    <a:pt x="121" y="127"/>
                    <a:pt x="120" y="127"/>
                    <a:pt x="118" y="126"/>
                  </a:cubicBezTo>
                  <a:cubicBezTo>
                    <a:pt x="109" y="120"/>
                    <a:pt x="109" y="120"/>
                    <a:pt x="109" y="120"/>
                  </a:cubicBezTo>
                  <a:cubicBezTo>
                    <a:pt x="105" y="123"/>
                    <a:pt x="102" y="125"/>
                    <a:pt x="97" y="127"/>
                  </a:cubicBezTo>
                  <a:cubicBezTo>
                    <a:pt x="97" y="138"/>
                    <a:pt x="97" y="138"/>
                    <a:pt x="97" y="138"/>
                  </a:cubicBezTo>
                  <a:cubicBezTo>
                    <a:pt x="97" y="141"/>
                    <a:pt x="95" y="144"/>
                    <a:pt x="91" y="144"/>
                  </a:cubicBezTo>
                  <a:close/>
                  <a:moveTo>
                    <a:pt x="61" y="132"/>
                  </a:moveTo>
                  <a:cubicBezTo>
                    <a:pt x="85" y="132"/>
                    <a:pt x="85" y="132"/>
                    <a:pt x="85" y="132"/>
                  </a:cubicBezTo>
                  <a:cubicBezTo>
                    <a:pt x="85" y="123"/>
                    <a:pt x="85" y="123"/>
                    <a:pt x="85" y="123"/>
                  </a:cubicBezTo>
                  <a:cubicBezTo>
                    <a:pt x="85" y="120"/>
                    <a:pt x="87" y="118"/>
                    <a:pt x="89" y="117"/>
                  </a:cubicBezTo>
                  <a:cubicBezTo>
                    <a:pt x="95" y="115"/>
                    <a:pt x="100" y="112"/>
                    <a:pt x="104" y="108"/>
                  </a:cubicBezTo>
                  <a:cubicBezTo>
                    <a:pt x="106" y="107"/>
                    <a:pt x="109" y="107"/>
                    <a:pt x="111" y="108"/>
                  </a:cubicBezTo>
                  <a:cubicBezTo>
                    <a:pt x="119" y="112"/>
                    <a:pt x="119" y="112"/>
                    <a:pt x="119" y="112"/>
                  </a:cubicBezTo>
                  <a:cubicBezTo>
                    <a:pt x="131" y="92"/>
                    <a:pt x="131" y="92"/>
                    <a:pt x="131" y="92"/>
                  </a:cubicBezTo>
                  <a:cubicBezTo>
                    <a:pt x="123" y="87"/>
                    <a:pt x="123" y="87"/>
                    <a:pt x="123" y="87"/>
                  </a:cubicBezTo>
                  <a:cubicBezTo>
                    <a:pt x="121" y="86"/>
                    <a:pt x="120" y="83"/>
                    <a:pt x="120" y="81"/>
                  </a:cubicBezTo>
                  <a:cubicBezTo>
                    <a:pt x="121" y="78"/>
                    <a:pt x="121" y="75"/>
                    <a:pt x="121" y="72"/>
                  </a:cubicBezTo>
                  <a:cubicBezTo>
                    <a:pt x="121" y="69"/>
                    <a:pt x="121" y="66"/>
                    <a:pt x="120" y="63"/>
                  </a:cubicBezTo>
                  <a:cubicBezTo>
                    <a:pt x="120" y="61"/>
                    <a:pt x="121" y="58"/>
                    <a:pt x="123" y="57"/>
                  </a:cubicBezTo>
                  <a:cubicBezTo>
                    <a:pt x="131" y="52"/>
                    <a:pt x="131" y="52"/>
                    <a:pt x="131" y="52"/>
                  </a:cubicBezTo>
                  <a:cubicBezTo>
                    <a:pt x="119" y="32"/>
                    <a:pt x="119" y="32"/>
                    <a:pt x="119" y="32"/>
                  </a:cubicBezTo>
                  <a:cubicBezTo>
                    <a:pt x="111" y="36"/>
                    <a:pt x="111" y="36"/>
                    <a:pt x="111" y="36"/>
                  </a:cubicBezTo>
                  <a:cubicBezTo>
                    <a:pt x="109" y="37"/>
                    <a:pt x="106" y="37"/>
                    <a:pt x="104" y="36"/>
                  </a:cubicBezTo>
                  <a:cubicBezTo>
                    <a:pt x="100" y="32"/>
                    <a:pt x="95" y="29"/>
                    <a:pt x="89" y="27"/>
                  </a:cubicBezTo>
                  <a:cubicBezTo>
                    <a:pt x="87" y="26"/>
                    <a:pt x="85" y="24"/>
                    <a:pt x="85" y="21"/>
                  </a:cubicBezTo>
                  <a:cubicBezTo>
                    <a:pt x="85" y="12"/>
                    <a:pt x="85" y="12"/>
                    <a:pt x="85" y="12"/>
                  </a:cubicBezTo>
                  <a:cubicBezTo>
                    <a:pt x="61" y="12"/>
                    <a:pt x="61" y="12"/>
                    <a:pt x="61" y="12"/>
                  </a:cubicBezTo>
                  <a:cubicBezTo>
                    <a:pt x="61" y="21"/>
                    <a:pt x="61" y="21"/>
                    <a:pt x="61" y="21"/>
                  </a:cubicBezTo>
                  <a:cubicBezTo>
                    <a:pt x="61" y="24"/>
                    <a:pt x="60" y="26"/>
                    <a:pt x="57" y="27"/>
                  </a:cubicBezTo>
                  <a:cubicBezTo>
                    <a:pt x="52" y="29"/>
                    <a:pt x="46" y="32"/>
                    <a:pt x="42" y="36"/>
                  </a:cubicBezTo>
                  <a:cubicBezTo>
                    <a:pt x="40" y="37"/>
                    <a:pt x="37" y="37"/>
                    <a:pt x="35" y="36"/>
                  </a:cubicBezTo>
                  <a:cubicBezTo>
                    <a:pt x="27" y="32"/>
                    <a:pt x="27" y="32"/>
                    <a:pt x="27" y="32"/>
                  </a:cubicBezTo>
                  <a:cubicBezTo>
                    <a:pt x="15" y="52"/>
                    <a:pt x="15" y="52"/>
                    <a:pt x="15" y="52"/>
                  </a:cubicBezTo>
                  <a:cubicBezTo>
                    <a:pt x="23" y="57"/>
                    <a:pt x="23" y="57"/>
                    <a:pt x="23" y="57"/>
                  </a:cubicBezTo>
                  <a:cubicBezTo>
                    <a:pt x="25" y="58"/>
                    <a:pt x="27" y="61"/>
                    <a:pt x="26" y="63"/>
                  </a:cubicBezTo>
                  <a:cubicBezTo>
                    <a:pt x="26" y="66"/>
                    <a:pt x="25" y="69"/>
                    <a:pt x="25" y="72"/>
                  </a:cubicBezTo>
                  <a:cubicBezTo>
                    <a:pt x="25" y="75"/>
                    <a:pt x="26" y="78"/>
                    <a:pt x="26" y="81"/>
                  </a:cubicBezTo>
                  <a:cubicBezTo>
                    <a:pt x="27" y="83"/>
                    <a:pt x="25" y="86"/>
                    <a:pt x="23" y="87"/>
                  </a:cubicBezTo>
                  <a:cubicBezTo>
                    <a:pt x="15" y="92"/>
                    <a:pt x="15" y="92"/>
                    <a:pt x="15" y="92"/>
                  </a:cubicBezTo>
                  <a:cubicBezTo>
                    <a:pt x="27" y="112"/>
                    <a:pt x="27" y="112"/>
                    <a:pt x="27" y="112"/>
                  </a:cubicBezTo>
                  <a:cubicBezTo>
                    <a:pt x="35" y="108"/>
                    <a:pt x="35" y="108"/>
                    <a:pt x="35" y="108"/>
                  </a:cubicBezTo>
                  <a:cubicBezTo>
                    <a:pt x="37" y="107"/>
                    <a:pt x="40" y="107"/>
                    <a:pt x="42" y="108"/>
                  </a:cubicBezTo>
                  <a:cubicBezTo>
                    <a:pt x="46" y="112"/>
                    <a:pt x="52" y="115"/>
                    <a:pt x="57" y="117"/>
                  </a:cubicBezTo>
                  <a:cubicBezTo>
                    <a:pt x="60" y="118"/>
                    <a:pt x="61" y="120"/>
                    <a:pt x="61" y="123"/>
                  </a:cubicBezTo>
                  <a:lnTo>
                    <a:pt x="61" y="13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sp>
          <p:nvSpPr>
            <p:cNvPr id="158" name="Freeform 6">
              <a:extLst>
                <a:ext uri="{FF2B5EF4-FFF2-40B4-BE49-F238E27FC236}">
                  <a16:creationId xmlns:a16="http://schemas.microsoft.com/office/drawing/2014/main" id="{89114109-0EBE-5164-4939-6AD01EE469C3}"/>
                </a:ext>
              </a:extLst>
            </p:cNvPr>
            <p:cNvSpPr>
              <a:spLocks noEditPoints="1"/>
            </p:cNvSpPr>
            <p:nvPr/>
          </p:nvSpPr>
          <p:spPr bwMode="auto">
            <a:xfrm>
              <a:off x="6808" y="3269"/>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7"/>
                    <a:pt x="0" y="30"/>
                  </a:cubicBezTo>
                  <a:cubicBezTo>
                    <a:pt x="0" y="13"/>
                    <a:pt x="14" y="0"/>
                    <a:pt x="30" y="0"/>
                  </a:cubicBezTo>
                  <a:cubicBezTo>
                    <a:pt x="47" y="0"/>
                    <a:pt x="60" y="13"/>
                    <a:pt x="60" y="30"/>
                  </a:cubicBezTo>
                  <a:cubicBezTo>
                    <a:pt x="60" y="47"/>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sp>
          <p:nvSpPr>
            <p:cNvPr id="159" name="Freeform 7">
              <a:extLst>
                <a:ext uri="{FF2B5EF4-FFF2-40B4-BE49-F238E27FC236}">
                  <a16:creationId xmlns:a16="http://schemas.microsoft.com/office/drawing/2014/main" id="{091316BD-B887-90B6-B615-B944B5C3B2B3}"/>
                </a:ext>
              </a:extLst>
            </p:cNvPr>
            <p:cNvSpPr>
              <a:spLocks noEditPoints="1"/>
            </p:cNvSpPr>
            <p:nvPr/>
          </p:nvSpPr>
          <p:spPr bwMode="auto">
            <a:xfrm>
              <a:off x="6542" y="2993"/>
              <a:ext cx="390" cy="142"/>
            </a:xfrm>
            <a:custGeom>
              <a:avLst/>
              <a:gdLst>
                <a:gd name="T0" fmla="*/ 246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78 h 96"/>
                <a:gd name="T16" fmla="*/ 246 w 264"/>
                <a:gd name="T17" fmla="*/ 96 h 96"/>
                <a:gd name="T18" fmla="*/ 18 w 264"/>
                <a:gd name="T19" fmla="*/ 12 h 96"/>
                <a:gd name="T20" fmla="*/ 12 w 264"/>
                <a:gd name="T21" fmla="*/ 18 h 96"/>
                <a:gd name="T22" fmla="*/ 12 w 264"/>
                <a:gd name="T23" fmla="*/ 78 h 96"/>
                <a:gd name="T24" fmla="*/ 18 w 264"/>
                <a:gd name="T25" fmla="*/ 84 h 96"/>
                <a:gd name="T26" fmla="*/ 246 w 264"/>
                <a:gd name="T27" fmla="*/ 84 h 96"/>
                <a:gd name="T28" fmla="*/ 252 w 264"/>
                <a:gd name="T29" fmla="*/ 78 h 96"/>
                <a:gd name="T30" fmla="*/ 252 w 264"/>
                <a:gd name="T31" fmla="*/ 18 h 96"/>
                <a:gd name="T32" fmla="*/ 246 w 264"/>
                <a:gd name="T33" fmla="*/ 12 h 96"/>
                <a:gd name="T34" fmla="*/ 18 w 264"/>
                <a:gd name="T3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96">
                  <a:moveTo>
                    <a:pt x="246" y="96"/>
                  </a:moveTo>
                  <a:cubicBezTo>
                    <a:pt x="18" y="96"/>
                    <a:pt x="18" y="96"/>
                    <a:pt x="18" y="96"/>
                  </a:cubicBezTo>
                  <a:cubicBezTo>
                    <a:pt x="8" y="96"/>
                    <a:pt x="0" y="88"/>
                    <a:pt x="0" y="78"/>
                  </a:cubicBezTo>
                  <a:cubicBezTo>
                    <a:pt x="0" y="18"/>
                    <a:pt x="0" y="18"/>
                    <a:pt x="0" y="18"/>
                  </a:cubicBezTo>
                  <a:cubicBezTo>
                    <a:pt x="0" y="8"/>
                    <a:pt x="8" y="0"/>
                    <a:pt x="18" y="0"/>
                  </a:cubicBezTo>
                  <a:cubicBezTo>
                    <a:pt x="246" y="0"/>
                    <a:pt x="246" y="0"/>
                    <a:pt x="246" y="0"/>
                  </a:cubicBezTo>
                  <a:cubicBezTo>
                    <a:pt x="256" y="0"/>
                    <a:pt x="264" y="8"/>
                    <a:pt x="264" y="18"/>
                  </a:cubicBezTo>
                  <a:cubicBezTo>
                    <a:pt x="264" y="78"/>
                    <a:pt x="264" y="78"/>
                    <a:pt x="264" y="78"/>
                  </a:cubicBezTo>
                  <a:cubicBezTo>
                    <a:pt x="264" y="88"/>
                    <a:pt x="256" y="96"/>
                    <a:pt x="246" y="96"/>
                  </a:cubicBezTo>
                  <a:close/>
                  <a:moveTo>
                    <a:pt x="18" y="12"/>
                  </a:moveTo>
                  <a:cubicBezTo>
                    <a:pt x="15" y="12"/>
                    <a:pt x="12" y="15"/>
                    <a:pt x="12" y="18"/>
                  </a:cubicBezTo>
                  <a:cubicBezTo>
                    <a:pt x="12" y="78"/>
                    <a:pt x="12" y="78"/>
                    <a:pt x="12" y="78"/>
                  </a:cubicBezTo>
                  <a:cubicBezTo>
                    <a:pt x="12" y="81"/>
                    <a:pt x="15" y="84"/>
                    <a:pt x="18" y="84"/>
                  </a:cubicBezTo>
                  <a:cubicBezTo>
                    <a:pt x="246" y="84"/>
                    <a:pt x="246" y="84"/>
                    <a:pt x="246" y="84"/>
                  </a:cubicBezTo>
                  <a:cubicBezTo>
                    <a:pt x="249" y="84"/>
                    <a:pt x="252" y="81"/>
                    <a:pt x="252" y="78"/>
                  </a:cubicBezTo>
                  <a:cubicBezTo>
                    <a:pt x="252" y="18"/>
                    <a:pt x="252" y="18"/>
                    <a:pt x="252" y="18"/>
                  </a:cubicBezTo>
                  <a:cubicBezTo>
                    <a:pt x="252" y="15"/>
                    <a:pt x="249" y="12"/>
                    <a:pt x="246" y="12"/>
                  </a:cubicBezTo>
                  <a:lnTo>
                    <a:pt x="18" y="1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sp>
          <p:nvSpPr>
            <p:cNvPr id="160" name="Freeform 8">
              <a:extLst>
                <a:ext uri="{FF2B5EF4-FFF2-40B4-BE49-F238E27FC236}">
                  <a16:creationId xmlns:a16="http://schemas.microsoft.com/office/drawing/2014/main" id="{0B7F5D87-4833-A8E0-6CC2-04013BE7194E}"/>
                </a:ext>
              </a:extLst>
            </p:cNvPr>
            <p:cNvSpPr>
              <a:spLocks/>
            </p:cNvSpPr>
            <p:nvPr/>
          </p:nvSpPr>
          <p:spPr bwMode="auto">
            <a:xfrm>
              <a:off x="6675" y="3082"/>
              <a:ext cx="195"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3"/>
                    <a:pt x="3" y="0"/>
                    <a:pt x="6" y="0"/>
                  </a:cubicBezTo>
                  <a:cubicBezTo>
                    <a:pt x="126" y="0"/>
                    <a:pt x="126" y="0"/>
                    <a:pt x="126" y="0"/>
                  </a:cubicBezTo>
                  <a:cubicBezTo>
                    <a:pt x="129" y="0"/>
                    <a:pt x="132" y="3"/>
                    <a:pt x="132" y="6"/>
                  </a:cubicBezTo>
                  <a:cubicBezTo>
                    <a:pt x="132" y="9"/>
                    <a:pt x="129" y="12"/>
                    <a:pt x="126"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sp>
          <p:nvSpPr>
            <p:cNvPr id="161" name="Freeform 9">
              <a:extLst>
                <a:ext uri="{FF2B5EF4-FFF2-40B4-BE49-F238E27FC236}">
                  <a16:creationId xmlns:a16="http://schemas.microsoft.com/office/drawing/2014/main" id="{5289D4C1-3E11-E305-895C-B5E54FDB116D}"/>
                </a:ext>
              </a:extLst>
            </p:cNvPr>
            <p:cNvSpPr>
              <a:spLocks/>
            </p:cNvSpPr>
            <p:nvPr/>
          </p:nvSpPr>
          <p:spPr bwMode="auto">
            <a:xfrm>
              <a:off x="6675" y="3047"/>
              <a:ext cx="195" cy="17"/>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3" y="12"/>
                    <a:pt x="0" y="9"/>
                    <a:pt x="0" y="6"/>
                  </a:cubicBezTo>
                  <a:cubicBezTo>
                    <a:pt x="0" y="3"/>
                    <a:pt x="3" y="0"/>
                    <a:pt x="6" y="0"/>
                  </a:cubicBezTo>
                  <a:cubicBezTo>
                    <a:pt x="126" y="0"/>
                    <a:pt x="126" y="0"/>
                    <a:pt x="126" y="0"/>
                  </a:cubicBezTo>
                  <a:cubicBezTo>
                    <a:pt x="129" y="0"/>
                    <a:pt x="132" y="3"/>
                    <a:pt x="132" y="6"/>
                  </a:cubicBezTo>
                  <a:cubicBezTo>
                    <a:pt x="132" y="9"/>
                    <a:pt x="129" y="12"/>
                    <a:pt x="126"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sp>
          <p:nvSpPr>
            <p:cNvPr id="162" name="Freeform 10">
              <a:extLst>
                <a:ext uri="{FF2B5EF4-FFF2-40B4-BE49-F238E27FC236}">
                  <a16:creationId xmlns:a16="http://schemas.microsoft.com/office/drawing/2014/main" id="{7D931A35-7405-4E23-FC9D-761294D02BC3}"/>
                </a:ext>
              </a:extLst>
            </p:cNvPr>
            <p:cNvSpPr>
              <a:spLocks noEditPoints="1"/>
            </p:cNvSpPr>
            <p:nvPr/>
          </p:nvSpPr>
          <p:spPr bwMode="auto">
            <a:xfrm>
              <a:off x="6587" y="3038"/>
              <a:ext cx="53"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5" y="12"/>
                    <a:pt x="12" y="15"/>
                    <a:pt x="12" y="18"/>
                  </a:cubicBezTo>
                  <a:cubicBezTo>
                    <a:pt x="12" y="21"/>
                    <a:pt x="15" y="24"/>
                    <a:pt x="18" y="24"/>
                  </a:cubicBezTo>
                  <a:cubicBezTo>
                    <a:pt x="21" y="24"/>
                    <a:pt x="24" y="21"/>
                    <a:pt x="24" y="18"/>
                  </a:cubicBezTo>
                  <a:cubicBezTo>
                    <a:pt x="24" y="15"/>
                    <a:pt x="21" y="12"/>
                    <a:pt x="18"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sp>
          <p:nvSpPr>
            <p:cNvPr id="163" name="Freeform 11">
              <a:extLst>
                <a:ext uri="{FF2B5EF4-FFF2-40B4-BE49-F238E27FC236}">
                  <a16:creationId xmlns:a16="http://schemas.microsoft.com/office/drawing/2014/main" id="{3F4FE941-313C-94C8-FDCD-74CA2495875E}"/>
                </a:ext>
              </a:extLst>
            </p:cNvPr>
            <p:cNvSpPr>
              <a:spLocks/>
            </p:cNvSpPr>
            <p:nvPr/>
          </p:nvSpPr>
          <p:spPr bwMode="auto">
            <a:xfrm>
              <a:off x="6542" y="3118"/>
              <a:ext cx="390" cy="142"/>
            </a:xfrm>
            <a:custGeom>
              <a:avLst/>
              <a:gdLst>
                <a:gd name="T0" fmla="*/ 108 w 264"/>
                <a:gd name="T1" fmla="*/ 96 h 96"/>
                <a:gd name="T2" fmla="*/ 18 w 264"/>
                <a:gd name="T3" fmla="*/ 96 h 96"/>
                <a:gd name="T4" fmla="*/ 0 w 264"/>
                <a:gd name="T5" fmla="*/ 78 h 96"/>
                <a:gd name="T6" fmla="*/ 0 w 264"/>
                <a:gd name="T7" fmla="*/ 18 h 96"/>
                <a:gd name="T8" fmla="*/ 18 w 264"/>
                <a:gd name="T9" fmla="*/ 0 h 96"/>
                <a:gd name="T10" fmla="*/ 246 w 264"/>
                <a:gd name="T11" fmla="*/ 0 h 96"/>
                <a:gd name="T12" fmla="*/ 264 w 264"/>
                <a:gd name="T13" fmla="*/ 18 h 96"/>
                <a:gd name="T14" fmla="*/ 264 w 264"/>
                <a:gd name="T15" fmla="*/ 36 h 96"/>
                <a:gd name="T16" fmla="*/ 258 w 264"/>
                <a:gd name="T17" fmla="*/ 42 h 96"/>
                <a:gd name="T18" fmla="*/ 252 w 264"/>
                <a:gd name="T19" fmla="*/ 36 h 96"/>
                <a:gd name="T20" fmla="*/ 252 w 264"/>
                <a:gd name="T21" fmla="*/ 18 h 96"/>
                <a:gd name="T22" fmla="*/ 246 w 264"/>
                <a:gd name="T23" fmla="*/ 12 h 96"/>
                <a:gd name="T24" fmla="*/ 18 w 264"/>
                <a:gd name="T25" fmla="*/ 12 h 96"/>
                <a:gd name="T26" fmla="*/ 12 w 264"/>
                <a:gd name="T27" fmla="*/ 18 h 96"/>
                <a:gd name="T28" fmla="*/ 12 w 264"/>
                <a:gd name="T29" fmla="*/ 78 h 96"/>
                <a:gd name="T30" fmla="*/ 18 w 264"/>
                <a:gd name="T31" fmla="*/ 84 h 96"/>
                <a:gd name="T32" fmla="*/ 108 w 264"/>
                <a:gd name="T33" fmla="*/ 84 h 96"/>
                <a:gd name="T34" fmla="*/ 114 w 264"/>
                <a:gd name="T35" fmla="*/ 90 h 96"/>
                <a:gd name="T36" fmla="*/ 108 w 264"/>
                <a:gd name="T3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96">
                  <a:moveTo>
                    <a:pt x="108" y="96"/>
                  </a:moveTo>
                  <a:cubicBezTo>
                    <a:pt x="18" y="96"/>
                    <a:pt x="18" y="96"/>
                    <a:pt x="18" y="96"/>
                  </a:cubicBezTo>
                  <a:cubicBezTo>
                    <a:pt x="8" y="96"/>
                    <a:pt x="0" y="88"/>
                    <a:pt x="0" y="78"/>
                  </a:cubicBezTo>
                  <a:cubicBezTo>
                    <a:pt x="0" y="18"/>
                    <a:pt x="0" y="18"/>
                    <a:pt x="0" y="18"/>
                  </a:cubicBezTo>
                  <a:cubicBezTo>
                    <a:pt x="0" y="8"/>
                    <a:pt x="8" y="0"/>
                    <a:pt x="18" y="0"/>
                  </a:cubicBezTo>
                  <a:cubicBezTo>
                    <a:pt x="246" y="0"/>
                    <a:pt x="246" y="0"/>
                    <a:pt x="246" y="0"/>
                  </a:cubicBezTo>
                  <a:cubicBezTo>
                    <a:pt x="256" y="0"/>
                    <a:pt x="264" y="8"/>
                    <a:pt x="264" y="18"/>
                  </a:cubicBezTo>
                  <a:cubicBezTo>
                    <a:pt x="264" y="36"/>
                    <a:pt x="264" y="36"/>
                    <a:pt x="264" y="36"/>
                  </a:cubicBezTo>
                  <a:cubicBezTo>
                    <a:pt x="264" y="39"/>
                    <a:pt x="261" y="42"/>
                    <a:pt x="258" y="42"/>
                  </a:cubicBezTo>
                  <a:cubicBezTo>
                    <a:pt x="255" y="42"/>
                    <a:pt x="252" y="39"/>
                    <a:pt x="252" y="36"/>
                  </a:cubicBezTo>
                  <a:cubicBezTo>
                    <a:pt x="252" y="18"/>
                    <a:pt x="252" y="18"/>
                    <a:pt x="252" y="18"/>
                  </a:cubicBezTo>
                  <a:cubicBezTo>
                    <a:pt x="252" y="15"/>
                    <a:pt x="249" y="12"/>
                    <a:pt x="246" y="12"/>
                  </a:cubicBezTo>
                  <a:cubicBezTo>
                    <a:pt x="18" y="12"/>
                    <a:pt x="18" y="12"/>
                    <a:pt x="18" y="12"/>
                  </a:cubicBezTo>
                  <a:cubicBezTo>
                    <a:pt x="15" y="12"/>
                    <a:pt x="12" y="15"/>
                    <a:pt x="12" y="18"/>
                  </a:cubicBezTo>
                  <a:cubicBezTo>
                    <a:pt x="12" y="78"/>
                    <a:pt x="12" y="78"/>
                    <a:pt x="12" y="78"/>
                  </a:cubicBezTo>
                  <a:cubicBezTo>
                    <a:pt x="12" y="81"/>
                    <a:pt x="15" y="84"/>
                    <a:pt x="18" y="84"/>
                  </a:cubicBezTo>
                  <a:cubicBezTo>
                    <a:pt x="108" y="84"/>
                    <a:pt x="108" y="84"/>
                    <a:pt x="108" y="84"/>
                  </a:cubicBezTo>
                  <a:cubicBezTo>
                    <a:pt x="111" y="84"/>
                    <a:pt x="114" y="87"/>
                    <a:pt x="114" y="90"/>
                  </a:cubicBezTo>
                  <a:cubicBezTo>
                    <a:pt x="114" y="93"/>
                    <a:pt x="111" y="96"/>
                    <a:pt x="108" y="9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sp>
          <p:nvSpPr>
            <p:cNvPr id="164" name="Freeform 12">
              <a:extLst>
                <a:ext uri="{FF2B5EF4-FFF2-40B4-BE49-F238E27FC236}">
                  <a16:creationId xmlns:a16="http://schemas.microsoft.com/office/drawing/2014/main" id="{58E01D7D-0771-0F91-A56E-8D22389BFA06}"/>
                </a:ext>
              </a:extLst>
            </p:cNvPr>
            <p:cNvSpPr>
              <a:spLocks/>
            </p:cNvSpPr>
            <p:nvPr/>
          </p:nvSpPr>
          <p:spPr bwMode="auto">
            <a:xfrm>
              <a:off x="6675" y="3206"/>
              <a:ext cx="53"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3" y="0"/>
                    <a:pt x="36" y="3"/>
                    <a:pt x="36" y="6"/>
                  </a:cubicBezTo>
                  <a:cubicBezTo>
                    <a:pt x="36" y="9"/>
                    <a:pt x="33" y="12"/>
                    <a:pt x="30"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sp>
          <p:nvSpPr>
            <p:cNvPr id="165" name="Freeform 13">
              <a:extLst>
                <a:ext uri="{FF2B5EF4-FFF2-40B4-BE49-F238E27FC236}">
                  <a16:creationId xmlns:a16="http://schemas.microsoft.com/office/drawing/2014/main" id="{D7D6A774-F286-946D-E9FB-80DDB1108168}"/>
                </a:ext>
              </a:extLst>
            </p:cNvPr>
            <p:cNvSpPr>
              <a:spLocks/>
            </p:cNvSpPr>
            <p:nvPr/>
          </p:nvSpPr>
          <p:spPr bwMode="auto">
            <a:xfrm>
              <a:off x="6675" y="3171"/>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5" y="0"/>
                    <a:pt x="48" y="3"/>
                    <a:pt x="48" y="6"/>
                  </a:cubicBezTo>
                  <a:cubicBezTo>
                    <a:pt x="48" y="9"/>
                    <a:pt x="45" y="12"/>
                    <a:pt x="42"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sp>
          <p:nvSpPr>
            <p:cNvPr id="166" name="Freeform 14">
              <a:extLst>
                <a:ext uri="{FF2B5EF4-FFF2-40B4-BE49-F238E27FC236}">
                  <a16:creationId xmlns:a16="http://schemas.microsoft.com/office/drawing/2014/main" id="{94A7D390-592E-B167-4EC3-0DDB7E11C6D6}"/>
                </a:ext>
              </a:extLst>
            </p:cNvPr>
            <p:cNvSpPr>
              <a:spLocks noEditPoints="1"/>
            </p:cNvSpPr>
            <p:nvPr/>
          </p:nvSpPr>
          <p:spPr bwMode="auto">
            <a:xfrm>
              <a:off x="6587" y="3162"/>
              <a:ext cx="53" cy="53"/>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5" y="12"/>
                    <a:pt x="12" y="15"/>
                    <a:pt x="12" y="18"/>
                  </a:cubicBezTo>
                  <a:cubicBezTo>
                    <a:pt x="12" y="21"/>
                    <a:pt x="15" y="24"/>
                    <a:pt x="18" y="24"/>
                  </a:cubicBezTo>
                  <a:cubicBezTo>
                    <a:pt x="21" y="24"/>
                    <a:pt x="24" y="21"/>
                    <a:pt x="24" y="18"/>
                  </a:cubicBezTo>
                  <a:cubicBezTo>
                    <a:pt x="24" y="15"/>
                    <a:pt x="21" y="12"/>
                    <a:pt x="18"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sp>
          <p:nvSpPr>
            <p:cNvPr id="167" name="Freeform 15">
              <a:extLst>
                <a:ext uri="{FF2B5EF4-FFF2-40B4-BE49-F238E27FC236}">
                  <a16:creationId xmlns:a16="http://schemas.microsoft.com/office/drawing/2014/main" id="{51EC10D8-980E-A70B-8795-3B31B3FDF58F}"/>
                </a:ext>
              </a:extLst>
            </p:cNvPr>
            <p:cNvSpPr>
              <a:spLocks/>
            </p:cNvSpPr>
            <p:nvPr/>
          </p:nvSpPr>
          <p:spPr bwMode="auto">
            <a:xfrm>
              <a:off x="6542" y="3242"/>
              <a:ext cx="186" cy="142"/>
            </a:xfrm>
            <a:custGeom>
              <a:avLst/>
              <a:gdLst>
                <a:gd name="T0" fmla="*/ 120 w 126"/>
                <a:gd name="T1" fmla="*/ 96 h 96"/>
                <a:gd name="T2" fmla="*/ 18 w 126"/>
                <a:gd name="T3" fmla="*/ 96 h 96"/>
                <a:gd name="T4" fmla="*/ 0 w 126"/>
                <a:gd name="T5" fmla="*/ 78 h 96"/>
                <a:gd name="T6" fmla="*/ 0 w 126"/>
                <a:gd name="T7" fmla="*/ 18 h 96"/>
                <a:gd name="T8" fmla="*/ 18 w 126"/>
                <a:gd name="T9" fmla="*/ 0 h 96"/>
                <a:gd name="T10" fmla="*/ 108 w 126"/>
                <a:gd name="T11" fmla="*/ 0 h 96"/>
                <a:gd name="T12" fmla="*/ 114 w 126"/>
                <a:gd name="T13" fmla="*/ 6 h 96"/>
                <a:gd name="T14" fmla="*/ 108 w 126"/>
                <a:gd name="T15" fmla="*/ 12 h 96"/>
                <a:gd name="T16" fmla="*/ 18 w 126"/>
                <a:gd name="T17" fmla="*/ 12 h 96"/>
                <a:gd name="T18" fmla="*/ 12 w 126"/>
                <a:gd name="T19" fmla="*/ 18 h 96"/>
                <a:gd name="T20" fmla="*/ 12 w 126"/>
                <a:gd name="T21" fmla="*/ 78 h 96"/>
                <a:gd name="T22" fmla="*/ 18 w 126"/>
                <a:gd name="T23" fmla="*/ 84 h 96"/>
                <a:gd name="T24" fmla="*/ 120 w 126"/>
                <a:gd name="T25" fmla="*/ 84 h 96"/>
                <a:gd name="T26" fmla="*/ 126 w 126"/>
                <a:gd name="T27" fmla="*/ 90 h 96"/>
                <a:gd name="T28" fmla="*/ 120 w 126"/>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96">
                  <a:moveTo>
                    <a:pt x="120" y="96"/>
                  </a:moveTo>
                  <a:cubicBezTo>
                    <a:pt x="18" y="96"/>
                    <a:pt x="18" y="96"/>
                    <a:pt x="18" y="96"/>
                  </a:cubicBezTo>
                  <a:cubicBezTo>
                    <a:pt x="8" y="96"/>
                    <a:pt x="0" y="88"/>
                    <a:pt x="0" y="78"/>
                  </a:cubicBezTo>
                  <a:cubicBezTo>
                    <a:pt x="0" y="18"/>
                    <a:pt x="0" y="18"/>
                    <a:pt x="0" y="18"/>
                  </a:cubicBezTo>
                  <a:cubicBezTo>
                    <a:pt x="0" y="8"/>
                    <a:pt x="8" y="0"/>
                    <a:pt x="18" y="0"/>
                  </a:cubicBezTo>
                  <a:cubicBezTo>
                    <a:pt x="108" y="0"/>
                    <a:pt x="108" y="0"/>
                    <a:pt x="108" y="0"/>
                  </a:cubicBezTo>
                  <a:cubicBezTo>
                    <a:pt x="111" y="0"/>
                    <a:pt x="114" y="3"/>
                    <a:pt x="114" y="6"/>
                  </a:cubicBezTo>
                  <a:cubicBezTo>
                    <a:pt x="114" y="9"/>
                    <a:pt x="111" y="12"/>
                    <a:pt x="108" y="12"/>
                  </a:cubicBezTo>
                  <a:cubicBezTo>
                    <a:pt x="18" y="12"/>
                    <a:pt x="18" y="12"/>
                    <a:pt x="18" y="12"/>
                  </a:cubicBezTo>
                  <a:cubicBezTo>
                    <a:pt x="15" y="12"/>
                    <a:pt x="12" y="15"/>
                    <a:pt x="12" y="18"/>
                  </a:cubicBezTo>
                  <a:cubicBezTo>
                    <a:pt x="12" y="78"/>
                    <a:pt x="12" y="78"/>
                    <a:pt x="12" y="78"/>
                  </a:cubicBezTo>
                  <a:cubicBezTo>
                    <a:pt x="12" y="81"/>
                    <a:pt x="15" y="84"/>
                    <a:pt x="18" y="84"/>
                  </a:cubicBezTo>
                  <a:cubicBezTo>
                    <a:pt x="120" y="84"/>
                    <a:pt x="120" y="84"/>
                    <a:pt x="120" y="84"/>
                  </a:cubicBezTo>
                  <a:cubicBezTo>
                    <a:pt x="123" y="84"/>
                    <a:pt x="126" y="87"/>
                    <a:pt x="126" y="90"/>
                  </a:cubicBezTo>
                  <a:cubicBezTo>
                    <a:pt x="126" y="93"/>
                    <a:pt x="123" y="96"/>
                    <a:pt x="120" y="9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sp>
          <p:nvSpPr>
            <p:cNvPr id="168" name="Freeform 16">
              <a:extLst>
                <a:ext uri="{FF2B5EF4-FFF2-40B4-BE49-F238E27FC236}">
                  <a16:creationId xmlns:a16="http://schemas.microsoft.com/office/drawing/2014/main" id="{E39747F1-3514-70B7-7281-7B9F2C601973}"/>
                </a:ext>
              </a:extLst>
            </p:cNvPr>
            <p:cNvSpPr>
              <a:spLocks noEditPoints="1"/>
            </p:cNvSpPr>
            <p:nvPr/>
          </p:nvSpPr>
          <p:spPr bwMode="auto">
            <a:xfrm>
              <a:off x="6587" y="3286"/>
              <a:ext cx="53" cy="5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5" y="12"/>
                    <a:pt x="12" y="15"/>
                    <a:pt x="12" y="18"/>
                  </a:cubicBezTo>
                  <a:cubicBezTo>
                    <a:pt x="12" y="21"/>
                    <a:pt x="15" y="24"/>
                    <a:pt x="18" y="24"/>
                  </a:cubicBezTo>
                  <a:cubicBezTo>
                    <a:pt x="21" y="24"/>
                    <a:pt x="24" y="21"/>
                    <a:pt x="24" y="18"/>
                  </a:cubicBezTo>
                  <a:cubicBezTo>
                    <a:pt x="24" y="15"/>
                    <a:pt x="21" y="12"/>
                    <a:pt x="18"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A100FF">
                    <a:lumMod val="50000"/>
                  </a:srgbClr>
                </a:solidFill>
                <a:latin typeface="Graphik"/>
                <a:cs typeface="+mn-cs"/>
              </a:endParaRPr>
            </a:p>
          </p:txBody>
        </p:sp>
      </p:grpSp>
      <p:sp>
        <p:nvSpPr>
          <p:cNvPr id="307" name="TextBox 306">
            <a:extLst>
              <a:ext uri="{FF2B5EF4-FFF2-40B4-BE49-F238E27FC236}">
                <a16:creationId xmlns:a16="http://schemas.microsoft.com/office/drawing/2014/main" id="{58F69FAF-44B1-27EE-51DC-5863366A2D8B}"/>
              </a:ext>
            </a:extLst>
          </p:cNvPr>
          <p:cNvSpPr txBox="1"/>
          <p:nvPr/>
        </p:nvSpPr>
        <p:spPr>
          <a:xfrm>
            <a:off x="3590787" y="1581572"/>
            <a:ext cx="920385" cy="138499"/>
          </a:xfrm>
          <a:prstGeom prst="rect">
            <a:avLst/>
          </a:prstGeom>
          <a:ln>
            <a:noFill/>
          </a:ln>
        </p:spPr>
        <p:txBody>
          <a:bodyPr vert="horz" wrap="square" lIns="0" tIns="0" rIns="0" bIns="0" rtlCol="0" anchor="ctr">
            <a:spAutoFit/>
          </a:bodyPr>
          <a:lstStyle/>
          <a:p>
            <a:pPr defTabSz="685783" fontAlgn="auto">
              <a:spcBef>
                <a:spcPts val="0"/>
              </a:spcBef>
              <a:spcAft>
                <a:spcPts val="225"/>
              </a:spcAft>
              <a:defRPr/>
            </a:pPr>
            <a:r>
              <a:rPr lang="en-US" sz="900" b="1">
                <a:solidFill>
                  <a:srgbClr val="000000">
                    <a:lumMod val="100000"/>
                  </a:srgbClr>
                </a:solidFill>
                <a:latin typeface="Graphik" panose="020B0503030202060203" pitchFamily="34" charset="0"/>
                <a:cs typeface="+mn-cs"/>
              </a:rPr>
              <a:t>Data &amp; AI Strategy</a:t>
            </a:r>
          </a:p>
        </p:txBody>
      </p:sp>
      <p:sp>
        <p:nvSpPr>
          <p:cNvPr id="109" name="Freeform 116">
            <a:extLst>
              <a:ext uri="{FF2B5EF4-FFF2-40B4-BE49-F238E27FC236}">
                <a16:creationId xmlns:a16="http://schemas.microsoft.com/office/drawing/2014/main" id="{F3AEFD9C-8D7F-E91A-3893-FC7114BBB67C}"/>
              </a:ext>
            </a:extLst>
          </p:cNvPr>
          <p:cNvSpPr>
            <a:spLocks noEditPoints="1"/>
          </p:cNvSpPr>
          <p:nvPr/>
        </p:nvSpPr>
        <p:spPr bwMode="auto">
          <a:xfrm>
            <a:off x="3209992" y="2987249"/>
            <a:ext cx="275984" cy="267374"/>
          </a:xfrm>
          <a:custGeom>
            <a:avLst/>
            <a:gdLst>
              <a:gd name="T0" fmla="*/ 275 w 303"/>
              <a:gd name="T1" fmla="*/ 162 h 288"/>
              <a:gd name="T2" fmla="*/ 278 w 303"/>
              <a:gd name="T3" fmla="*/ 162 h 288"/>
              <a:gd name="T4" fmla="*/ 139 w 303"/>
              <a:gd name="T5" fmla="*/ 22 h 288"/>
              <a:gd name="T6" fmla="*/ 113 w 303"/>
              <a:gd name="T7" fmla="*/ 0 h 288"/>
              <a:gd name="T8" fmla="*/ 91 w 303"/>
              <a:gd name="T9" fmla="*/ 37 h 288"/>
              <a:gd name="T10" fmla="*/ 43 w 303"/>
              <a:gd name="T11" fmla="*/ 84 h 288"/>
              <a:gd name="T12" fmla="*/ 34 w 303"/>
              <a:gd name="T13" fmla="*/ 83 h 288"/>
              <a:gd name="T14" fmla="*/ 26 w 303"/>
              <a:gd name="T15" fmla="*/ 150 h 288"/>
              <a:gd name="T16" fmla="*/ 77 w 303"/>
              <a:gd name="T17" fmla="*/ 249 h 288"/>
              <a:gd name="T18" fmla="*/ 97 w 303"/>
              <a:gd name="T19" fmla="*/ 288 h 288"/>
              <a:gd name="T20" fmla="*/ 121 w 303"/>
              <a:gd name="T21" fmla="*/ 271 h 288"/>
              <a:gd name="T22" fmla="*/ 253 w 303"/>
              <a:gd name="T23" fmla="*/ 225 h 288"/>
              <a:gd name="T24" fmla="*/ 269 w 303"/>
              <a:gd name="T25" fmla="*/ 229 h 288"/>
              <a:gd name="T26" fmla="*/ 253 w 303"/>
              <a:gd name="T27" fmla="*/ 165 h 288"/>
              <a:gd name="T28" fmla="*/ 247 w 303"/>
              <a:gd name="T29" fmla="*/ 170 h 288"/>
              <a:gd name="T30" fmla="*/ 238 w 303"/>
              <a:gd name="T31" fmla="*/ 209 h 288"/>
              <a:gd name="T32" fmla="*/ 115 w 303"/>
              <a:gd name="T33" fmla="*/ 224 h 288"/>
              <a:gd name="T34" fmla="*/ 45 w 303"/>
              <a:gd name="T35" fmla="*/ 148 h 288"/>
              <a:gd name="T36" fmla="*/ 66 w 303"/>
              <a:gd name="T37" fmla="*/ 104 h 288"/>
              <a:gd name="T38" fmla="*/ 170 w 303"/>
              <a:gd name="T39" fmla="*/ 134 h 288"/>
              <a:gd name="T40" fmla="*/ 253 w 303"/>
              <a:gd name="T41" fmla="*/ 165 h 288"/>
              <a:gd name="T42" fmla="*/ 250 w 303"/>
              <a:gd name="T43" fmla="*/ 168 h 288"/>
              <a:gd name="T44" fmla="*/ 247 w 303"/>
              <a:gd name="T45" fmla="*/ 170 h 288"/>
              <a:gd name="T46" fmla="*/ 243 w 303"/>
              <a:gd name="T47" fmla="*/ 174 h 288"/>
              <a:gd name="T48" fmla="*/ 241 w 303"/>
              <a:gd name="T49" fmla="*/ 177 h 288"/>
              <a:gd name="T50" fmla="*/ 239 w 303"/>
              <a:gd name="T51" fmla="*/ 181 h 288"/>
              <a:gd name="T52" fmla="*/ 237 w 303"/>
              <a:gd name="T53" fmla="*/ 186 h 288"/>
              <a:gd name="T54" fmla="*/ 236 w 303"/>
              <a:gd name="T55" fmla="*/ 190 h 288"/>
              <a:gd name="T56" fmla="*/ 139 w 303"/>
              <a:gd name="T57" fmla="*/ 91 h 288"/>
              <a:gd name="T58" fmla="*/ 170 w 303"/>
              <a:gd name="T59" fmla="*/ 123 h 288"/>
              <a:gd name="T60" fmla="*/ 128 w 303"/>
              <a:gd name="T61" fmla="*/ 25 h 288"/>
              <a:gd name="T62" fmla="*/ 110 w 303"/>
              <a:gd name="T63" fmla="*/ 39 h 288"/>
              <a:gd name="T64" fmla="*/ 52 w 303"/>
              <a:gd name="T65" fmla="*/ 88 h 288"/>
              <a:gd name="T66" fmla="*/ 60 w 303"/>
              <a:gd name="T67" fmla="*/ 77 h 288"/>
              <a:gd name="T68" fmla="*/ 99 w 303"/>
              <a:gd name="T69" fmla="*/ 45 h 288"/>
              <a:gd name="T70" fmla="*/ 137 w 303"/>
              <a:gd name="T71" fmla="*/ 33 h 288"/>
              <a:gd name="T72" fmla="*/ 137 w 303"/>
              <a:gd name="T73" fmla="*/ 32 h 288"/>
              <a:gd name="T74" fmla="*/ 152 w 303"/>
              <a:gd name="T75" fmla="*/ 31 h 288"/>
              <a:gd name="T76" fmla="*/ 184 w 303"/>
              <a:gd name="T77" fmla="*/ 36 h 288"/>
              <a:gd name="T78" fmla="*/ 269 w 303"/>
              <a:gd name="T79" fmla="*/ 140 h 288"/>
              <a:gd name="T80" fmla="*/ 269 w 303"/>
              <a:gd name="T81" fmla="*/ 148 h 288"/>
              <a:gd name="T82" fmla="*/ 213 w 303"/>
              <a:gd name="T83" fmla="*/ 91 h 288"/>
              <a:gd name="T84" fmla="*/ 60 w 303"/>
              <a:gd name="T85" fmla="*/ 94 h 288"/>
              <a:gd name="T86" fmla="*/ 59 w 303"/>
              <a:gd name="T87" fmla="*/ 94 h 288"/>
              <a:gd name="T88" fmla="*/ 52 w 303"/>
              <a:gd name="T89" fmla="*/ 88 h 288"/>
              <a:gd name="T90" fmla="*/ 47 w 303"/>
              <a:gd name="T91" fmla="*/ 97 h 288"/>
              <a:gd name="T92" fmla="*/ 34 w 303"/>
              <a:gd name="T93" fmla="*/ 140 h 288"/>
              <a:gd name="T94" fmla="*/ 83 w 303"/>
              <a:gd name="T95" fmla="*/ 263 h 288"/>
              <a:gd name="T96" fmla="*/ 109 w 303"/>
              <a:gd name="T97" fmla="*/ 255 h 288"/>
              <a:gd name="T98" fmla="*/ 97 w 303"/>
              <a:gd name="T99" fmla="*/ 278 h 288"/>
              <a:gd name="T100" fmla="*/ 122 w 303"/>
              <a:gd name="T101" fmla="*/ 261 h 288"/>
              <a:gd name="T102" fmla="*/ 121 w 303"/>
              <a:gd name="T103" fmla="*/ 260 h 288"/>
              <a:gd name="T104" fmla="*/ 84 w 303"/>
              <a:gd name="T105" fmla="*/ 242 h 288"/>
              <a:gd name="T106" fmla="*/ 56 w 303"/>
              <a:gd name="T107" fmla="*/ 213 h 288"/>
              <a:gd name="T108" fmla="*/ 38 w 303"/>
              <a:gd name="T109" fmla="*/ 165 h 288"/>
              <a:gd name="T110" fmla="*/ 112 w 303"/>
              <a:gd name="T111" fmla="*/ 233 h 288"/>
              <a:gd name="T112" fmla="*/ 243 w 303"/>
              <a:gd name="T113" fmla="*/ 218 h 288"/>
              <a:gd name="T114" fmla="*/ 245 w 303"/>
              <a:gd name="T115" fmla="*/ 219 h 288"/>
              <a:gd name="T116" fmla="*/ 246 w 303"/>
              <a:gd name="T117" fmla="*/ 195 h 288"/>
              <a:gd name="T118" fmla="*/ 270 w 303"/>
              <a:gd name="T119"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 h="288">
                <a:moveTo>
                  <a:pt x="279" y="163"/>
                </a:moveTo>
                <a:cubicBezTo>
                  <a:pt x="279" y="163"/>
                  <a:pt x="279" y="163"/>
                  <a:pt x="279" y="163"/>
                </a:cubicBezTo>
                <a:cubicBezTo>
                  <a:pt x="278" y="162"/>
                  <a:pt x="277" y="162"/>
                  <a:pt x="275" y="162"/>
                </a:cubicBezTo>
                <a:cubicBezTo>
                  <a:pt x="277" y="162"/>
                  <a:pt x="278" y="162"/>
                  <a:pt x="279" y="163"/>
                </a:cubicBezTo>
                <a:cubicBezTo>
                  <a:pt x="278" y="162"/>
                  <a:pt x="278" y="162"/>
                  <a:pt x="278" y="162"/>
                </a:cubicBezTo>
                <a:cubicBezTo>
                  <a:pt x="278" y="162"/>
                  <a:pt x="278" y="162"/>
                  <a:pt x="278" y="162"/>
                </a:cubicBezTo>
                <a:cubicBezTo>
                  <a:pt x="279" y="157"/>
                  <a:pt x="279" y="152"/>
                  <a:pt x="279" y="148"/>
                </a:cubicBezTo>
                <a:cubicBezTo>
                  <a:pt x="279" y="78"/>
                  <a:pt x="223" y="21"/>
                  <a:pt x="153" y="21"/>
                </a:cubicBezTo>
                <a:cubicBezTo>
                  <a:pt x="148" y="21"/>
                  <a:pt x="144" y="21"/>
                  <a:pt x="139" y="22"/>
                </a:cubicBezTo>
                <a:cubicBezTo>
                  <a:pt x="139" y="22"/>
                  <a:pt x="139" y="22"/>
                  <a:pt x="139" y="22"/>
                </a:cubicBezTo>
                <a:cubicBezTo>
                  <a:pt x="138" y="21"/>
                  <a:pt x="138" y="21"/>
                  <a:pt x="138" y="21"/>
                </a:cubicBezTo>
                <a:cubicBezTo>
                  <a:pt x="136" y="9"/>
                  <a:pt x="125" y="0"/>
                  <a:pt x="113" y="0"/>
                </a:cubicBezTo>
                <a:cubicBezTo>
                  <a:pt x="100" y="0"/>
                  <a:pt x="88" y="11"/>
                  <a:pt x="88" y="25"/>
                </a:cubicBezTo>
                <a:cubicBezTo>
                  <a:pt x="88" y="29"/>
                  <a:pt x="89" y="33"/>
                  <a:pt x="91" y="36"/>
                </a:cubicBezTo>
                <a:cubicBezTo>
                  <a:pt x="91" y="37"/>
                  <a:pt x="91" y="37"/>
                  <a:pt x="91" y="37"/>
                </a:cubicBezTo>
                <a:cubicBezTo>
                  <a:pt x="91" y="37"/>
                  <a:pt x="91" y="37"/>
                  <a:pt x="91" y="37"/>
                </a:cubicBezTo>
                <a:cubicBezTo>
                  <a:pt x="71" y="48"/>
                  <a:pt x="55" y="64"/>
                  <a:pt x="44" y="83"/>
                </a:cubicBezTo>
                <a:cubicBezTo>
                  <a:pt x="43" y="84"/>
                  <a:pt x="43" y="84"/>
                  <a:pt x="43" y="84"/>
                </a:cubicBezTo>
                <a:cubicBezTo>
                  <a:pt x="43" y="84"/>
                  <a:pt x="43" y="84"/>
                  <a:pt x="43" y="84"/>
                </a:cubicBezTo>
                <a:cubicBezTo>
                  <a:pt x="41" y="84"/>
                  <a:pt x="39" y="83"/>
                  <a:pt x="38" y="83"/>
                </a:cubicBezTo>
                <a:cubicBezTo>
                  <a:pt x="37" y="83"/>
                  <a:pt x="36" y="83"/>
                  <a:pt x="34" y="83"/>
                </a:cubicBezTo>
                <a:cubicBezTo>
                  <a:pt x="15" y="83"/>
                  <a:pt x="0" y="98"/>
                  <a:pt x="0" y="117"/>
                </a:cubicBezTo>
                <a:cubicBezTo>
                  <a:pt x="0" y="132"/>
                  <a:pt x="11" y="146"/>
                  <a:pt x="25" y="150"/>
                </a:cubicBezTo>
                <a:cubicBezTo>
                  <a:pt x="26" y="150"/>
                  <a:pt x="26" y="150"/>
                  <a:pt x="26" y="150"/>
                </a:cubicBezTo>
                <a:cubicBezTo>
                  <a:pt x="26" y="151"/>
                  <a:pt x="26" y="151"/>
                  <a:pt x="26" y="151"/>
                </a:cubicBezTo>
                <a:cubicBezTo>
                  <a:pt x="27" y="189"/>
                  <a:pt x="45" y="226"/>
                  <a:pt x="76" y="249"/>
                </a:cubicBezTo>
                <a:cubicBezTo>
                  <a:pt x="77" y="249"/>
                  <a:pt x="77" y="249"/>
                  <a:pt x="77" y="249"/>
                </a:cubicBezTo>
                <a:cubicBezTo>
                  <a:pt x="76" y="250"/>
                  <a:pt x="76" y="250"/>
                  <a:pt x="76" y="250"/>
                </a:cubicBezTo>
                <a:cubicBezTo>
                  <a:pt x="73" y="255"/>
                  <a:pt x="72" y="259"/>
                  <a:pt x="72" y="263"/>
                </a:cubicBezTo>
                <a:cubicBezTo>
                  <a:pt x="72" y="278"/>
                  <a:pt x="83" y="288"/>
                  <a:pt x="97" y="288"/>
                </a:cubicBezTo>
                <a:cubicBezTo>
                  <a:pt x="108" y="288"/>
                  <a:pt x="117" y="282"/>
                  <a:pt x="120" y="272"/>
                </a:cubicBezTo>
                <a:cubicBezTo>
                  <a:pt x="121" y="271"/>
                  <a:pt x="121" y="271"/>
                  <a:pt x="121" y="271"/>
                </a:cubicBezTo>
                <a:cubicBezTo>
                  <a:pt x="121" y="271"/>
                  <a:pt x="121" y="271"/>
                  <a:pt x="121" y="271"/>
                </a:cubicBezTo>
                <a:cubicBezTo>
                  <a:pt x="131" y="273"/>
                  <a:pt x="141" y="275"/>
                  <a:pt x="153" y="275"/>
                </a:cubicBezTo>
                <a:cubicBezTo>
                  <a:pt x="191" y="275"/>
                  <a:pt x="228" y="257"/>
                  <a:pt x="253" y="226"/>
                </a:cubicBezTo>
                <a:cubicBezTo>
                  <a:pt x="253" y="225"/>
                  <a:pt x="253" y="225"/>
                  <a:pt x="253" y="225"/>
                </a:cubicBezTo>
                <a:cubicBezTo>
                  <a:pt x="254" y="226"/>
                  <a:pt x="254" y="226"/>
                  <a:pt x="254" y="226"/>
                </a:cubicBezTo>
                <a:cubicBezTo>
                  <a:pt x="256" y="227"/>
                  <a:pt x="259" y="228"/>
                  <a:pt x="262" y="228"/>
                </a:cubicBezTo>
                <a:cubicBezTo>
                  <a:pt x="265" y="229"/>
                  <a:pt x="267" y="229"/>
                  <a:pt x="269" y="229"/>
                </a:cubicBezTo>
                <a:cubicBezTo>
                  <a:pt x="288" y="229"/>
                  <a:pt x="303" y="214"/>
                  <a:pt x="303" y="195"/>
                </a:cubicBezTo>
                <a:cubicBezTo>
                  <a:pt x="303" y="180"/>
                  <a:pt x="293" y="167"/>
                  <a:pt x="279" y="163"/>
                </a:cubicBezTo>
                <a:close/>
                <a:moveTo>
                  <a:pt x="253" y="165"/>
                </a:moveTo>
                <a:cubicBezTo>
                  <a:pt x="252" y="166"/>
                  <a:pt x="251" y="167"/>
                  <a:pt x="250" y="167"/>
                </a:cubicBezTo>
                <a:cubicBezTo>
                  <a:pt x="250" y="168"/>
                  <a:pt x="249" y="168"/>
                  <a:pt x="249" y="169"/>
                </a:cubicBezTo>
                <a:cubicBezTo>
                  <a:pt x="248" y="169"/>
                  <a:pt x="248" y="169"/>
                  <a:pt x="247" y="170"/>
                </a:cubicBezTo>
                <a:cubicBezTo>
                  <a:pt x="240" y="176"/>
                  <a:pt x="235" y="185"/>
                  <a:pt x="235" y="195"/>
                </a:cubicBezTo>
                <a:cubicBezTo>
                  <a:pt x="235" y="200"/>
                  <a:pt x="236" y="204"/>
                  <a:pt x="238" y="208"/>
                </a:cubicBezTo>
                <a:cubicBezTo>
                  <a:pt x="238" y="209"/>
                  <a:pt x="238" y="209"/>
                  <a:pt x="238" y="209"/>
                </a:cubicBezTo>
                <a:cubicBezTo>
                  <a:pt x="238" y="209"/>
                  <a:pt x="238" y="209"/>
                  <a:pt x="238" y="209"/>
                </a:cubicBezTo>
                <a:cubicBezTo>
                  <a:pt x="219" y="219"/>
                  <a:pt x="191" y="231"/>
                  <a:pt x="158" y="231"/>
                </a:cubicBezTo>
                <a:cubicBezTo>
                  <a:pt x="143" y="231"/>
                  <a:pt x="129" y="229"/>
                  <a:pt x="115" y="224"/>
                </a:cubicBezTo>
                <a:cubicBezTo>
                  <a:pt x="61" y="204"/>
                  <a:pt x="48" y="165"/>
                  <a:pt x="46" y="149"/>
                </a:cubicBezTo>
                <a:cubicBezTo>
                  <a:pt x="46" y="149"/>
                  <a:pt x="46" y="149"/>
                  <a:pt x="46" y="149"/>
                </a:cubicBezTo>
                <a:cubicBezTo>
                  <a:pt x="45" y="148"/>
                  <a:pt x="45" y="148"/>
                  <a:pt x="45" y="148"/>
                </a:cubicBezTo>
                <a:cubicBezTo>
                  <a:pt x="46" y="148"/>
                  <a:pt x="46" y="148"/>
                  <a:pt x="46" y="148"/>
                </a:cubicBezTo>
                <a:cubicBezTo>
                  <a:pt x="59" y="143"/>
                  <a:pt x="68" y="131"/>
                  <a:pt x="68" y="117"/>
                </a:cubicBezTo>
                <a:cubicBezTo>
                  <a:pt x="68" y="113"/>
                  <a:pt x="67" y="108"/>
                  <a:pt x="66" y="104"/>
                </a:cubicBezTo>
                <a:cubicBezTo>
                  <a:pt x="76" y="99"/>
                  <a:pt x="99" y="88"/>
                  <a:pt x="128" y="86"/>
                </a:cubicBezTo>
                <a:cubicBezTo>
                  <a:pt x="127" y="88"/>
                  <a:pt x="127" y="90"/>
                  <a:pt x="127" y="91"/>
                </a:cubicBezTo>
                <a:cubicBezTo>
                  <a:pt x="127" y="115"/>
                  <a:pt x="146" y="134"/>
                  <a:pt x="170" y="134"/>
                </a:cubicBezTo>
                <a:cubicBezTo>
                  <a:pt x="188" y="134"/>
                  <a:pt x="203" y="124"/>
                  <a:pt x="209" y="109"/>
                </a:cubicBezTo>
                <a:cubicBezTo>
                  <a:pt x="228" y="122"/>
                  <a:pt x="245" y="140"/>
                  <a:pt x="261" y="162"/>
                </a:cubicBezTo>
                <a:cubicBezTo>
                  <a:pt x="258" y="163"/>
                  <a:pt x="256" y="164"/>
                  <a:pt x="253" y="165"/>
                </a:cubicBezTo>
                <a:cubicBezTo>
                  <a:pt x="253" y="165"/>
                  <a:pt x="253" y="165"/>
                  <a:pt x="253" y="165"/>
                </a:cubicBezTo>
                <a:cubicBezTo>
                  <a:pt x="253" y="165"/>
                  <a:pt x="253" y="165"/>
                  <a:pt x="253" y="165"/>
                </a:cubicBezTo>
                <a:close/>
                <a:moveTo>
                  <a:pt x="250" y="168"/>
                </a:moveTo>
                <a:cubicBezTo>
                  <a:pt x="250" y="168"/>
                  <a:pt x="249" y="168"/>
                  <a:pt x="249" y="168"/>
                </a:cubicBezTo>
                <a:cubicBezTo>
                  <a:pt x="249" y="168"/>
                  <a:pt x="250" y="168"/>
                  <a:pt x="250" y="168"/>
                </a:cubicBezTo>
                <a:close/>
                <a:moveTo>
                  <a:pt x="247" y="170"/>
                </a:moveTo>
                <a:cubicBezTo>
                  <a:pt x="246" y="170"/>
                  <a:pt x="246" y="171"/>
                  <a:pt x="246" y="171"/>
                </a:cubicBezTo>
                <a:cubicBezTo>
                  <a:pt x="246" y="171"/>
                  <a:pt x="246" y="170"/>
                  <a:pt x="247" y="170"/>
                </a:cubicBezTo>
                <a:close/>
                <a:moveTo>
                  <a:pt x="243" y="174"/>
                </a:moveTo>
                <a:cubicBezTo>
                  <a:pt x="243" y="174"/>
                  <a:pt x="243" y="174"/>
                  <a:pt x="243" y="174"/>
                </a:cubicBezTo>
                <a:cubicBezTo>
                  <a:pt x="243" y="174"/>
                  <a:pt x="243" y="174"/>
                  <a:pt x="243" y="174"/>
                </a:cubicBezTo>
                <a:close/>
                <a:moveTo>
                  <a:pt x="241" y="177"/>
                </a:moveTo>
                <a:cubicBezTo>
                  <a:pt x="241" y="178"/>
                  <a:pt x="240" y="178"/>
                  <a:pt x="240" y="178"/>
                </a:cubicBezTo>
                <a:cubicBezTo>
                  <a:pt x="240" y="178"/>
                  <a:pt x="241" y="178"/>
                  <a:pt x="241" y="177"/>
                </a:cubicBezTo>
                <a:close/>
                <a:moveTo>
                  <a:pt x="239" y="181"/>
                </a:moveTo>
                <a:cubicBezTo>
                  <a:pt x="239" y="181"/>
                  <a:pt x="238" y="182"/>
                  <a:pt x="238" y="182"/>
                </a:cubicBezTo>
                <a:cubicBezTo>
                  <a:pt x="238" y="182"/>
                  <a:pt x="239" y="181"/>
                  <a:pt x="239" y="181"/>
                </a:cubicBezTo>
                <a:close/>
                <a:moveTo>
                  <a:pt x="237" y="186"/>
                </a:moveTo>
                <a:cubicBezTo>
                  <a:pt x="237" y="186"/>
                  <a:pt x="237" y="186"/>
                  <a:pt x="237" y="187"/>
                </a:cubicBezTo>
                <a:cubicBezTo>
                  <a:pt x="237" y="186"/>
                  <a:pt x="237" y="186"/>
                  <a:pt x="237" y="186"/>
                </a:cubicBezTo>
                <a:close/>
                <a:moveTo>
                  <a:pt x="236" y="190"/>
                </a:moveTo>
                <a:cubicBezTo>
                  <a:pt x="236" y="190"/>
                  <a:pt x="236" y="191"/>
                  <a:pt x="236" y="191"/>
                </a:cubicBezTo>
                <a:cubicBezTo>
                  <a:pt x="236" y="191"/>
                  <a:pt x="236" y="190"/>
                  <a:pt x="236" y="190"/>
                </a:cubicBezTo>
                <a:close/>
                <a:moveTo>
                  <a:pt x="139" y="91"/>
                </a:moveTo>
                <a:cubicBezTo>
                  <a:pt x="139" y="74"/>
                  <a:pt x="153" y="60"/>
                  <a:pt x="170" y="60"/>
                </a:cubicBezTo>
                <a:cubicBezTo>
                  <a:pt x="187" y="60"/>
                  <a:pt x="201" y="74"/>
                  <a:pt x="201" y="91"/>
                </a:cubicBezTo>
                <a:cubicBezTo>
                  <a:pt x="201" y="109"/>
                  <a:pt x="187" y="123"/>
                  <a:pt x="170" y="123"/>
                </a:cubicBezTo>
                <a:cubicBezTo>
                  <a:pt x="153" y="123"/>
                  <a:pt x="139" y="109"/>
                  <a:pt x="139" y="91"/>
                </a:cubicBezTo>
                <a:close/>
                <a:moveTo>
                  <a:pt x="113" y="11"/>
                </a:moveTo>
                <a:cubicBezTo>
                  <a:pt x="122" y="11"/>
                  <a:pt x="128" y="17"/>
                  <a:pt x="128" y="25"/>
                </a:cubicBezTo>
                <a:cubicBezTo>
                  <a:pt x="128" y="28"/>
                  <a:pt x="127" y="32"/>
                  <a:pt x="124" y="35"/>
                </a:cubicBezTo>
                <a:cubicBezTo>
                  <a:pt x="122" y="38"/>
                  <a:pt x="118" y="40"/>
                  <a:pt x="113" y="40"/>
                </a:cubicBezTo>
                <a:cubicBezTo>
                  <a:pt x="112" y="40"/>
                  <a:pt x="111" y="40"/>
                  <a:pt x="110" y="39"/>
                </a:cubicBezTo>
                <a:cubicBezTo>
                  <a:pt x="103" y="38"/>
                  <a:pt x="99" y="31"/>
                  <a:pt x="99" y="25"/>
                </a:cubicBezTo>
                <a:cubicBezTo>
                  <a:pt x="99" y="17"/>
                  <a:pt x="105" y="11"/>
                  <a:pt x="113" y="11"/>
                </a:cubicBezTo>
                <a:close/>
                <a:moveTo>
                  <a:pt x="52" y="88"/>
                </a:moveTo>
                <a:cubicBezTo>
                  <a:pt x="53" y="87"/>
                  <a:pt x="53" y="87"/>
                  <a:pt x="53" y="87"/>
                </a:cubicBezTo>
                <a:cubicBezTo>
                  <a:pt x="55" y="84"/>
                  <a:pt x="57" y="81"/>
                  <a:pt x="59" y="78"/>
                </a:cubicBezTo>
                <a:cubicBezTo>
                  <a:pt x="59" y="78"/>
                  <a:pt x="60" y="78"/>
                  <a:pt x="60" y="77"/>
                </a:cubicBezTo>
                <a:cubicBezTo>
                  <a:pt x="61" y="76"/>
                  <a:pt x="62" y="75"/>
                  <a:pt x="62" y="74"/>
                </a:cubicBezTo>
                <a:cubicBezTo>
                  <a:pt x="72" y="62"/>
                  <a:pt x="85" y="52"/>
                  <a:pt x="98" y="45"/>
                </a:cubicBezTo>
                <a:cubicBezTo>
                  <a:pt x="99" y="45"/>
                  <a:pt x="99" y="45"/>
                  <a:pt x="99" y="45"/>
                </a:cubicBezTo>
                <a:cubicBezTo>
                  <a:pt x="99" y="45"/>
                  <a:pt x="99" y="45"/>
                  <a:pt x="99" y="45"/>
                </a:cubicBezTo>
                <a:cubicBezTo>
                  <a:pt x="103" y="48"/>
                  <a:pt x="109" y="50"/>
                  <a:pt x="113" y="50"/>
                </a:cubicBezTo>
                <a:cubicBezTo>
                  <a:pt x="124" y="50"/>
                  <a:pt x="133" y="43"/>
                  <a:pt x="137" y="33"/>
                </a:cubicBezTo>
                <a:cubicBezTo>
                  <a:pt x="137" y="32"/>
                  <a:pt x="137" y="32"/>
                  <a:pt x="137" y="32"/>
                </a:cubicBezTo>
                <a:cubicBezTo>
                  <a:pt x="137" y="32"/>
                  <a:pt x="137" y="32"/>
                  <a:pt x="137" y="32"/>
                </a:cubicBezTo>
                <a:cubicBezTo>
                  <a:pt x="137" y="32"/>
                  <a:pt x="137" y="32"/>
                  <a:pt x="137" y="32"/>
                </a:cubicBezTo>
                <a:cubicBezTo>
                  <a:pt x="142" y="31"/>
                  <a:pt x="147" y="31"/>
                  <a:pt x="152" y="31"/>
                </a:cubicBezTo>
                <a:cubicBezTo>
                  <a:pt x="152" y="31"/>
                  <a:pt x="152" y="31"/>
                  <a:pt x="152" y="31"/>
                </a:cubicBezTo>
                <a:cubicBezTo>
                  <a:pt x="152" y="31"/>
                  <a:pt x="152" y="31"/>
                  <a:pt x="152" y="31"/>
                </a:cubicBezTo>
                <a:cubicBezTo>
                  <a:pt x="153" y="31"/>
                  <a:pt x="153" y="31"/>
                  <a:pt x="153" y="31"/>
                </a:cubicBezTo>
                <a:cubicBezTo>
                  <a:pt x="163" y="31"/>
                  <a:pt x="172" y="32"/>
                  <a:pt x="181" y="35"/>
                </a:cubicBezTo>
                <a:cubicBezTo>
                  <a:pt x="182" y="35"/>
                  <a:pt x="183" y="35"/>
                  <a:pt x="184" y="36"/>
                </a:cubicBezTo>
                <a:cubicBezTo>
                  <a:pt x="185" y="36"/>
                  <a:pt x="185" y="36"/>
                  <a:pt x="186" y="36"/>
                </a:cubicBezTo>
                <a:cubicBezTo>
                  <a:pt x="224" y="48"/>
                  <a:pt x="254" y="78"/>
                  <a:pt x="265" y="117"/>
                </a:cubicBezTo>
                <a:cubicBezTo>
                  <a:pt x="267" y="124"/>
                  <a:pt x="268" y="132"/>
                  <a:pt x="269" y="140"/>
                </a:cubicBezTo>
                <a:cubicBezTo>
                  <a:pt x="269" y="142"/>
                  <a:pt x="269" y="143"/>
                  <a:pt x="269" y="145"/>
                </a:cubicBezTo>
                <a:cubicBezTo>
                  <a:pt x="269" y="148"/>
                  <a:pt x="269" y="148"/>
                  <a:pt x="269" y="148"/>
                </a:cubicBezTo>
                <a:cubicBezTo>
                  <a:pt x="269" y="148"/>
                  <a:pt x="269" y="148"/>
                  <a:pt x="269" y="148"/>
                </a:cubicBezTo>
                <a:cubicBezTo>
                  <a:pt x="269" y="150"/>
                  <a:pt x="269" y="151"/>
                  <a:pt x="269" y="153"/>
                </a:cubicBezTo>
                <a:cubicBezTo>
                  <a:pt x="252" y="129"/>
                  <a:pt x="233" y="111"/>
                  <a:pt x="213" y="97"/>
                </a:cubicBezTo>
                <a:cubicBezTo>
                  <a:pt x="213" y="95"/>
                  <a:pt x="213" y="93"/>
                  <a:pt x="213" y="91"/>
                </a:cubicBezTo>
                <a:cubicBezTo>
                  <a:pt x="213" y="68"/>
                  <a:pt x="194" y="48"/>
                  <a:pt x="170" y="48"/>
                </a:cubicBezTo>
                <a:cubicBezTo>
                  <a:pt x="153" y="48"/>
                  <a:pt x="137" y="59"/>
                  <a:pt x="131" y="74"/>
                </a:cubicBezTo>
                <a:cubicBezTo>
                  <a:pt x="97" y="75"/>
                  <a:pt x="71" y="88"/>
                  <a:pt x="60" y="94"/>
                </a:cubicBezTo>
                <a:cubicBezTo>
                  <a:pt x="60" y="94"/>
                  <a:pt x="60" y="94"/>
                  <a:pt x="59" y="94"/>
                </a:cubicBezTo>
                <a:cubicBezTo>
                  <a:pt x="59" y="94"/>
                  <a:pt x="59" y="94"/>
                  <a:pt x="59" y="94"/>
                </a:cubicBezTo>
                <a:cubicBezTo>
                  <a:pt x="59" y="94"/>
                  <a:pt x="59" y="94"/>
                  <a:pt x="59" y="94"/>
                </a:cubicBezTo>
                <a:cubicBezTo>
                  <a:pt x="57" y="92"/>
                  <a:pt x="56" y="91"/>
                  <a:pt x="54" y="89"/>
                </a:cubicBezTo>
                <a:cubicBezTo>
                  <a:pt x="52" y="88"/>
                  <a:pt x="52" y="88"/>
                  <a:pt x="52" y="88"/>
                </a:cubicBezTo>
                <a:cubicBezTo>
                  <a:pt x="52" y="88"/>
                  <a:pt x="52" y="88"/>
                  <a:pt x="52" y="88"/>
                </a:cubicBezTo>
                <a:close/>
                <a:moveTo>
                  <a:pt x="10" y="117"/>
                </a:moveTo>
                <a:cubicBezTo>
                  <a:pt x="10" y="104"/>
                  <a:pt x="21" y="93"/>
                  <a:pt x="34" y="93"/>
                </a:cubicBezTo>
                <a:cubicBezTo>
                  <a:pt x="39" y="93"/>
                  <a:pt x="44" y="95"/>
                  <a:pt x="47" y="97"/>
                </a:cubicBezTo>
                <a:cubicBezTo>
                  <a:pt x="54" y="102"/>
                  <a:pt x="58" y="109"/>
                  <a:pt x="58" y="117"/>
                </a:cubicBezTo>
                <a:cubicBezTo>
                  <a:pt x="58" y="129"/>
                  <a:pt x="48" y="139"/>
                  <a:pt x="36" y="140"/>
                </a:cubicBezTo>
                <a:cubicBezTo>
                  <a:pt x="36" y="140"/>
                  <a:pt x="35" y="140"/>
                  <a:pt x="34" y="140"/>
                </a:cubicBezTo>
                <a:cubicBezTo>
                  <a:pt x="21" y="140"/>
                  <a:pt x="10" y="130"/>
                  <a:pt x="10" y="117"/>
                </a:cubicBezTo>
                <a:close/>
                <a:moveTo>
                  <a:pt x="97" y="278"/>
                </a:moveTo>
                <a:cubicBezTo>
                  <a:pt x="89" y="278"/>
                  <a:pt x="83" y="271"/>
                  <a:pt x="83" y="263"/>
                </a:cubicBezTo>
                <a:cubicBezTo>
                  <a:pt x="83" y="256"/>
                  <a:pt x="89" y="250"/>
                  <a:pt x="96" y="250"/>
                </a:cubicBezTo>
                <a:cubicBezTo>
                  <a:pt x="97" y="250"/>
                  <a:pt x="97" y="250"/>
                  <a:pt x="97" y="250"/>
                </a:cubicBezTo>
                <a:cubicBezTo>
                  <a:pt x="102" y="250"/>
                  <a:pt x="106" y="252"/>
                  <a:pt x="109" y="255"/>
                </a:cubicBezTo>
                <a:cubicBezTo>
                  <a:pt x="110" y="258"/>
                  <a:pt x="111" y="260"/>
                  <a:pt x="112" y="263"/>
                </a:cubicBezTo>
                <a:cubicBezTo>
                  <a:pt x="112" y="265"/>
                  <a:pt x="112" y="265"/>
                  <a:pt x="112" y="265"/>
                </a:cubicBezTo>
                <a:cubicBezTo>
                  <a:pt x="111" y="272"/>
                  <a:pt x="104" y="278"/>
                  <a:pt x="97" y="278"/>
                </a:cubicBezTo>
                <a:close/>
                <a:moveTo>
                  <a:pt x="245" y="219"/>
                </a:moveTo>
                <a:cubicBezTo>
                  <a:pt x="222" y="248"/>
                  <a:pt x="189" y="264"/>
                  <a:pt x="153" y="264"/>
                </a:cubicBezTo>
                <a:cubicBezTo>
                  <a:pt x="141" y="264"/>
                  <a:pt x="131" y="263"/>
                  <a:pt x="122" y="261"/>
                </a:cubicBezTo>
                <a:cubicBezTo>
                  <a:pt x="121" y="261"/>
                  <a:pt x="121" y="261"/>
                  <a:pt x="121" y="261"/>
                </a:cubicBezTo>
                <a:cubicBezTo>
                  <a:pt x="121" y="260"/>
                  <a:pt x="121" y="260"/>
                  <a:pt x="121" y="260"/>
                </a:cubicBezTo>
                <a:cubicBezTo>
                  <a:pt x="121" y="260"/>
                  <a:pt x="121" y="260"/>
                  <a:pt x="121" y="260"/>
                </a:cubicBezTo>
                <a:cubicBezTo>
                  <a:pt x="119" y="248"/>
                  <a:pt x="110" y="239"/>
                  <a:pt x="97" y="239"/>
                </a:cubicBezTo>
                <a:cubicBezTo>
                  <a:pt x="93" y="239"/>
                  <a:pt x="89" y="240"/>
                  <a:pt x="85" y="242"/>
                </a:cubicBezTo>
                <a:cubicBezTo>
                  <a:pt x="84" y="242"/>
                  <a:pt x="84" y="242"/>
                  <a:pt x="84" y="242"/>
                </a:cubicBezTo>
                <a:cubicBezTo>
                  <a:pt x="84" y="242"/>
                  <a:pt x="84" y="242"/>
                  <a:pt x="84" y="242"/>
                </a:cubicBezTo>
                <a:cubicBezTo>
                  <a:pt x="84" y="242"/>
                  <a:pt x="84" y="242"/>
                  <a:pt x="84" y="242"/>
                </a:cubicBezTo>
                <a:cubicBezTo>
                  <a:pt x="73" y="234"/>
                  <a:pt x="63" y="224"/>
                  <a:pt x="56" y="213"/>
                </a:cubicBezTo>
                <a:cubicBezTo>
                  <a:pt x="55" y="211"/>
                  <a:pt x="54" y="209"/>
                  <a:pt x="52" y="207"/>
                </a:cubicBezTo>
                <a:cubicBezTo>
                  <a:pt x="45" y="195"/>
                  <a:pt x="40" y="181"/>
                  <a:pt x="38" y="166"/>
                </a:cubicBezTo>
                <a:cubicBezTo>
                  <a:pt x="38" y="165"/>
                  <a:pt x="38" y="165"/>
                  <a:pt x="38" y="165"/>
                </a:cubicBezTo>
                <a:cubicBezTo>
                  <a:pt x="39" y="165"/>
                  <a:pt x="39" y="165"/>
                  <a:pt x="39" y="165"/>
                </a:cubicBezTo>
                <a:cubicBezTo>
                  <a:pt x="40" y="166"/>
                  <a:pt x="40" y="166"/>
                  <a:pt x="40" y="166"/>
                </a:cubicBezTo>
                <a:cubicBezTo>
                  <a:pt x="45" y="183"/>
                  <a:pt x="62" y="216"/>
                  <a:pt x="112" y="233"/>
                </a:cubicBezTo>
                <a:cubicBezTo>
                  <a:pt x="126" y="238"/>
                  <a:pt x="141" y="241"/>
                  <a:pt x="159" y="241"/>
                </a:cubicBezTo>
                <a:cubicBezTo>
                  <a:pt x="197" y="241"/>
                  <a:pt x="228" y="227"/>
                  <a:pt x="243" y="218"/>
                </a:cubicBezTo>
                <a:cubicBezTo>
                  <a:pt x="243" y="218"/>
                  <a:pt x="243" y="218"/>
                  <a:pt x="243" y="218"/>
                </a:cubicBezTo>
                <a:cubicBezTo>
                  <a:pt x="244" y="218"/>
                  <a:pt x="244" y="218"/>
                  <a:pt x="244" y="218"/>
                </a:cubicBezTo>
                <a:cubicBezTo>
                  <a:pt x="246" y="218"/>
                  <a:pt x="246" y="218"/>
                  <a:pt x="246" y="218"/>
                </a:cubicBezTo>
                <a:cubicBezTo>
                  <a:pt x="245" y="219"/>
                  <a:pt x="245" y="219"/>
                  <a:pt x="245" y="219"/>
                </a:cubicBezTo>
                <a:close/>
                <a:moveTo>
                  <a:pt x="270" y="219"/>
                </a:moveTo>
                <a:cubicBezTo>
                  <a:pt x="269" y="219"/>
                  <a:pt x="269" y="219"/>
                  <a:pt x="269" y="219"/>
                </a:cubicBezTo>
                <a:cubicBezTo>
                  <a:pt x="256" y="219"/>
                  <a:pt x="246" y="208"/>
                  <a:pt x="246" y="195"/>
                </a:cubicBezTo>
                <a:cubicBezTo>
                  <a:pt x="246" y="182"/>
                  <a:pt x="256" y="171"/>
                  <a:pt x="269" y="171"/>
                </a:cubicBezTo>
                <a:cubicBezTo>
                  <a:pt x="282" y="171"/>
                  <a:pt x="293" y="182"/>
                  <a:pt x="293" y="195"/>
                </a:cubicBezTo>
                <a:cubicBezTo>
                  <a:pt x="293" y="208"/>
                  <a:pt x="282" y="219"/>
                  <a:pt x="270" y="219"/>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panose="020B0503030202060203" pitchFamily="34" charset="0"/>
              <a:cs typeface="+mn-cs"/>
            </a:endParaRPr>
          </a:p>
        </p:txBody>
      </p:sp>
      <p:grpSp>
        <p:nvGrpSpPr>
          <p:cNvPr id="113" name="Group 112">
            <a:extLst>
              <a:ext uri="{FF2B5EF4-FFF2-40B4-BE49-F238E27FC236}">
                <a16:creationId xmlns:a16="http://schemas.microsoft.com/office/drawing/2014/main" id="{BBE3561D-9F8E-D403-0D64-31EA35C10B5A}"/>
              </a:ext>
            </a:extLst>
          </p:cNvPr>
          <p:cNvGrpSpPr/>
          <p:nvPr/>
        </p:nvGrpSpPr>
        <p:grpSpPr>
          <a:xfrm>
            <a:off x="3216953" y="3460684"/>
            <a:ext cx="262063" cy="329051"/>
            <a:chOff x="1795463" y="2784475"/>
            <a:chExt cx="457200" cy="582613"/>
          </a:xfrm>
          <a:solidFill>
            <a:schemeClr val="accent2"/>
          </a:solidFill>
        </p:grpSpPr>
        <p:sp>
          <p:nvSpPr>
            <p:cNvPr id="114" name="Freeform 65">
              <a:extLst>
                <a:ext uri="{FF2B5EF4-FFF2-40B4-BE49-F238E27FC236}">
                  <a16:creationId xmlns:a16="http://schemas.microsoft.com/office/drawing/2014/main" id="{4C2FB2B0-DD51-2765-8D14-1828F39110A8}"/>
                </a:ext>
              </a:extLst>
            </p:cNvPr>
            <p:cNvSpPr>
              <a:spLocks noEditPoints="1"/>
            </p:cNvSpPr>
            <p:nvPr/>
          </p:nvSpPr>
          <p:spPr bwMode="auto">
            <a:xfrm>
              <a:off x="1795463" y="2849563"/>
              <a:ext cx="317500" cy="517525"/>
            </a:xfrm>
            <a:custGeom>
              <a:avLst/>
              <a:gdLst>
                <a:gd name="T0" fmla="*/ 46 w 48"/>
                <a:gd name="T1" fmla="*/ 38 h 80"/>
                <a:gd name="T2" fmla="*/ 44 w 48"/>
                <a:gd name="T3" fmla="*/ 40 h 80"/>
                <a:gd name="T4" fmla="*/ 44 w 48"/>
                <a:gd name="T5" fmla="*/ 60 h 80"/>
                <a:gd name="T6" fmla="*/ 4 w 48"/>
                <a:gd name="T7" fmla="*/ 60 h 80"/>
                <a:gd name="T8" fmla="*/ 4 w 48"/>
                <a:gd name="T9" fmla="*/ 20 h 80"/>
                <a:gd name="T10" fmla="*/ 22 w 48"/>
                <a:gd name="T11" fmla="*/ 20 h 80"/>
                <a:gd name="T12" fmla="*/ 24 w 48"/>
                <a:gd name="T13" fmla="*/ 18 h 80"/>
                <a:gd name="T14" fmla="*/ 22 w 48"/>
                <a:gd name="T15" fmla="*/ 16 h 80"/>
                <a:gd name="T16" fmla="*/ 4 w 48"/>
                <a:gd name="T17" fmla="*/ 16 h 80"/>
                <a:gd name="T18" fmla="*/ 4 w 48"/>
                <a:gd name="T19" fmla="*/ 10 h 80"/>
                <a:gd name="T20" fmla="*/ 10 w 48"/>
                <a:gd name="T21" fmla="*/ 4 h 80"/>
                <a:gd name="T22" fmla="*/ 22 w 48"/>
                <a:gd name="T23" fmla="*/ 4 h 80"/>
                <a:gd name="T24" fmla="*/ 24 w 48"/>
                <a:gd name="T25" fmla="*/ 2 h 80"/>
                <a:gd name="T26" fmla="*/ 22 w 48"/>
                <a:gd name="T27" fmla="*/ 0 h 80"/>
                <a:gd name="T28" fmla="*/ 10 w 48"/>
                <a:gd name="T29" fmla="*/ 0 h 80"/>
                <a:gd name="T30" fmla="*/ 0 w 48"/>
                <a:gd name="T31" fmla="*/ 10 h 80"/>
                <a:gd name="T32" fmla="*/ 0 w 48"/>
                <a:gd name="T33" fmla="*/ 70 h 80"/>
                <a:gd name="T34" fmla="*/ 10 w 48"/>
                <a:gd name="T35" fmla="*/ 80 h 80"/>
                <a:gd name="T36" fmla="*/ 38 w 48"/>
                <a:gd name="T37" fmla="*/ 80 h 80"/>
                <a:gd name="T38" fmla="*/ 48 w 48"/>
                <a:gd name="T39" fmla="*/ 70 h 80"/>
                <a:gd name="T40" fmla="*/ 48 w 48"/>
                <a:gd name="T41" fmla="*/ 40 h 80"/>
                <a:gd name="T42" fmla="*/ 46 w 48"/>
                <a:gd name="T43" fmla="*/ 38 h 80"/>
                <a:gd name="T44" fmla="*/ 38 w 48"/>
                <a:gd name="T45" fmla="*/ 76 h 80"/>
                <a:gd name="T46" fmla="*/ 10 w 48"/>
                <a:gd name="T47" fmla="*/ 76 h 80"/>
                <a:gd name="T48" fmla="*/ 4 w 48"/>
                <a:gd name="T49" fmla="*/ 70 h 80"/>
                <a:gd name="T50" fmla="*/ 4 w 48"/>
                <a:gd name="T51" fmla="*/ 64 h 80"/>
                <a:gd name="T52" fmla="*/ 44 w 48"/>
                <a:gd name="T53" fmla="*/ 64 h 80"/>
                <a:gd name="T54" fmla="*/ 44 w 48"/>
                <a:gd name="T55" fmla="*/ 70 h 80"/>
                <a:gd name="T56" fmla="*/ 38 w 48"/>
                <a:gd name="T57"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80">
                  <a:moveTo>
                    <a:pt x="46" y="38"/>
                  </a:moveTo>
                  <a:cubicBezTo>
                    <a:pt x="45" y="38"/>
                    <a:pt x="44" y="39"/>
                    <a:pt x="44" y="40"/>
                  </a:cubicBezTo>
                  <a:cubicBezTo>
                    <a:pt x="44" y="60"/>
                    <a:pt x="44" y="60"/>
                    <a:pt x="44" y="60"/>
                  </a:cubicBezTo>
                  <a:cubicBezTo>
                    <a:pt x="4" y="60"/>
                    <a:pt x="4" y="60"/>
                    <a:pt x="4" y="60"/>
                  </a:cubicBezTo>
                  <a:cubicBezTo>
                    <a:pt x="4" y="20"/>
                    <a:pt x="4" y="20"/>
                    <a:pt x="4" y="20"/>
                  </a:cubicBezTo>
                  <a:cubicBezTo>
                    <a:pt x="22" y="20"/>
                    <a:pt x="22" y="20"/>
                    <a:pt x="22" y="20"/>
                  </a:cubicBezTo>
                  <a:cubicBezTo>
                    <a:pt x="23" y="20"/>
                    <a:pt x="24" y="19"/>
                    <a:pt x="24" y="18"/>
                  </a:cubicBezTo>
                  <a:cubicBezTo>
                    <a:pt x="24" y="17"/>
                    <a:pt x="23" y="16"/>
                    <a:pt x="22" y="16"/>
                  </a:cubicBezTo>
                  <a:cubicBezTo>
                    <a:pt x="4" y="16"/>
                    <a:pt x="4" y="16"/>
                    <a:pt x="4" y="16"/>
                  </a:cubicBezTo>
                  <a:cubicBezTo>
                    <a:pt x="4" y="10"/>
                    <a:pt x="4" y="10"/>
                    <a:pt x="4" y="10"/>
                  </a:cubicBezTo>
                  <a:cubicBezTo>
                    <a:pt x="4" y="7"/>
                    <a:pt x="7" y="4"/>
                    <a:pt x="10" y="4"/>
                  </a:cubicBezTo>
                  <a:cubicBezTo>
                    <a:pt x="22" y="4"/>
                    <a:pt x="22" y="4"/>
                    <a:pt x="22" y="4"/>
                  </a:cubicBezTo>
                  <a:cubicBezTo>
                    <a:pt x="23" y="4"/>
                    <a:pt x="24" y="3"/>
                    <a:pt x="24" y="2"/>
                  </a:cubicBezTo>
                  <a:cubicBezTo>
                    <a:pt x="24" y="1"/>
                    <a:pt x="23" y="0"/>
                    <a:pt x="22" y="0"/>
                  </a:cubicBezTo>
                  <a:cubicBezTo>
                    <a:pt x="10" y="0"/>
                    <a:pt x="10" y="0"/>
                    <a:pt x="10" y="0"/>
                  </a:cubicBezTo>
                  <a:cubicBezTo>
                    <a:pt x="4" y="0"/>
                    <a:pt x="0" y="4"/>
                    <a:pt x="0" y="10"/>
                  </a:cubicBezTo>
                  <a:cubicBezTo>
                    <a:pt x="0" y="70"/>
                    <a:pt x="0" y="70"/>
                    <a:pt x="0" y="70"/>
                  </a:cubicBezTo>
                  <a:cubicBezTo>
                    <a:pt x="0" y="76"/>
                    <a:pt x="4" y="80"/>
                    <a:pt x="10" y="80"/>
                  </a:cubicBezTo>
                  <a:cubicBezTo>
                    <a:pt x="38" y="80"/>
                    <a:pt x="38" y="80"/>
                    <a:pt x="38" y="80"/>
                  </a:cubicBezTo>
                  <a:cubicBezTo>
                    <a:pt x="44" y="80"/>
                    <a:pt x="48" y="76"/>
                    <a:pt x="48" y="70"/>
                  </a:cubicBezTo>
                  <a:cubicBezTo>
                    <a:pt x="48" y="40"/>
                    <a:pt x="48" y="40"/>
                    <a:pt x="48" y="40"/>
                  </a:cubicBezTo>
                  <a:cubicBezTo>
                    <a:pt x="48" y="39"/>
                    <a:pt x="47" y="38"/>
                    <a:pt x="46" y="38"/>
                  </a:cubicBezTo>
                  <a:close/>
                  <a:moveTo>
                    <a:pt x="38" y="76"/>
                  </a:moveTo>
                  <a:cubicBezTo>
                    <a:pt x="10" y="76"/>
                    <a:pt x="10" y="76"/>
                    <a:pt x="10" y="76"/>
                  </a:cubicBezTo>
                  <a:cubicBezTo>
                    <a:pt x="7" y="76"/>
                    <a:pt x="4" y="73"/>
                    <a:pt x="4" y="70"/>
                  </a:cubicBezTo>
                  <a:cubicBezTo>
                    <a:pt x="4" y="64"/>
                    <a:pt x="4" y="64"/>
                    <a:pt x="4" y="64"/>
                  </a:cubicBezTo>
                  <a:cubicBezTo>
                    <a:pt x="44" y="64"/>
                    <a:pt x="44" y="64"/>
                    <a:pt x="44" y="64"/>
                  </a:cubicBezTo>
                  <a:cubicBezTo>
                    <a:pt x="44" y="70"/>
                    <a:pt x="44" y="70"/>
                    <a:pt x="44" y="70"/>
                  </a:cubicBezTo>
                  <a:cubicBezTo>
                    <a:pt x="44" y="73"/>
                    <a:pt x="41" y="76"/>
                    <a:pt x="38" y="7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panose="020B0503030202060203" pitchFamily="34" charset="0"/>
                <a:cs typeface="+mn-cs"/>
              </a:endParaRPr>
            </a:p>
          </p:txBody>
        </p:sp>
        <p:sp>
          <p:nvSpPr>
            <p:cNvPr id="115" name="Freeform 66">
              <a:extLst>
                <a:ext uri="{FF2B5EF4-FFF2-40B4-BE49-F238E27FC236}">
                  <a16:creationId xmlns:a16="http://schemas.microsoft.com/office/drawing/2014/main" id="{0739686A-B141-A2DB-3F1B-390D3CB9AFF1}"/>
                </a:ext>
              </a:extLst>
            </p:cNvPr>
            <p:cNvSpPr>
              <a:spLocks/>
            </p:cNvSpPr>
            <p:nvPr/>
          </p:nvSpPr>
          <p:spPr bwMode="auto">
            <a:xfrm>
              <a:off x="1901825" y="2901950"/>
              <a:ext cx="52388" cy="25400"/>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panose="020B0503030202060203" pitchFamily="34" charset="0"/>
                <a:cs typeface="+mn-cs"/>
              </a:endParaRPr>
            </a:p>
          </p:txBody>
        </p:sp>
        <p:sp>
          <p:nvSpPr>
            <p:cNvPr id="116" name="Freeform 67">
              <a:extLst>
                <a:ext uri="{FF2B5EF4-FFF2-40B4-BE49-F238E27FC236}">
                  <a16:creationId xmlns:a16="http://schemas.microsoft.com/office/drawing/2014/main" id="{AF84A036-7F0A-FA85-3047-E597BA818124}"/>
                </a:ext>
              </a:extLst>
            </p:cNvPr>
            <p:cNvSpPr>
              <a:spLocks noEditPoints="1"/>
            </p:cNvSpPr>
            <p:nvPr/>
          </p:nvSpPr>
          <p:spPr bwMode="auto">
            <a:xfrm>
              <a:off x="1928813" y="3276600"/>
              <a:ext cx="52388" cy="52388"/>
            </a:xfrm>
            <a:custGeom>
              <a:avLst/>
              <a:gdLst>
                <a:gd name="T0" fmla="*/ 4 w 8"/>
                <a:gd name="T1" fmla="*/ 0 h 8"/>
                <a:gd name="T2" fmla="*/ 0 w 8"/>
                <a:gd name="T3" fmla="*/ 4 h 8"/>
                <a:gd name="T4" fmla="*/ 4 w 8"/>
                <a:gd name="T5" fmla="*/ 8 h 8"/>
                <a:gd name="T6" fmla="*/ 8 w 8"/>
                <a:gd name="T7" fmla="*/ 4 h 8"/>
                <a:gd name="T8" fmla="*/ 4 w 8"/>
                <a:gd name="T9" fmla="*/ 0 h 8"/>
                <a:gd name="T10" fmla="*/ 4 w 8"/>
                <a:gd name="T11" fmla="*/ 4 h 8"/>
                <a:gd name="T12" fmla="*/ 4 w 8"/>
                <a:gd name="T13" fmla="*/ 4 h 8"/>
                <a:gd name="T14" fmla="*/ 6 w 8"/>
                <a:gd name="T15" fmla="*/ 4 h 8"/>
                <a:gd name="T16" fmla="*/ 4 w 8"/>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0"/>
                  </a:moveTo>
                  <a:cubicBezTo>
                    <a:pt x="2" y="0"/>
                    <a:pt x="0" y="2"/>
                    <a:pt x="0" y="4"/>
                  </a:cubicBezTo>
                  <a:cubicBezTo>
                    <a:pt x="0" y="6"/>
                    <a:pt x="2" y="8"/>
                    <a:pt x="4" y="8"/>
                  </a:cubicBezTo>
                  <a:cubicBezTo>
                    <a:pt x="6" y="8"/>
                    <a:pt x="8" y="6"/>
                    <a:pt x="8" y="4"/>
                  </a:cubicBezTo>
                  <a:cubicBezTo>
                    <a:pt x="8" y="2"/>
                    <a:pt x="6" y="0"/>
                    <a:pt x="4" y="0"/>
                  </a:cubicBezTo>
                  <a:close/>
                  <a:moveTo>
                    <a:pt x="4" y="4"/>
                  </a:moveTo>
                  <a:cubicBezTo>
                    <a:pt x="4" y="4"/>
                    <a:pt x="4" y="4"/>
                    <a:pt x="4" y="4"/>
                  </a:cubicBezTo>
                  <a:cubicBezTo>
                    <a:pt x="6" y="4"/>
                    <a:pt x="6" y="4"/>
                    <a:pt x="6" y="4"/>
                  </a:cubicBezTo>
                  <a:lnTo>
                    <a:pt x="4" y="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panose="020B0503030202060203" pitchFamily="34" charset="0"/>
                <a:cs typeface="+mn-cs"/>
              </a:endParaRPr>
            </a:p>
          </p:txBody>
        </p:sp>
        <p:sp>
          <p:nvSpPr>
            <p:cNvPr id="117" name="Freeform 68">
              <a:extLst>
                <a:ext uri="{FF2B5EF4-FFF2-40B4-BE49-F238E27FC236}">
                  <a16:creationId xmlns:a16="http://schemas.microsoft.com/office/drawing/2014/main" id="{62D403F4-E7EB-A8B1-C574-D33DB809AD80}"/>
                </a:ext>
              </a:extLst>
            </p:cNvPr>
            <p:cNvSpPr>
              <a:spLocks/>
            </p:cNvSpPr>
            <p:nvPr/>
          </p:nvSpPr>
          <p:spPr bwMode="auto">
            <a:xfrm>
              <a:off x="1974850" y="2784475"/>
              <a:ext cx="277813" cy="77788"/>
            </a:xfrm>
            <a:custGeom>
              <a:avLst/>
              <a:gdLst>
                <a:gd name="T0" fmla="*/ 41 w 42"/>
                <a:gd name="T1" fmla="*/ 8 h 12"/>
                <a:gd name="T2" fmla="*/ 1 w 42"/>
                <a:gd name="T3" fmla="*/ 8 h 12"/>
                <a:gd name="T4" fmla="*/ 0 w 42"/>
                <a:gd name="T5" fmla="*/ 11 h 12"/>
                <a:gd name="T6" fmla="*/ 3 w 42"/>
                <a:gd name="T7" fmla="*/ 11 h 12"/>
                <a:gd name="T8" fmla="*/ 39 w 42"/>
                <a:gd name="T9" fmla="*/ 11 h 12"/>
                <a:gd name="T10" fmla="*/ 40 w 42"/>
                <a:gd name="T11" fmla="*/ 12 h 12"/>
                <a:gd name="T12" fmla="*/ 42 w 42"/>
                <a:gd name="T13" fmla="*/ 11 h 12"/>
                <a:gd name="T14" fmla="*/ 41 w 42"/>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2">
                  <a:moveTo>
                    <a:pt x="41" y="8"/>
                  </a:moveTo>
                  <a:cubicBezTo>
                    <a:pt x="29" y="0"/>
                    <a:pt x="13" y="0"/>
                    <a:pt x="1" y="8"/>
                  </a:cubicBezTo>
                  <a:cubicBezTo>
                    <a:pt x="0" y="9"/>
                    <a:pt x="0" y="10"/>
                    <a:pt x="0" y="11"/>
                  </a:cubicBezTo>
                  <a:cubicBezTo>
                    <a:pt x="1" y="12"/>
                    <a:pt x="2" y="12"/>
                    <a:pt x="3" y="11"/>
                  </a:cubicBezTo>
                  <a:cubicBezTo>
                    <a:pt x="14" y="4"/>
                    <a:pt x="28" y="4"/>
                    <a:pt x="39" y="11"/>
                  </a:cubicBezTo>
                  <a:cubicBezTo>
                    <a:pt x="39" y="12"/>
                    <a:pt x="39" y="12"/>
                    <a:pt x="40" y="12"/>
                  </a:cubicBezTo>
                  <a:cubicBezTo>
                    <a:pt x="41" y="12"/>
                    <a:pt x="41" y="11"/>
                    <a:pt x="42" y="11"/>
                  </a:cubicBezTo>
                  <a:cubicBezTo>
                    <a:pt x="42" y="10"/>
                    <a:pt x="42" y="9"/>
                    <a:pt x="41"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panose="020B0503030202060203" pitchFamily="34" charset="0"/>
                <a:cs typeface="+mn-cs"/>
              </a:endParaRPr>
            </a:p>
          </p:txBody>
        </p:sp>
        <p:sp>
          <p:nvSpPr>
            <p:cNvPr id="118" name="Freeform 69">
              <a:extLst>
                <a:ext uri="{FF2B5EF4-FFF2-40B4-BE49-F238E27FC236}">
                  <a16:creationId xmlns:a16="http://schemas.microsoft.com/office/drawing/2014/main" id="{C3E08395-9394-C861-7542-06BC9CAEF529}"/>
                </a:ext>
              </a:extLst>
            </p:cNvPr>
            <p:cNvSpPr>
              <a:spLocks/>
            </p:cNvSpPr>
            <p:nvPr/>
          </p:nvSpPr>
          <p:spPr bwMode="auto">
            <a:xfrm>
              <a:off x="2001838" y="2843213"/>
              <a:ext cx="223838" cy="65088"/>
            </a:xfrm>
            <a:custGeom>
              <a:avLst/>
              <a:gdLst>
                <a:gd name="T0" fmla="*/ 1 w 34"/>
                <a:gd name="T1" fmla="*/ 6 h 10"/>
                <a:gd name="T2" fmla="*/ 1 w 34"/>
                <a:gd name="T3" fmla="*/ 8 h 10"/>
                <a:gd name="T4" fmla="*/ 4 w 34"/>
                <a:gd name="T5" fmla="*/ 9 h 10"/>
                <a:gd name="T6" fmla="*/ 30 w 34"/>
                <a:gd name="T7" fmla="*/ 9 h 10"/>
                <a:gd name="T8" fmla="*/ 31 w 34"/>
                <a:gd name="T9" fmla="*/ 9 h 10"/>
                <a:gd name="T10" fmla="*/ 33 w 34"/>
                <a:gd name="T11" fmla="*/ 8 h 10"/>
                <a:gd name="T12" fmla="*/ 33 w 34"/>
                <a:gd name="T13" fmla="*/ 6 h 10"/>
                <a:gd name="T14" fmla="*/ 1 w 34"/>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0">
                  <a:moveTo>
                    <a:pt x="1" y="6"/>
                  </a:moveTo>
                  <a:cubicBezTo>
                    <a:pt x="1" y="6"/>
                    <a:pt x="0" y="8"/>
                    <a:pt x="1" y="8"/>
                  </a:cubicBezTo>
                  <a:cubicBezTo>
                    <a:pt x="2" y="9"/>
                    <a:pt x="3" y="10"/>
                    <a:pt x="4" y="9"/>
                  </a:cubicBezTo>
                  <a:cubicBezTo>
                    <a:pt x="12" y="4"/>
                    <a:pt x="22" y="4"/>
                    <a:pt x="30" y="9"/>
                  </a:cubicBezTo>
                  <a:cubicBezTo>
                    <a:pt x="31" y="9"/>
                    <a:pt x="31" y="9"/>
                    <a:pt x="31" y="9"/>
                  </a:cubicBezTo>
                  <a:cubicBezTo>
                    <a:pt x="32" y="9"/>
                    <a:pt x="33" y="9"/>
                    <a:pt x="33" y="8"/>
                  </a:cubicBezTo>
                  <a:cubicBezTo>
                    <a:pt x="34" y="8"/>
                    <a:pt x="33" y="6"/>
                    <a:pt x="33" y="6"/>
                  </a:cubicBezTo>
                  <a:cubicBezTo>
                    <a:pt x="23" y="0"/>
                    <a:pt x="11" y="0"/>
                    <a:pt x="1"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panose="020B0503030202060203" pitchFamily="34" charset="0"/>
                <a:cs typeface="+mn-cs"/>
              </a:endParaRPr>
            </a:p>
          </p:txBody>
        </p:sp>
        <p:sp>
          <p:nvSpPr>
            <p:cNvPr id="119" name="Freeform 70">
              <a:extLst>
                <a:ext uri="{FF2B5EF4-FFF2-40B4-BE49-F238E27FC236}">
                  <a16:creationId xmlns:a16="http://schemas.microsoft.com/office/drawing/2014/main" id="{EB1825CE-228D-D1A5-9750-BA2B26721CFC}"/>
                </a:ext>
              </a:extLst>
            </p:cNvPr>
            <p:cNvSpPr>
              <a:spLocks/>
            </p:cNvSpPr>
            <p:nvPr/>
          </p:nvSpPr>
          <p:spPr bwMode="auto">
            <a:xfrm>
              <a:off x="2033588" y="2894013"/>
              <a:ext cx="158750" cy="52388"/>
            </a:xfrm>
            <a:custGeom>
              <a:avLst/>
              <a:gdLst>
                <a:gd name="T0" fmla="*/ 1 w 24"/>
                <a:gd name="T1" fmla="*/ 4 h 8"/>
                <a:gd name="T2" fmla="*/ 0 w 24"/>
                <a:gd name="T3" fmla="*/ 7 h 8"/>
                <a:gd name="T4" fmla="*/ 3 w 24"/>
                <a:gd name="T5" fmla="*/ 8 h 8"/>
                <a:gd name="T6" fmla="*/ 21 w 24"/>
                <a:gd name="T7" fmla="*/ 8 h 8"/>
                <a:gd name="T8" fmla="*/ 22 w 24"/>
                <a:gd name="T9" fmla="*/ 8 h 8"/>
                <a:gd name="T10" fmla="*/ 24 w 24"/>
                <a:gd name="T11" fmla="*/ 7 h 8"/>
                <a:gd name="T12" fmla="*/ 23 w 24"/>
                <a:gd name="T13" fmla="*/ 4 h 8"/>
                <a:gd name="T14" fmla="*/ 1 w 24"/>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8">
                  <a:moveTo>
                    <a:pt x="1" y="4"/>
                  </a:moveTo>
                  <a:cubicBezTo>
                    <a:pt x="0" y="5"/>
                    <a:pt x="0" y="6"/>
                    <a:pt x="0" y="7"/>
                  </a:cubicBezTo>
                  <a:cubicBezTo>
                    <a:pt x="1" y="8"/>
                    <a:pt x="2" y="8"/>
                    <a:pt x="3" y="8"/>
                  </a:cubicBezTo>
                  <a:cubicBezTo>
                    <a:pt x="8" y="4"/>
                    <a:pt x="16" y="4"/>
                    <a:pt x="21" y="8"/>
                  </a:cubicBezTo>
                  <a:cubicBezTo>
                    <a:pt x="21" y="8"/>
                    <a:pt x="22" y="8"/>
                    <a:pt x="22" y="8"/>
                  </a:cubicBezTo>
                  <a:cubicBezTo>
                    <a:pt x="23" y="8"/>
                    <a:pt x="23" y="8"/>
                    <a:pt x="24" y="7"/>
                  </a:cubicBezTo>
                  <a:cubicBezTo>
                    <a:pt x="24" y="6"/>
                    <a:pt x="24" y="5"/>
                    <a:pt x="23" y="4"/>
                  </a:cubicBezTo>
                  <a:cubicBezTo>
                    <a:pt x="16" y="0"/>
                    <a:pt x="7" y="0"/>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panose="020B0503030202060203" pitchFamily="34" charset="0"/>
                <a:cs typeface="+mn-cs"/>
              </a:endParaRPr>
            </a:p>
          </p:txBody>
        </p:sp>
        <p:sp>
          <p:nvSpPr>
            <p:cNvPr id="120" name="Freeform 71">
              <a:extLst>
                <a:ext uri="{FF2B5EF4-FFF2-40B4-BE49-F238E27FC236}">
                  <a16:creationId xmlns:a16="http://schemas.microsoft.com/office/drawing/2014/main" id="{875265DC-B90F-E1A8-0E45-B7411809FF18}"/>
                </a:ext>
              </a:extLst>
            </p:cNvPr>
            <p:cNvSpPr>
              <a:spLocks noEditPoints="1"/>
            </p:cNvSpPr>
            <p:nvPr/>
          </p:nvSpPr>
          <p:spPr bwMode="auto">
            <a:xfrm>
              <a:off x="2060575" y="2952750"/>
              <a:ext cx="106363" cy="104775"/>
            </a:xfrm>
            <a:custGeom>
              <a:avLst/>
              <a:gdLst>
                <a:gd name="T0" fmla="*/ 8 w 16"/>
                <a:gd name="T1" fmla="*/ 0 h 16"/>
                <a:gd name="T2" fmla="*/ 0 w 16"/>
                <a:gd name="T3" fmla="*/ 8 h 16"/>
                <a:gd name="T4" fmla="*/ 8 w 16"/>
                <a:gd name="T5" fmla="*/ 16 h 16"/>
                <a:gd name="T6" fmla="*/ 16 w 16"/>
                <a:gd name="T7" fmla="*/ 8 h 16"/>
                <a:gd name="T8" fmla="*/ 8 w 16"/>
                <a:gd name="T9" fmla="*/ 0 h 16"/>
                <a:gd name="T10" fmla="*/ 8 w 16"/>
                <a:gd name="T11" fmla="*/ 12 h 16"/>
                <a:gd name="T12" fmla="*/ 4 w 16"/>
                <a:gd name="T13" fmla="*/ 8 h 16"/>
                <a:gd name="T14" fmla="*/ 8 w 16"/>
                <a:gd name="T15" fmla="*/ 4 h 16"/>
                <a:gd name="T16" fmla="*/ 12 w 16"/>
                <a:gd name="T17" fmla="*/ 8 h 16"/>
                <a:gd name="T18" fmla="*/ 8 w 16"/>
                <a:gd name="T19"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0"/>
                  </a:moveTo>
                  <a:cubicBezTo>
                    <a:pt x="4" y="0"/>
                    <a:pt x="0" y="4"/>
                    <a:pt x="0" y="8"/>
                  </a:cubicBezTo>
                  <a:cubicBezTo>
                    <a:pt x="0" y="12"/>
                    <a:pt x="4" y="16"/>
                    <a:pt x="8" y="16"/>
                  </a:cubicBezTo>
                  <a:cubicBezTo>
                    <a:pt x="12" y="16"/>
                    <a:pt x="16" y="12"/>
                    <a:pt x="16" y="8"/>
                  </a:cubicBezTo>
                  <a:cubicBezTo>
                    <a:pt x="16" y="4"/>
                    <a:pt x="12" y="0"/>
                    <a:pt x="8" y="0"/>
                  </a:cubicBezTo>
                  <a:close/>
                  <a:moveTo>
                    <a:pt x="8" y="12"/>
                  </a:moveTo>
                  <a:cubicBezTo>
                    <a:pt x="6" y="12"/>
                    <a:pt x="4" y="10"/>
                    <a:pt x="4" y="8"/>
                  </a:cubicBezTo>
                  <a:cubicBezTo>
                    <a:pt x="4" y="6"/>
                    <a:pt x="6" y="4"/>
                    <a:pt x="8" y="4"/>
                  </a:cubicBezTo>
                  <a:cubicBezTo>
                    <a:pt x="10" y="4"/>
                    <a:pt x="12" y="6"/>
                    <a:pt x="12" y="8"/>
                  </a:cubicBezTo>
                  <a:cubicBezTo>
                    <a:pt x="12" y="10"/>
                    <a:pt x="10" y="12"/>
                    <a:pt x="8"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panose="020B0503030202060203" pitchFamily="34" charset="0"/>
                <a:cs typeface="+mn-cs"/>
              </a:endParaRPr>
            </a:p>
          </p:txBody>
        </p:sp>
      </p:grpSp>
      <p:sp>
        <p:nvSpPr>
          <p:cNvPr id="310" name="TextBox 309">
            <a:extLst>
              <a:ext uri="{FF2B5EF4-FFF2-40B4-BE49-F238E27FC236}">
                <a16:creationId xmlns:a16="http://schemas.microsoft.com/office/drawing/2014/main" id="{39DA6797-900F-0981-FBB3-88580AE0042A}"/>
              </a:ext>
            </a:extLst>
          </p:cNvPr>
          <p:cNvSpPr txBox="1"/>
          <p:nvPr/>
        </p:nvSpPr>
        <p:spPr>
          <a:xfrm>
            <a:off x="3590788" y="3013400"/>
            <a:ext cx="1166270" cy="223028"/>
          </a:xfrm>
          <a:prstGeom prst="rect">
            <a:avLst/>
          </a:prstGeom>
          <a:ln>
            <a:noFill/>
          </a:ln>
        </p:spPr>
        <p:txBody>
          <a:bodyPr vert="horz" wrap="square" lIns="0" tIns="0" rIns="0" bIns="0" rtlCol="0" anchor="ctr">
            <a:noAutofit/>
          </a:bodyPr>
          <a:lstStyle/>
          <a:p>
            <a:pPr defTabSz="685800" fontAlgn="auto">
              <a:spcBef>
                <a:spcPts val="0"/>
              </a:spcBef>
              <a:spcAft>
                <a:spcPts val="675"/>
              </a:spcAft>
              <a:tabLst>
                <a:tab pos="940594" algn="l"/>
              </a:tabLst>
              <a:defRPr/>
            </a:pPr>
            <a:r>
              <a:rPr lang="de-CH" sz="900" b="1">
                <a:solidFill>
                  <a:srgbClr val="000000"/>
                </a:solidFill>
                <a:latin typeface="Graphik" panose="020B0503030202060203" pitchFamily="34" charset="0"/>
                <a:cs typeface="+mn-cs"/>
              </a:rPr>
              <a:t>Cloud &amp; Innovation Acceleration</a:t>
            </a:r>
          </a:p>
        </p:txBody>
      </p:sp>
      <p:sp>
        <p:nvSpPr>
          <p:cNvPr id="311" name="TextBox 310">
            <a:extLst>
              <a:ext uri="{FF2B5EF4-FFF2-40B4-BE49-F238E27FC236}">
                <a16:creationId xmlns:a16="http://schemas.microsoft.com/office/drawing/2014/main" id="{BEF32FB9-669C-18C3-6557-016BCCA211E1}"/>
              </a:ext>
            </a:extLst>
          </p:cNvPr>
          <p:cNvSpPr txBox="1"/>
          <p:nvPr/>
        </p:nvSpPr>
        <p:spPr>
          <a:xfrm>
            <a:off x="3590787" y="3498303"/>
            <a:ext cx="1269956" cy="236113"/>
          </a:xfrm>
          <a:prstGeom prst="rect">
            <a:avLst/>
          </a:prstGeom>
          <a:ln>
            <a:noFill/>
          </a:ln>
        </p:spPr>
        <p:txBody>
          <a:bodyPr vert="horz" wrap="square" lIns="0" tIns="0" rIns="0" bIns="0" rtlCol="0" anchor="ctr">
            <a:noAutofit/>
          </a:bodyPr>
          <a:lstStyle/>
          <a:p>
            <a:pPr defTabSz="685800" fontAlgn="auto">
              <a:spcBef>
                <a:spcPts val="0"/>
              </a:spcBef>
              <a:spcAft>
                <a:spcPts val="675"/>
              </a:spcAft>
              <a:tabLst>
                <a:tab pos="940594" algn="l"/>
              </a:tabLst>
              <a:defRPr/>
            </a:pPr>
            <a:r>
              <a:rPr lang="de-CH" sz="900" b="1">
                <a:solidFill>
                  <a:srgbClr val="000000"/>
                </a:solidFill>
                <a:latin typeface="Graphik" panose="020B0503030202060203" pitchFamily="34" charset="0"/>
                <a:cs typeface="+mn-cs"/>
              </a:rPr>
              <a:t>Engineering</a:t>
            </a:r>
          </a:p>
        </p:txBody>
      </p:sp>
      <p:sp>
        <p:nvSpPr>
          <p:cNvPr id="312" name="TextBox 311">
            <a:extLst>
              <a:ext uri="{FF2B5EF4-FFF2-40B4-BE49-F238E27FC236}">
                <a16:creationId xmlns:a16="http://schemas.microsoft.com/office/drawing/2014/main" id="{A3F153AA-C723-0AFB-541A-56017EF8E0B6}"/>
              </a:ext>
            </a:extLst>
          </p:cNvPr>
          <p:cNvSpPr txBox="1"/>
          <p:nvPr/>
        </p:nvSpPr>
        <p:spPr>
          <a:xfrm>
            <a:off x="3590787" y="3936092"/>
            <a:ext cx="1279092" cy="252998"/>
          </a:xfrm>
          <a:prstGeom prst="rect">
            <a:avLst/>
          </a:prstGeom>
          <a:ln>
            <a:noFill/>
          </a:ln>
        </p:spPr>
        <p:txBody>
          <a:bodyPr vert="horz" wrap="square" lIns="0" tIns="0" rIns="0" bIns="0" rtlCol="0" anchor="ctr">
            <a:noAutofit/>
          </a:bodyPr>
          <a:lstStyle/>
          <a:p>
            <a:pPr defTabSz="685783" fontAlgn="auto">
              <a:spcBef>
                <a:spcPts val="0"/>
              </a:spcBef>
              <a:spcAft>
                <a:spcPts val="225"/>
              </a:spcAft>
              <a:defRPr/>
            </a:pPr>
            <a:r>
              <a:rPr lang="en-US" sz="900" b="1">
                <a:solidFill>
                  <a:srgbClr val="000000">
                    <a:lumMod val="100000"/>
                  </a:srgbClr>
                </a:solidFill>
                <a:latin typeface="Graphik" panose="020B0503030202060203" pitchFamily="34" charset="0"/>
                <a:cs typeface="+mn-cs"/>
              </a:rPr>
              <a:t>Enterprise</a:t>
            </a:r>
          </a:p>
          <a:p>
            <a:pPr defTabSz="685783" fontAlgn="auto">
              <a:spcBef>
                <a:spcPts val="0"/>
              </a:spcBef>
              <a:spcAft>
                <a:spcPts val="225"/>
              </a:spcAft>
              <a:defRPr/>
            </a:pPr>
            <a:r>
              <a:rPr lang="en-US" sz="900" b="1">
                <a:solidFill>
                  <a:srgbClr val="000000">
                    <a:lumMod val="100000"/>
                  </a:srgbClr>
                </a:solidFill>
                <a:latin typeface="Graphik" panose="020B0503030202060203" pitchFamily="34" charset="0"/>
                <a:cs typeface="+mn-cs"/>
              </a:rPr>
              <a:t>Agility </a:t>
            </a:r>
          </a:p>
        </p:txBody>
      </p:sp>
      <p:sp>
        <p:nvSpPr>
          <p:cNvPr id="351" name="TextBox 350">
            <a:extLst>
              <a:ext uri="{FF2B5EF4-FFF2-40B4-BE49-F238E27FC236}">
                <a16:creationId xmlns:a16="http://schemas.microsoft.com/office/drawing/2014/main" id="{4CA66466-B141-9F5A-1223-C4A9392C42BA}"/>
              </a:ext>
            </a:extLst>
          </p:cNvPr>
          <p:cNvSpPr txBox="1"/>
          <p:nvPr/>
        </p:nvSpPr>
        <p:spPr>
          <a:xfrm>
            <a:off x="3590787" y="2009485"/>
            <a:ext cx="920385" cy="302647"/>
          </a:xfrm>
          <a:prstGeom prst="rect">
            <a:avLst/>
          </a:prstGeom>
          <a:ln>
            <a:noFill/>
          </a:ln>
        </p:spPr>
        <p:txBody>
          <a:bodyPr vert="horz" wrap="square" lIns="0" tIns="0" rIns="0" bIns="0" rtlCol="0" anchor="ctr">
            <a:spAutoFit/>
          </a:bodyPr>
          <a:lstStyle/>
          <a:p>
            <a:pPr defTabSz="685783" fontAlgn="auto">
              <a:spcBef>
                <a:spcPts val="0"/>
              </a:spcBef>
              <a:spcAft>
                <a:spcPts val="225"/>
              </a:spcAft>
              <a:defRPr/>
            </a:pPr>
            <a:r>
              <a:rPr lang="en-US" sz="900" b="1">
                <a:solidFill>
                  <a:srgbClr val="000000">
                    <a:lumMod val="100000"/>
                  </a:srgbClr>
                </a:solidFill>
                <a:latin typeface="Graphik" panose="020B0503030202060203" pitchFamily="34" charset="0"/>
                <a:cs typeface="+mn-cs"/>
              </a:rPr>
              <a:t>Enterprise</a:t>
            </a:r>
          </a:p>
          <a:p>
            <a:pPr defTabSz="685783" fontAlgn="auto">
              <a:spcBef>
                <a:spcPts val="0"/>
              </a:spcBef>
              <a:spcAft>
                <a:spcPts val="225"/>
              </a:spcAft>
              <a:defRPr/>
            </a:pPr>
            <a:r>
              <a:rPr lang="en-US" sz="900" b="1">
                <a:solidFill>
                  <a:srgbClr val="000000">
                    <a:lumMod val="100000"/>
                  </a:srgbClr>
                </a:solidFill>
                <a:latin typeface="Graphik" panose="020B0503030202060203" pitchFamily="34" charset="0"/>
                <a:cs typeface="+mn-cs"/>
              </a:rPr>
              <a:t>Architecture </a:t>
            </a:r>
          </a:p>
        </p:txBody>
      </p:sp>
      <p:sp>
        <p:nvSpPr>
          <p:cNvPr id="352" name="TextBox 351">
            <a:extLst>
              <a:ext uri="{FF2B5EF4-FFF2-40B4-BE49-F238E27FC236}">
                <a16:creationId xmlns:a16="http://schemas.microsoft.com/office/drawing/2014/main" id="{A413F155-6C5E-0F28-EB05-4E9C3E723C2C}"/>
              </a:ext>
            </a:extLst>
          </p:cNvPr>
          <p:cNvSpPr txBox="1"/>
          <p:nvPr/>
        </p:nvSpPr>
        <p:spPr>
          <a:xfrm>
            <a:off x="3590787" y="2481756"/>
            <a:ext cx="920385" cy="276999"/>
          </a:xfrm>
          <a:prstGeom prst="rect">
            <a:avLst/>
          </a:prstGeom>
          <a:ln>
            <a:noFill/>
          </a:ln>
        </p:spPr>
        <p:txBody>
          <a:bodyPr vert="horz" wrap="square" lIns="0" tIns="0" rIns="0" bIns="0" rtlCol="0" anchor="ctr">
            <a:spAutoFit/>
          </a:bodyPr>
          <a:lstStyle/>
          <a:p>
            <a:pPr defTabSz="685783" fontAlgn="auto">
              <a:spcBef>
                <a:spcPts val="0"/>
              </a:spcBef>
              <a:spcAft>
                <a:spcPts val="225"/>
              </a:spcAft>
              <a:defRPr/>
            </a:pPr>
            <a:r>
              <a:rPr lang="en-US" sz="900" b="1">
                <a:solidFill>
                  <a:srgbClr val="000000">
                    <a:lumMod val="100000"/>
                  </a:srgbClr>
                </a:solidFill>
                <a:latin typeface="Graphik" panose="020B0503030202060203" pitchFamily="34" charset="0"/>
                <a:cs typeface="+mn-cs"/>
              </a:rPr>
              <a:t>DS, ML &amp; Visualization</a:t>
            </a:r>
          </a:p>
        </p:txBody>
      </p:sp>
      <p:sp>
        <p:nvSpPr>
          <p:cNvPr id="223" name="chatbot, robot, bot">
            <a:extLst>
              <a:ext uri="{FF2B5EF4-FFF2-40B4-BE49-F238E27FC236}">
                <a16:creationId xmlns:a16="http://schemas.microsoft.com/office/drawing/2014/main" id="{8839DBF0-19BE-9A3E-E2D6-D881A8008823}"/>
              </a:ext>
            </a:extLst>
          </p:cNvPr>
          <p:cNvSpPr>
            <a:spLocks noEditPoints="1"/>
          </p:cNvSpPr>
          <p:nvPr/>
        </p:nvSpPr>
        <p:spPr bwMode="auto">
          <a:xfrm>
            <a:off x="5012229" y="1497175"/>
            <a:ext cx="249820" cy="280826"/>
          </a:xfrm>
          <a:custGeom>
            <a:avLst/>
            <a:gdLst>
              <a:gd name="T0" fmla="*/ 56 w 80"/>
              <a:gd name="T1" fmla="*/ 74 h 96"/>
              <a:gd name="T2" fmla="*/ 59 w 80"/>
              <a:gd name="T3" fmla="*/ 69 h 96"/>
              <a:gd name="T4" fmla="*/ 50 w 80"/>
              <a:gd name="T5" fmla="*/ 63 h 96"/>
              <a:gd name="T6" fmla="*/ 44 w 80"/>
              <a:gd name="T7" fmla="*/ 56 h 96"/>
              <a:gd name="T8" fmla="*/ 34 w 80"/>
              <a:gd name="T9" fmla="*/ 61 h 96"/>
              <a:gd name="T10" fmla="*/ 25 w 80"/>
              <a:gd name="T11" fmla="*/ 63 h 96"/>
              <a:gd name="T12" fmla="*/ 21 w 80"/>
              <a:gd name="T13" fmla="*/ 72 h 96"/>
              <a:gd name="T14" fmla="*/ 21 w 80"/>
              <a:gd name="T15" fmla="*/ 80 h 96"/>
              <a:gd name="T16" fmla="*/ 25 w 80"/>
              <a:gd name="T17" fmla="*/ 89 h 96"/>
              <a:gd name="T18" fmla="*/ 30 w 80"/>
              <a:gd name="T19" fmla="*/ 89 h 96"/>
              <a:gd name="T20" fmla="*/ 36 w 80"/>
              <a:gd name="T21" fmla="*/ 96 h 96"/>
              <a:gd name="T22" fmla="*/ 46 w 80"/>
              <a:gd name="T23" fmla="*/ 91 h 96"/>
              <a:gd name="T24" fmla="*/ 54 w 80"/>
              <a:gd name="T25" fmla="*/ 90 h 96"/>
              <a:gd name="T26" fmla="*/ 60 w 80"/>
              <a:gd name="T27" fmla="*/ 81 h 96"/>
              <a:gd name="T28" fmla="*/ 51 w 80"/>
              <a:gd name="T29" fmla="*/ 84 h 96"/>
              <a:gd name="T30" fmla="*/ 42 w 80"/>
              <a:gd name="T31" fmla="*/ 89 h 96"/>
              <a:gd name="T32" fmla="*/ 38 w 80"/>
              <a:gd name="T33" fmla="*/ 89 h 96"/>
              <a:gd name="T34" fmla="*/ 29 w 80"/>
              <a:gd name="T35" fmla="*/ 84 h 96"/>
              <a:gd name="T36" fmla="*/ 27 w 80"/>
              <a:gd name="T37" fmla="*/ 81 h 96"/>
              <a:gd name="T38" fmla="*/ 27 w 80"/>
              <a:gd name="T39" fmla="*/ 71 h 96"/>
              <a:gd name="T40" fmla="*/ 29 w 80"/>
              <a:gd name="T41" fmla="*/ 68 h 96"/>
              <a:gd name="T42" fmla="*/ 38 w 80"/>
              <a:gd name="T43" fmla="*/ 63 h 96"/>
              <a:gd name="T44" fmla="*/ 42 w 80"/>
              <a:gd name="T45" fmla="*/ 63 h 96"/>
              <a:gd name="T46" fmla="*/ 51 w 80"/>
              <a:gd name="T47" fmla="*/ 68 h 96"/>
              <a:gd name="T48" fmla="*/ 53 w 80"/>
              <a:gd name="T49" fmla="*/ 71 h 96"/>
              <a:gd name="T50" fmla="*/ 53 w 80"/>
              <a:gd name="T51" fmla="*/ 81 h 96"/>
              <a:gd name="T52" fmla="*/ 40 w 80"/>
              <a:gd name="T53" fmla="*/ 68 h 96"/>
              <a:gd name="T54" fmla="*/ 48 w 80"/>
              <a:gd name="T55" fmla="*/ 76 h 96"/>
              <a:gd name="T56" fmla="*/ 36 w 80"/>
              <a:gd name="T57" fmla="*/ 76 h 96"/>
              <a:gd name="T58" fmla="*/ 40 w 80"/>
              <a:gd name="T59" fmla="*/ 80 h 96"/>
              <a:gd name="T60" fmla="*/ 68 w 80"/>
              <a:gd name="T61" fmla="*/ 31 h 96"/>
              <a:gd name="T62" fmla="*/ 53 w 80"/>
              <a:gd name="T63" fmla="*/ 3 h 96"/>
              <a:gd name="T64" fmla="*/ 43 w 80"/>
              <a:gd name="T65" fmla="*/ 8 h 96"/>
              <a:gd name="T66" fmla="*/ 30 w 80"/>
              <a:gd name="T67" fmla="*/ 1 h 96"/>
              <a:gd name="T68" fmla="*/ 32 w 80"/>
              <a:gd name="T69" fmla="*/ 9 h 96"/>
              <a:gd name="T70" fmla="*/ 14 w 80"/>
              <a:gd name="T71" fmla="*/ 32 h 96"/>
              <a:gd name="T72" fmla="*/ 17 w 80"/>
              <a:gd name="T73" fmla="*/ 28 h 96"/>
              <a:gd name="T74" fmla="*/ 36 w 80"/>
              <a:gd name="T75" fmla="*/ 20 h 96"/>
              <a:gd name="T76" fmla="*/ 32 w 80"/>
              <a:gd name="T77" fmla="*/ 20 h 96"/>
              <a:gd name="T78" fmla="*/ 48 w 80"/>
              <a:gd name="T79" fmla="*/ 24 h 96"/>
              <a:gd name="T80" fmla="*/ 80 w 80"/>
              <a:gd name="T81" fmla="*/ 46 h 96"/>
              <a:gd name="T82" fmla="*/ 76 w 80"/>
              <a:gd name="T83" fmla="*/ 78 h 96"/>
              <a:gd name="T84" fmla="*/ 68 w 80"/>
              <a:gd name="T85" fmla="*/ 40 h 96"/>
              <a:gd name="T86" fmla="*/ 62 w 80"/>
              <a:gd name="T87" fmla="*/ 80 h 96"/>
              <a:gd name="T88" fmla="*/ 64 w 80"/>
              <a:gd name="T89" fmla="*/ 40 h 96"/>
              <a:gd name="T90" fmla="*/ 18 w 80"/>
              <a:gd name="T91" fmla="*/ 76 h 96"/>
              <a:gd name="T92" fmla="*/ 12 w 80"/>
              <a:gd name="T93" fmla="*/ 78 h 96"/>
              <a:gd name="T94" fmla="*/ 4 w 80"/>
              <a:gd name="T95" fmla="*/ 46 h 96"/>
              <a:gd name="T96" fmla="*/ 0 w 80"/>
              <a:gd name="T97" fmla="*/ 78 h 96"/>
              <a:gd name="T98" fmla="*/ 14 w 80"/>
              <a:gd name="T99" fmla="*/ 36 h 96"/>
              <a:gd name="T100" fmla="*/ 80 w 80"/>
              <a:gd name="T101" fmla="*/ 4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 h="96">
                <a:moveTo>
                  <a:pt x="59" y="80"/>
                </a:moveTo>
                <a:cubicBezTo>
                  <a:pt x="56" y="78"/>
                  <a:pt x="56" y="78"/>
                  <a:pt x="56" y="78"/>
                </a:cubicBezTo>
                <a:cubicBezTo>
                  <a:pt x="56" y="77"/>
                  <a:pt x="56" y="75"/>
                  <a:pt x="56" y="74"/>
                </a:cubicBezTo>
                <a:cubicBezTo>
                  <a:pt x="59" y="72"/>
                  <a:pt x="59" y="72"/>
                  <a:pt x="59" y="72"/>
                </a:cubicBezTo>
                <a:cubicBezTo>
                  <a:pt x="59" y="72"/>
                  <a:pt x="59" y="72"/>
                  <a:pt x="60" y="71"/>
                </a:cubicBezTo>
                <a:cubicBezTo>
                  <a:pt x="60" y="70"/>
                  <a:pt x="60" y="70"/>
                  <a:pt x="59" y="69"/>
                </a:cubicBezTo>
                <a:cubicBezTo>
                  <a:pt x="55" y="63"/>
                  <a:pt x="55" y="63"/>
                  <a:pt x="55" y="63"/>
                </a:cubicBezTo>
                <a:cubicBezTo>
                  <a:pt x="55" y="62"/>
                  <a:pt x="54" y="61"/>
                  <a:pt x="53" y="62"/>
                </a:cubicBezTo>
                <a:cubicBezTo>
                  <a:pt x="50" y="63"/>
                  <a:pt x="50" y="63"/>
                  <a:pt x="50" y="63"/>
                </a:cubicBezTo>
                <a:cubicBezTo>
                  <a:pt x="49" y="63"/>
                  <a:pt x="47" y="62"/>
                  <a:pt x="46" y="61"/>
                </a:cubicBezTo>
                <a:cubicBezTo>
                  <a:pt x="46" y="58"/>
                  <a:pt x="46" y="58"/>
                  <a:pt x="46" y="58"/>
                </a:cubicBezTo>
                <a:cubicBezTo>
                  <a:pt x="46" y="57"/>
                  <a:pt x="45" y="56"/>
                  <a:pt x="44" y="56"/>
                </a:cubicBezTo>
                <a:cubicBezTo>
                  <a:pt x="36" y="56"/>
                  <a:pt x="36" y="56"/>
                  <a:pt x="36" y="56"/>
                </a:cubicBezTo>
                <a:cubicBezTo>
                  <a:pt x="35" y="56"/>
                  <a:pt x="34" y="57"/>
                  <a:pt x="34" y="58"/>
                </a:cubicBezTo>
                <a:cubicBezTo>
                  <a:pt x="34" y="61"/>
                  <a:pt x="34" y="61"/>
                  <a:pt x="34" y="61"/>
                </a:cubicBezTo>
                <a:cubicBezTo>
                  <a:pt x="33" y="62"/>
                  <a:pt x="31" y="63"/>
                  <a:pt x="30" y="63"/>
                </a:cubicBezTo>
                <a:cubicBezTo>
                  <a:pt x="27" y="62"/>
                  <a:pt x="27" y="62"/>
                  <a:pt x="27" y="62"/>
                </a:cubicBezTo>
                <a:cubicBezTo>
                  <a:pt x="26" y="61"/>
                  <a:pt x="25" y="62"/>
                  <a:pt x="25" y="63"/>
                </a:cubicBezTo>
                <a:cubicBezTo>
                  <a:pt x="21" y="69"/>
                  <a:pt x="21" y="69"/>
                  <a:pt x="21" y="69"/>
                </a:cubicBezTo>
                <a:cubicBezTo>
                  <a:pt x="20" y="70"/>
                  <a:pt x="20" y="70"/>
                  <a:pt x="20" y="71"/>
                </a:cubicBezTo>
                <a:cubicBezTo>
                  <a:pt x="21" y="72"/>
                  <a:pt x="21" y="72"/>
                  <a:pt x="21" y="72"/>
                </a:cubicBezTo>
                <a:cubicBezTo>
                  <a:pt x="24" y="74"/>
                  <a:pt x="24" y="74"/>
                  <a:pt x="24" y="74"/>
                </a:cubicBezTo>
                <a:cubicBezTo>
                  <a:pt x="24" y="75"/>
                  <a:pt x="24" y="77"/>
                  <a:pt x="24" y="78"/>
                </a:cubicBezTo>
                <a:cubicBezTo>
                  <a:pt x="21" y="80"/>
                  <a:pt x="21" y="80"/>
                  <a:pt x="21" y="80"/>
                </a:cubicBezTo>
                <a:cubicBezTo>
                  <a:pt x="21" y="80"/>
                  <a:pt x="21" y="81"/>
                  <a:pt x="20" y="81"/>
                </a:cubicBezTo>
                <a:cubicBezTo>
                  <a:pt x="20" y="82"/>
                  <a:pt x="20" y="82"/>
                  <a:pt x="21" y="83"/>
                </a:cubicBezTo>
                <a:cubicBezTo>
                  <a:pt x="25" y="89"/>
                  <a:pt x="25" y="89"/>
                  <a:pt x="25" y="89"/>
                </a:cubicBezTo>
                <a:cubicBezTo>
                  <a:pt x="25" y="90"/>
                  <a:pt x="25" y="90"/>
                  <a:pt x="26" y="90"/>
                </a:cubicBezTo>
                <a:cubicBezTo>
                  <a:pt x="26" y="91"/>
                  <a:pt x="27" y="90"/>
                  <a:pt x="27" y="90"/>
                </a:cubicBezTo>
                <a:cubicBezTo>
                  <a:pt x="30" y="89"/>
                  <a:pt x="30" y="89"/>
                  <a:pt x="30" y="89"/>
                </a:cubicBezTo>
                <a:cubicBezTo>
                  <a:pt x="31" y="89"/>
                  <a:pt x="33" y="90"/>
                  <a:pt x="34" y="91"/>
                </a:cubicBezTo>
                <a:cubicBezTo>
                  <a:pt x="34" y="94"/>
                  <a:pt x="34" y="94"/>
                  <a:pt x="34" y="94"/>
                </a:cubicBezTo>
                <a:cubicBezTo>
                  <a:pt x="34" y="95"/>
                  <a:pt x="35" y="96"/>
                  <a:pt x="36" y="96"/>
                </a:cubicBezTo>
                <a:cubicBezTo>
                  <a:pt x="44" y="96"/>
                  <a:pt x="44" y="96"/>
                  <a:pt x="44" y="96"/>
                </a:cubicBezTo>
                <a:cubicBezTo>
                  <a:pt x="45" y="96"/>
                  <a:pt x="46" y="95"/>
                  <a:pt x="46" y="94"/>
                </a:cubicBezTo>
                <a:cubicBezTo>
                  <a:pt x="46" y="91"/>
                  <a:pt x="46" y="91"/>
                  <a:pt x="46" y="91"/>
                </a:cubicBezTo>
                <a:cubicBezTo>
                  <a:pt x="47" y="90"/>
                  <a:pt x="49" y="89"/>
                  <a:pt x="50" y="89"/>
                </a:cubicBezTo>
                <a:cubicBezTo>
                  <a:pt x="53" y="90"/>
                  <a:pt x="53" y="90"/>
                  <a:pt x="53" y="90"/>
                </a:cubicBezTo>
                <a:cubicBezTo>
                  <a:pt x="53" y="90"/>
                  <a:pt x="54" y="91"/>
                  <a:pt x="54" y="90"/>
                </a:cubicBezTo>
                <a:cubicBezTo>
                  <a:pt x="55" y="90"/>
                  <a:pt x="55" y="90"/>
                  <a:pt x="55" y="89"/>
                </a:cubicBezTo>
                <a:cubicBezTo>
                  <a:pt x="59" y="83"/>
                  <a:pt x="59" y="83"/>
                  <a:pt x="59" y="83"/>
                </a:cubicBezTo>
                <a:cubicBezTo>
                  <a:pt x="60" y="82"/>
                  <a:pt x="60" y="82"/>
                  <a:pt x="60" y="81"/>
                </a:cubicBezTo>
                <a:cubicBezTo>
                  <a:pt x="59" y="81"/>
                  <a:pt x="59" y="80"/>
                  <a:pt x="59" y="80"/>
                </a:cubicBezTo>
                <a:close/>
                <a:moveTo>
                  <a:pt x="53" y="86"/>
                </a:moveTo>
                <a:cubicBezTo>
                  <a:pt x="51" y="84"/>
                  <a:pt x="51" y="84"/>
                  <a:pt x="51" y="84"/>
                </a:cubicBezTo>
                <a:cubicBezTo>
                  <a:pt x="50" y="84"/>
                  <a:pt x="49" y="84"/>
                  <a:pt x="48" y="85"/>
                </a:cubicBezTo>
                <a:cubicBezTo>
                  <a:pt x="47" y="86"/>
                  <a:pt x="45" y="87"/>
                  <a:pt x="43" y="87"/>
                </a:cubicBezTo>
                <a:cubicBezTo>
                  <a:pt x="43" y="88"/>
                  <a:pt x="42" y="88"/>
                  <a:pt x="42" y="89"/>
                </a:cubicBezTo>
                <a:cubicBezTo>
                  <a:pt x="42" y="92"/>
                  <a:pt x="42" y="92"/>
                  <a:pt x="42" y="92"/>
                </a:cubicBezTo>
                <a:cubicBezTo>
                  <a:pt x="38" y="92"/>
                  <a:pt x="38" y="92"/>
                  <a:pt x="38" y="92"/>
                </a:cubicBezTo>
                <a:cubicBezTo>
                  <a:pt x="38" y="89"/>
                  <a:pt x="38" y="89"/>
                  <a:pt x="38" y="89"/>
                </a:cubicBezTo>
                <a:cubicBezTo>
                  <a:pt x="38" y="88"/>
                  <a:pt x="37" y="88"/>
                  <a:pt x="37" y="87"/>
                </a:cubicBezTo>
                <a:cubicBezTo>
                  <a:pt x="35" y="87"/>
                  <a:pt x="33" y="86"/>
                  <a:pt x="32" y="85"/>
                </a:cubicBezTo>
                <a:cubicBezTo>
                  <a:pt x="31" y="84"/>
                  <a:pt x="30" y="84"/>
                  <a:pt x="29" y="84"/>
                </a:cubicBezTo>
                <a:cubicBezTo>
                  <a:pt x="27" y="86"/>
                  <a:pt x="27" y="86"/>
                  <a:pt x="27" y="86"/>
                </a:cubicBezTo>
                <a:cubicBezTo>
                  <a:pt x="25" y="82"/>
                  <a:pt x="25" y="82"/>
                  <a:pt x="25" y="82"/>
                </a:cubicBezTo>
                <a:cubicBezTo>
                  <a:pt x="27" y="81"/>
                  <a:pt x="27" y="81"/>
                  <a:pt x="27" y="81"/>
                </a:cubicBezTo>
                <a:cubicBezTo>
                  <a:pt x="28" y="81"/>
                  <a:pt x="29" y="80"/>
                  <a:pt x="28" y="79"/>
                </a:cubicBezTo>
                <a:cubicBezTo>
                  <a:pt x="28" y="77"/>
                  <a:pt x="28" y="75"/>
                  <a:pt x="28" y="73"/>
                </a:cubicBezTo>
                <a:cubicBezTo>
                  <a:pt x="29" y="72"/>
                  <a:pt x="28" y="71"/>
                  <a:pt x="27" y="71"/>
                </a:cubicBezTo>
                <a:cubicBezTo>
                  <a:pt x="25" y="70"/>
                  <a:pt x="25" y="70"/>
                  <a:pt x="25" y="70"/>
                </a:cubicBezTo>
                <a:cubicBezTo>
                  <a:pt x="27" y="66"/>
                  <a:pt x="27" y="66"/>
                  <a:pt x="27" y="66"/>
                </a:cubicBezTo>
                <a:cubicBezTo>
                  <a:pt x="29" y="68"/>
                  <a:pt x="29" y="68"/>
                  <a:pt x="29" y="68"/>
                </a:cubicBezTo>
                <a:cubicBezTo>
                  <a:pt x="30" y="68"/>
                  <a:pt x="31" y="68"/>
                  <a:pt x="32" y="67"/>
                </a:cubicBezTo>
                <a:cubicBezTo>
                  <a:pt x="33" y="66"/>
                  <a:pt x="35" y="65"/>
                  <a:pt x="37" y="65"/>
                </a:cubicBezTo>
                <a:cubicBezTo>
                  <a:pt x="37" y="64"/>
                  <a:pt x="38" y="64"/>
                  <a:pt x="38" y="63"/>
                </a:cubicBezTo>
                <a:cubicBezTo>
                  <a:pt x="38" y="60"/>
                  <a:pt x="38" y="60"/>
                  <a:pt x="38" y="60"/>
                </a:cubicBezTo>
                <a:cubicBezTo>
                  <a:pt x="42" y="60"/>
                  <a:pt x="42" y="60"/>
                  <a:pt x="42" y="60"/>
                </a:cubicBezTo>
                <a:cubicBezTo>
                  <a:pt x="42" y="63"/>
                  <a:pt x="42" y="63"/>
                  <a:pt x="42" y="63"/>
                </a:cubicBezTo>
                <a:cubicBezTo>
                  <a:pt x="42" y="64"/>
                  <a:pt x="43" y="64"/>
                  <a:pt x="43" y="65"/>
                </a:cubicBezTo>
                <a:cubicBezTo>
                  <a:pt x="45" y="65"/>
                  <a:pt x="47" y="66"/>
                  <a:pt x="48" y="67"/>
                </a:cubicBezTo>
                <a:cubicBezTo>
                  <a:pt x="49" y="68"/>
                  <a:pt x="50" y="68"/>
                  <a:pt x="51" y="68"/>
                </a:cubicBezTo>
                <a:cubicBezTo>
                  <a:pt x="53" y="66"/>
                  <a:pt x="53" y="66"/>
                  <a:pt x="53" y="66"/>
                </a:cubicBezTo>
                <a:cubicBezTo>
                  <a:pt x="55" y="70"/>
                  <a:pt x="55" y="70"/>
                  <a:pt x="55" y="70"/>
                </a:cubicBezTo>
                <a:cubicBezTo>
                  <a:pt x="53" y="71"/>
                  <a:pt x="53" y="71"/>
                  <a:pt x="53" y="71"/>
                </a:cubicBezTo>
                <a:cubicBezTo>
                  <a:pt x="52" y="71"/>
                  <a:pt x="51" y="72"/>
                  <a:pt x="52" y="73"/>
                </a:cubicBezTo>
                <a:cubicBezTo>
                  <a:pt x="52" y="75"/>
                  <a:pt x="52" y="77"/>
                  <a:pt x="52" y="79"/>
                </a:cubicBezTo>
                <a:cubicBezTo>
                  <a:pt x="51" y="80"/>
                  <a:pt x="52" y="81"/>
                  <a:pt x="53" y="81"/>
                </a:cubicBezTo>
                <a:cubicBezTo>
                  <a:pt x="55" y="82"/>
                  <a:pt x="55" y="82"/>
                  <a:pt x="55" y="82"/>
                </a:cubicBezTo>
                <a:lnTo>
                  <a:pt x="53" y="86"/>
                </a:lnTo>
                <a:close/>
                <a:moveTo>
                  <a:pt x="40" y="68"/>
                </a:moveTo>
                <a:cubicBezTo>
                  <a:pt x="36" y="68"/>
                  <a:pt x="32" y="72"/>
                  <a:pt x="32" y="76"/>
                </a:cubicBezTo>
                <a:cubicBezTo>
                  <a:pt x="32" y="80"/>
                  <a:pt x="36" y="84"/>
                  <a:pt x="40" y="84"/>
                </a:cubicBezTo>
                <a:cubicBezTo>
                  <a:pt x="44" y="84"/>
                  <a:pt x="48" y="80"/>
                  <a:pt x="48" y="76"/>
                </a:cubicBezTo>
                <a:cubicBezTo>
                  <a:pt x="48" y="72"/>
                  <a:pt x="44" y="68"/>
                  <a:pt x="40" y="68"/>
                </a:cubicBezTo>
                <a:close/>
                <a:moveTo>
                  <a:pt x="40" y="80"/>
                </a:moveTo>
                <a:cubicBezTo>
                  <a:pt x="38" y="80"/>
                  <a:pt x="36" y="78"/>
                  <a:pt x="36" y="76"/>
                </a:cubicBezTo>
                <a:cubicBezTo>
                  <a:pt x="36" y="74"/>
                  <a:pt x="38" y="72"/>
                  <a:pt x="40" y="72"/>
                </a:cubicBezTo>
                <a:cubicBezTo>
                  <a:pt x="42" y="72"/>
                  <a:pt x="44" y="74"/>
                  <a:pt x="44" y="76"/>
                </a:cubicBezTo>
                <a:cubicBezTo>
                  <a:pt x="44" y="78"/>
                  <a:pt x="42" y="80"/>
                  <a:pt x="40" y="80"/>
                </a:cubicBezTo>
                <a:close/>
                <a:moveTo>
                  <a:pt x="14" y="32"/>
                </a:moveTo>
                <a:cubicBezTo>
                  <a:pt x="66" y="32"/>
                  <a:pt x="66" y="32"/>
                  <a:pt x="66" y="32"/>
                </a:cubicBezTo>
                <a:cubicBezTo>
                  <a:pt x="67" y="32"/>
                  <a:pt x="67" y="32"/>
                  <a:pt x="68" y="31"/>
                </a:cubicBezTo>
                <a:cubicBezTo>
                  <a:pt x="68" y="31"/>
                  <a:pt x="68" y="30"/>
                  <a:pt x="68" y="30"/>
                </a:cubicBezTo>
                <a:cubicBezTo>
                  <a:pt x="66" y="19"/>
                  <a:pt x="58" y="12"/>
                  <a:pt x="48" y="9"/>
                </a:cubicBezTo>
                <a:cubicBezTo>
                  <a:pt x="53" y="3"/>
                  <a:pt x="53" y="3"/>
                  <a:pt x="53" y="3"/>
                </a:cubicBezTo>
                <a:cubicBezTo>
                  <a:pt x="54" y="3"/>
                  <a:pt x="54" y="1"/>
                  <a:pt x="53" y="1"/>
                </a:cubicBezTo>
                <a:cubicBezTo>
                  <a:pt x="52" y="0"/>
                  <a:pt x="51" y="0"/>
                  <a:pt x="50" y="1"/>
                </a:cubicBezTo>
                <a:cubicBezTo>
                  <a:pt x="43" y="8"/>
                  <a:pt x="43" y="8"/>
                  <a:pt x="43" y="8"/>
                </a:cubicBezTo>
                <a:cubicBezTo>
                  <a:pt x="42" y="8"/>
                  <a:pt x="41" y="8"/>
                  <a:pt x="40" y="8"/>
                </a:cubicBezTo>
                <a:cubicBezTo>
                  <a:pt x="39" y="8"/>
                  <a:pt x="38" y="8"/>
                  <a:pt x="37" y="8"/>
                </a:cubicBezTo>
                <a:cubicBezTo>
                  <a:pt x="30" y="1"/>
                  <a:pt x="30" y="1"/>
                  <a:pt x="30" y="1"/>
                </a:cubicBezTo>
                <a:cubicBezTo>
                  <a:pt x="29" y="0"/>
                  <a:pt x="28" y="0"/>
                  <a:pt x="27" y="1"/>
                </a:cubicBezTo>
                <a:cubicBezTo>
                  <a:pt x="26" y="1"/>
                  <a:pt x="26" y="3"/>
                  <a:pt x="27" y="3"/>
                </a:cubicBezTo>
                <a:cubicBezTo>
                  <a:pt x="32" y="9"/>
                  <a:pt x="32" y="9"/>
                  <a:pt x="32" y="9"/>
                </a:cubicBezTo>
                <a:cubicBezTo>
                  <a:pt x="22" y="12"/>
                  <a:pt x="14" y="19"/>
                  <a:pt x="12" y="30"/>
                </a:cubicBezTo>
                <a:cubicBezTo>
                  <a:pt x="12" y="30"/>
                  <a:pt x="12" y="31"/>
                  <a:pt x="12" y="31"/>
                </a:cubicBezTo>
                <a:cubicBezTo>
                  <a:pt x="13" y="32"/>
                  <a:pt x="13" y="32"/>
                  <a:pt x="14" y="32"/>
                </a:cubicBezTo>
                <a:close/>
                <a:moveTo>
                  <a:pt x="40" y="12"/>
                </a:moveTo>
                <a:cubicBezTo>
                  <a:pt x="51" y="12"/>
                  <a:pt x="60" y="18"/>
                  <a:pt x="63" y="28"/>
                </a:cubicBezTo>
                <a:cubicBezTo>
                  <a:pt x="17" y="28"/>
                  <a:pt x="17" y="28"/>
                  <a:pt x="17" y="28"/>
                </a:cubicBezTo>
                <a:cubicBezTo>
                  <a:pt x="20" y="18"/>
                  <a:pt x="29" y="12"/>
                  <a:pt x="40" y="12"/>
                </a:cubicBezTo>
                <a:close/>
                <a:moveTo>
                  <a:pt x="32" y="20"/>
                </a:moveTo>
                <a:cubicBezTo>
                  <a:pt x="36" y="20"/>
                  <a:pt x="36" y="20"/>
                  <a:pt x="36" y="20"/>
                </a:cubicBezTo>
                <a:cubicBezTo>
                  <a:pt x="36" y="24"/>
                  <a:pt x="36" y="24"/>
                  <a:pt x="36" y="24"/>
                </a:cubicBezTo>
                <a:cubicBezTo>
                  <a:pt x="32" y="24"/>
                  <a:pt x="32" y="24"/>
                  <a:pt x="32" y="24"/>
                </a:cubicBezTo>
                <a:lnTo>
                  <a:pt x="32" y="20"/>
                </a:lnTo>
                <a:close/>
                <a:moveTo>
                  <a:pt x="44" y="20"/>
                </a:moveTo>
                <a:cubicBezTo>
                  <a:pt x="48" y="20"/>
                  <a:pt x="48" y="20"/>
                  <a:pt x="48" y="20"/>
                </a:cubicBezTo>
                <a:cubicBezTo>
                  <a:pt x="48" y="24"/>
                  <a:pt x="48" y="24"/>
                  <a:pt x="48" y="24"/>
                </a:cubicBezTo>
                <a:cubicBezTo>
                  <a:pt x="44" y="24"/>
                  <a:pt x="44" y="24"/>
                  <a:pt x="44" y="24"/>
                </a:cubicBezTo>
                <a:lnTo>
                  <a:pt x="44" y="20"/>
                </a:lnTo>
                <a:close/>
                <a:moveTo>
                  <a:pt x="80" y="46"/>
                </a:moveTo>
                <a:cubicBezTo>
                  <a:pt x="80" y="78"/>
                  <a:pt x="80" y="78"/>
                  <a:pt x="80" y="78"/>
                </a:cubicBezTo>
                <a:cubicBezTo>
                  <a:pt x="80" y="79"/>
                  <a:pt x="79" y="80"/>
                  <a:pt x="78" y="80"/>
                </a:cubicBezTo>
                <a:cubicBezTo>
                  <a:pt x="77" y="80"/>
                  <a:pt x="76" y="79"/>
                  <a:pt x="76" y="78"/>
                </a:cubicBezTo>
                <a:cubicBezTo>
                  <a:pt x="76" y="46"/>
                  <a:pt x="76" y="46"/>
                  <a:pt x="76" y="46"/>
                </a:cubicBezTo>
                <a:cubicBezTo>
                  <a:pt x="76" y="44"/>
                  <a:pt x="75" y="40"/>
                  <a:pt x="72" y="40"/>
                </a:cubicBezTo>
                <a:cubicBezTo>
                  <a:pt x="68" y="40"/>
                  <a:pt x="68" y="40"/>
                  <a:pt x="68" y="40"/>
                </a:cubicBezTo>
                <a:cubicBezTo>
                  <a:pt x="68" y="78"/>
                  <a:pt x="68" y="78"/>
                  <a:pt x="68" y="78"/>
                </a:cubicBezTo>
                <a:cubicBezTo>
                  <a:pt x="68" y="79"/>
                  <a:pt x="67" y="80"/>
                  <a:pt x="66" y="80"/>
                </a:cubicBezTo>
                <a:cubicBezTo>
                  <a:pt x="62" y="80"/>
                  <a:pt x="62" y="80"/>
                  <a:pt x="62" y="80"/>
                </a:cubicBezTo>
                <a:cubicBezTo>
                  <a:pt x="62" y="76"/>
                  <a:pt x="62" y="76"/>
                  <a:pt x="62" y="76"/>
                </a:cubicBezTo>
                <a:cubicBezTo>
                  <a:pt x="64" y="76"/>
                  <a:pt x="64" y="76"/>
                  <a:pt x="64" y="76"/>
                </a:cubicBezTo>
                <a:cubicBezTo>
                  <a:pt x="64" y="40"/>
                  <a:pt x="64" y="40"/>
                  <a:pt x="64" y="40"/>
                </a:cubicBezTo>
                <a:cubicBezTo>
                  <a:pt x="16" y="40"/>
                  <a:pt x="16" y="40"/>
                  <a:pt x="16" y="40"/>
                </a:cubicBezTo>
                <a:cubicBezTo>
                  <a:pt x="16" y="76"/>
                  <a:pt x="16" y="76"/>
                  <a:pt x="16" y="76"/>
                </a:cubicBezTo>
                <a:cubicBezTo>
                  <a:pt x="18" y="76"/>
                  <a:pt x="18" y="76"/>
                  <a:pt x="18" y="76"/>
                </a:cubicBezTo>
                <a:cubicBezTo>
                  <a:pt x="18" y="80"/>
                  <a:pt x="18" y="80"/>
                  <a:pt x="18" y="80"/>
                </a:cubicBezTo>
                <a:cubicBezTo>
                  <a:pt x="14" y="80"/>
                  <a:pt x="14" y="80"/>
                  <a:pt x="14" y="80"/>
                </a:cubicBezTo>
                <a:cubicBezTo>
                  <a:pt x="13" y="80"/>
                  <a:pt x="12" y="79"/>
                  <a:pt x="12" y="78"/>
                </a:cubicBezTo>
                <a:cubicBezTo>
                  <a:pt x="12" y="40"/>
                  <a:pt x="12" y="40"/>
                  <a:pt x="12" y="40"/>
                </a:cubicBezTo>
                <a:cubicBezTo>
                  <a:pt x="8" y="40"/>
                  <a:pt x="8" y="40"/>
                  <a:pt x="8" y="40"/>
                </a:cubicBezTo>
                <a:cubicBezTo>
                  <a:pt x="5" y="40"/>
                  <a:pt x="4" y="44"/>
                  <a:pt x="4" y="46"/>
                </a:cubicBezTo>
                <a:cubicBezTo>
                  <a:pt x="4" y="78"/>
                  <a:pt x="4" y="78"/>
                  <a:pt x="4" y="78"/>
                </a:cubicBezTo>
                <a:cubicBezTo>
                  <a:pt x="4" y="79"/>
                  <a:pt x="3" y="80"/>
                  <a:pt x="2" y="80"/>
                </a:cubicBezTo>
                <a:cubicBezTo>
                  <a:pt x="1" y="80"/>
                  <a:pt x="0" y="79"/>
                  <a:pt x="0" y="78"/>
                </a:cubicBezTo>
                <a:cubicBezTo>
                  <a:pt x="0" y="46"/>
                  <a:pt x="0" y="46"/>
                  <a:pt x="0" y="46"/>
                </a:cubicBezTo>
                <a:cubicBezTo>
                  <a:pt x="0" y="41"/>
                  <a:pt x="3" y="36"/>
                  <a:pt x="8" y="36"/>
                </a:cubicBezTo>
                <a:cubicBezTo>
                  <a:pt x="14" y="36"/>
                  <a:pt x="14" y="36"/>
                  <a:pt x="14" y="36"/>
                </a:cubicBezTo>
                <a:cubicBezTo>
                  <a:pt x="66" y="36"/>
                  <a:pt x="66" y="36"/>
                  <a:pt x="66" y="36"/>
                </a:cubicBezTo>
                <a:cubicBezTo>
                  <a:pt x="72" y="36"/>
                  <a:pt x="72" y="36"/>
                  <a:pt x="72" y="36"/>
                </a:cubicBezTo>
                <a:cubicBezTo>
                  <a:pt x="77" y="36"/>
                  <a:pt x="80" y="41"/>
                  <a:pt x="80" y="46"/>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grpSp>
        <p:nvGrpSpPr>
          <p:cNvPr id="224" name="gear; operations; automate; automated; settings; cog; gears; cogs">
            <a:extLst>
              <a:ext uri="{FF2B5EF4-FFF2-40B4-BE49-F238E27FC236}">
                <a16:creationId xmlns:a16="http://schemas.microsoft.com/office/drawing/2014/main" id="{403E7C27-101B-0459-DE61-EF9720FE4874}"/>
              </a:ext>
            </a:extLst>
          </p:cNvPr>
          <p:cNvGrpSpPr>
            <a:grpSpLocks noChangeAspect="1"/>
          </p:cNvGrpSpPr>
          <p:nvPr/>
        </p:nvGrpSpPr>
        <p:grpSpPr bwMode="auto">
          <a:xfrm>
            <a:off x="5004138" y="1991183"/>
            <a:ext cx="249580" cy="236113"/>
            <a:chOff x="2402" y="439"/>
            <a:chExt cx="426" cy="426"/>
          </a:xfrm>
          <a:solidFill>
            <a:schemeClr val="accent2"/>
          </a:solidFill>
        </p:grpSpPr>
        <p:sp>
          <p:nvSpPr>
            <p:cNvPr id="259" name="Freeform 29">
              <a:extLst>
                <a:ext uri="{FF2B5EF4-FFF2-40B4-BE49-F238E27FC236}">
                  <a16:creationId xmlns:a16="http://schemas.microsoft.com/office/drawing/2014/main" id="{33BDAD51-1611-499E-931F-CD2F504D34B8}"/>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sp>
          <p:nvSpPr>
            <p:cNvPr id="260" name="Freeform 30">
              <a:extLst>
                <a:ext uri="{FF2B5EF4-FFF2-40B4-BE49-F238E27FC236}">
                  <a16:creationId xmlns:a16="http://schemas.microsoft.com/office/drawing/2014/main" id="{356D6C15-ABF0-BB85-A577-CAEB3C0EEB16}"/>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grpSp>
      <p:grpSp>
        <p:nvGrpSpPr>
          <p:cNvPr id="225" name="books; content; shelf; library">
            <a:extLst>
              <a:ext uri="{FF2B5EF4-FFF2-40B4-BE49-F238E27FC236}">
                <a16:creationId xmlns:a16="http://schemas.microsoft.com/office/drawing/2014/main" id="{13E7EB37-0B03-FF5F-B1F9-3095DFC6FD46}"/>
              </a:ext>
            </a:extLst>
          </p:cNvPr>
          <p:cNvGrpSpPr>
            <a:grpSpLocks noChangeAspect="1"/>
          </p:cNvGrpSpPr>
          <p:nvPr/>
        </p:nvGrpSpPr>
        <p:grpSpPr bwMode="auto">
          <a:xfrm>
            <a:off x="4983652" y="2468844"/>
            <a:ext cx="278906" cy="263856"/>
            <a:chOff x="1371" y="444"/>
            <a:chExt cx="426" cy="426"/>
          </a:xfrm>
          <a:solidFill>
            <a:schemeClr val="accent2"/>
          </a:solidFill>
        </p:grpSpPr>
        <p:sp>
          <p:nvSpPr>
            <p:cNvPr id="249" name="Freeform 12">
              <a:extLst>
                <a:ext uri="{FF2B5EF4-FFF2-40B4-BE49-F238E27FC236}">
                  <a16:creationId xmlns:a16="http://schemas.microsoft.com/office/drawing/2014/main" id="{FC0E8566-2E17-A8BB-C2B6-18039E17E0D1}"/>
                </a:ext>
              </a:extLst>
            </p:cNvPr>
            <p:cNvSpPr>
              <a:spLocks noEditPoints="1"/>
            </p:cNvSpPr>
            <p:nvPr/>
          </p:nvSpPr>
          <p:spPr bwMode="auto">
            <a:xfrm>
              <a:off x="1371" y="444"/>
              <a:ext cx="426" cy="426"/>
            </a:xfrm>
            <a:custGeom>
              <a:avLst/>
              <a:gdLst>
                <a:gd name="T0" fmla="*/ 282 w 288"/>
                <a:gd name="T1" fmla="*/ 288 h 288"/>
                <a:gd name="T2" fmla="*/ 253 w 288"/>
                <a:gd name="T3" fmla="*/ 288 h 288"/>
                <a:gd name="T4" fmla="*/ 247 w 288"/>
                <a:gd name="T5" fmla="*/ 284 h 288"/>
                <a:gd name="T6" fmla="*/ 236 w 288"/>
                <a:gd name="T7" fmla="*/ 252 h 288"/>
                <a:gd name="T8" fmla="*/ 53 w 288"/>
                <a:gd name="T9" fmla="*/ 252 h 288"/>
                <a:gd name="T10" fmla="*/ 42 w 288"/>
                <a:gd name="T11" fmla="*/ 284 h 288"/>
                <a:gd name="T12" fmla="*/ 36 w 288"/>
                <a:gd name="T13" fmla="*/ 288 h 288"/>
                <a:gd name="T14" fmla="*/ 6 w 288"/>
                <a:gd name="T15" fmla="*/ 288 h 288"/>
                <a:gd name="T16" fmla="*/ 0 w 288"/>
                <a:gd name="T17" fmla="*/ 282 h 288"/>
                <a:gd name="T18" fmla="*/ 0 w 288"/>
                <a:gd name="T19" fmla="*/ 30 h 288"/>
                <a:gd name="T20" fmla="*/ 30 w 288"/>
                <a:gd name="T21" fmla="*/ 0 h 288"/>
                <a:gd name="T22" fmla="*/ 258 w 288"/>
                <a:gd name="T23" fmla="*/ 0 h 288"/>
                <a:gd name="T24" fmla="*/ 288 w 288"/>
                <a:gd name="T25" fmla="*/ 30 h 288"/>
                <a:gd name="T26" fmla="*/ 288 w 288"/>
                <a:gd name="T27" fmla="*/ 282 h 288"/>
                <a:gd name="T28" fmla="*/ 282 w 288"/>
                <a:gd name="T29" fmla="*/ 288 h 288"/>
                <a:gd name="T30" fmla="*/ 257 w 288"/>
                <a:gd name="T31" fmla="*/ 276 h 288"/>
                <a:gd name="T32" fmla="*/ 276 w 288"/>
                <a:gd name="T33" fmla="*/ 276 h 288"/>
                <a:gd name="T34" fmla="*/ 276 w 288"/>
                <a:gd name="T35" fmla="*/ 30 h 288"/>
                <a:gd name="T36" fmla="*/ 258 w 288"/>
                <a:gd name="T37" fmla="*/ 12 h 288"/>
                <a:gd name="T38" fmla="*/ 30 w 288"/>
                <a:gd name="T39" fmla="*/ 12 h 288"/>
                <a:gd name="T40" fmla="*/ 12 w 288"/>
                <a:gd name="T41" fmla="*/ 30 h 288"/>
                <a:gd name="T42" fmla="*/ 12 w 288"/>
                <a:gd name="T43" fmla="*/ 276 h 288"/>
                <a:gd name="T44" fmla="*/ 32 w 288"/>
                <a:gd name="T45" fmla="*/ 276 h 288"/>
                <a:gd name="T46" fmla="*/ 43 w 288"/>
                <a:gd name="T47" fmla="*/ 245 h 288"/>
                <a:gd name="T48" fmla="*/ 48 w 288"/>
                <a:gd name="T49" fmla="*/ 240 h 288"/>
                <a:gd name="T50" fmla="*/ 240 w 288"/>
                <a:gd name="T51" fmla="*/ 240 h 288"/>
                <a:gd name="T52" fmla="*/ 246 w 288"/>
                <a:gd name="T53" fmla="*/ 244 h 288"/>
                <a:gd name="T54" fmla="*/ 257 w 288"/>
                <a:gd name="T5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8" h="288">
                  <a:moveTo>
                    <a:pt x="282" y="288"/>
                  </a:moveTo>
                  <a:cubicBezTo>
                    <a:pt x="253" y="288"/>
                    <a:pt x="253" y="288"/>
                    <a:pt x="253" y="288"/>
                  </a:cubicBezTo>
                  <a:cubicBezTo>
                    <a:pt x="250" y="288"/>
                    <a:pt x="248" y="287"/>
                    <a:pt x="247" y="284"/>
                  </a:cubicBezTo>
                  <a:cubicBezTo>
                    <a:pt x="236" y="252"/>
                    <a:pt x="236" y="252"/>
                    <a:pt x="236" y="252"/>
                  </a:cubicBezTo>
                  <a:cubicBezTo>
                    <a:pt x="53" y="252"/>
                    <a:pt x="53" y="252"/>
                    <a:pt x="53" y="252"/>
                  </a:cubicBezTo>
                  <a:cubicBezTo>
                    <a:pt x="42" y="284"/>
                    <a:pt x="42" y="284"/>
                    <a:pt x="42" y="284"/>
                  </a:cubicBezTo>
                  <a:cubicBezTo>
                    <a:pt x="41" y="287"/>
                    <a:pt x="39" y="288"/>
                    <a:pt x="36" y="288"/>
                  </a:cubicBezTo>
                  <a:cubicBezTo>
                    <a:pt x="6" y="288"/>
                    <a:pt x="6" y="288"/>
                    <a:pt x="6" y="288"/>
                  </a:cubicBezTo>
                  <a:cubicBezTo>
                    <a:pt x="3" y="288"/>
                    <a:pt x="0" y="286"/>
                    <a:pt x="0" y="282"/>
                  </a:cubicBezTo>
                  <a:cubicBezTo>
                    <a:pt x="0" y="30"/>
                    <a:pt x="0" y="30"/>
                    <a:pt x="0" y="30"/>
                  </a:cubicBezTo>
                  <a:cubicBezTo>
                    <a:pt x="0" y="14"/>
                    <a:pt x="14" y="0"/>
                    <a:pt x="30" y="0"/>
                  </a:cubicBezTo>
                  <a:cubicBezTo>
                    <a:pt x="258" y="0"/>
                    <a:pt x="258" y="0"/>
                    <a:pt x="258" y="0"/>
                  </a:cubicBezTo>
                  <a:cubicBezTo>
                    <a:pt x="275" y="0"/>
                    <a:pt x="288" y="14"/>
                    <a:pt x="288" y="30"/>
                  </a:cubicBezTo>
                  <a:cubicBezTo>
                    <a:pt x="288" y="282"/>
                    <a:pt x="288" y="282"/>
                    <a:pt x="288" y="282"/>
                  </a:cubicBezTo>
                  <a:cubicBezTo>
                    <a:pt x="288" y="286"/>
                    <a:pt x="286" y="288"/>
                    <a:pt x="282" y="288"/>
                  </a:cubicBezTo>
                  <a:close/>
                  <a:moveTo>
                    <a:pt x="257" y="276"/>
                  </a:moveTo>
                  <a:cubicBezTo>
                    <a:pt x="276" y="276"/>
                    <a:pt x="276" y="276"/>
                    <a:pt x="276" y="276"/>
                  </a:cubicBezTo>
                  <a:cubicBezTo>
                    <a:pt x="276" y="30"/>
                    <a:pt x="276" y="30"/>
                    <a:pt x="276" y="30"/>
                  </a:cubicBezTo>
                  <a:cubicBezTo>
                    <a:pt x="276" y="21"/>
                    <a:pt x="268" y="12"/>
                    <a:pt x="258" y="12"/>
                  </a:cubicBezTo>
                  <a:cubicBezTo>
                    <a:pt x="30" y="12"/>
                    <a:pt x="30" y="12"/>
                    <a:pt x="30" y="12"/>
                  </a:cubicBezTo>
                  <a:cubicBezTo>
                    <a:pt x="21" y="12"/>
                    <a:pt x="12" y="21"/>
                    <a:pt x="12" y="30"/>
                  </a:cubicBezTo>
                  <a:cubicBezTo>
                    <a:pt x="12" y="276"/>
                    <a:pt x="12" y="276"/>
                    <a:pt x="12" y="276"/>
                  </a:cubicBezTo>
                  <a:cubicBezTo>
                    <a:pt x="32" y="276"/>
                    <a:pt x="32" y="276"/>
                    <a:pt x="32" y="276"/>
                  </a:cubicBezTo>
                  <a:cubicBezTo>
                    <a:pt x="43" y="245"/>
                    <a:pt x="43" y="245"/>
                    <a:pt x="43" y="245"/>
                  </a:cubicBezTo>
                  <a:cubicBezTo>
                    <a:pt x="44" y="242"/>
                    <a:pt x="46" y="240"/>
                    <a:pt x="48" y="240"/>
                  </a:cubicBezTo>
                  <a:cubicBezTo>
                    <a:pt x="240" y="240"/>
                    <a:pt x="240" y="240"/>
                    <a:pt x="240" y="240"/>
                  </a:cubicBezTo>
                  <a:cubicBezTo>
                    <a:pt x="243" y="240"/>
                    <a:pt x="245" y="242"/>
                    <a:pt x="246" y="244"/>
                  </a:cubicBezTo>
                  <a:lnTo>
                    <a:pt x="257" y="27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sp>
          <p:nvSpPr>
            <p:cNvPr id="250" name="Freeform 13">
              <a:extLst>
                <a:ext uri="{FF2B5EF4-FFF2-40B4-BE49-F238E27FC236}">
                  <a16:creationId xmlns:a16="http://schemas.microsoft.com/office/drawing/2014/main" id="{8C98BF01-5C14-3678-5FA3-FEB133D33CF7}"/>
                </a:ext>
              </a:extLst>
            </p:cNvPr>
            <p:cNvSpPr>
              <a:spLocks noEditPoints="1"/>
            </p:cNvSpPr>
            <p:nvPr/>
          </p:nvSpPr>
          <p:spPr bwMode="auto">
            <a:xfrm>
              <a:off x="1407" y="480"/>
              <a:ext cx="355" cy="142"/>
            </a:xfrm>
            <a:custGeom>
              <a:avLst/>
              <a:gdLst>
                <a:gd name="T0" fmla="*/ 234 w 240"/>
                <a:gd name="T1" fmla="*/ 96 h 96"/>
                <a:gd name="T2" fmla="*/ 6 w 240"/>
                <a:gd name="T3" fmla="*/ 96 h 96"/>
                <a:gd name="T4" fmla="*/ 0 w 240"/>
                <a:gd name="T5" fmla="*/ 90 h 96"/>
                <a:gd name="T6" fmla="*/ 0 w 240"/>
                <a:gd name="T7" fmla="*/ 6 h 96"/>
                <a:gd name="T8" fmla="*/ 6 w 240"/>
                <a:gd name="T9" fmla="*/ 0 h 96"/>
                <a:gd name="T10" fmla="*/ 234 w 240"/>
                <a:gd name="T11" fmla="*/ 0 h 96"/>
                <a:gd name="T12" fmla="*/ 240 w 240"/>
                <a:gd name="T13" fmla="*/ 6 h 96"/>
                <a:gd name="T14" fmla="*/ 240 w 240"/>
                <a:gd name="T15" fmla="*/ 90 h 96"/>
                <a:gd name="T16" fmla="*/ 234 w 240"/>
                <a:gd name="T17" fmla="*/ 96 h 96"/>
                <a:gd name="T18" fmla="*/ 12 w 240"/>
                <a:gd name="T19" fmla="*/ 84 h 96"/>
                <a:gd name="T20" fmla="*/ 228 w 240"/>
                <a:gd name="T21" fmla="*/ 84 h 96"/>
                <a:gd name="T22" fmla="*/ 228 w 240"/>
                <a:gd name="T23" fmla="*/ 12 h 96"/>
                <a:gd name="T24" fmla="*/ 12 w 240"/>
                <a:gd name="T25" fmla="*/ 12 h 96"/>
                <a:gd name="T26" fmla="*/ 12 w 240"/>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96">
                  <a:moveTo>
                    <a:pt x="234" y="96"/>
                  </a:moveTo>
                  <a:cubicBezTo>
                    <a:pt x="6" y="96"/>
                    <a:pt x="6" y="96"/>
                    <a:pt x="6" y="96"/>
                  </a:cubicBezTo>
                  <a:cubicBezTo>
                    <a:pt x="3" y="96"/>
                    <a:pt x="0" y="94"/>
                    <a:pt x="0" y="90"/>
                  </a:cubicBezTo>
                  <a:cubicBezTo>
                    <a:pt x="0" y="6"/>
                    <a:pt x="0" y="6"/>
                    <a:pt x="0" y="6"/>
                  </a:cubicBezTo>
                  <a:cubicBezTo>
                    <a:pt x="0" y="3"/>
                    <a:pt x="3" y="0"/>
                    <a:pt x="6" y="0"/>
                  </a:cubicBezTo>
                  <a:cubicBezTo>
                    <a:pt x="234" y="0"/>
                    <a:pt x="234" y="0"/>
                    <a:pt x="234" y="0"/>
                  </a:cubicBezTo>
                  <a:cubicBezTo>
                    <a:pt x="238" y="0"/>
                    <a:pt x="240" y="3"/>
                    <a:pt x="240" y="6"/>
                  </a:cubicBezTo>
                  <a:cubicBezTo>
                    <a:pt x="240" y="90"/>
                    <a:pt x="240" y="90"/>
                    <a:pt x="240" y="90"/>
                  </a:cubicBezTo>
                  <a:cubicBezTo>
                    <a:pt x="240" y="94"/>
                    <a:pt x="238" y="96"/>
                    <a:pt x="234" y="96"/>
                  </a:cubicBezTo>
                  <a:close/>
                  <a:moveTo>
                    <a:pt x="12" y="84"/>
                  </a:moveTo>
                  <a:cubicBezTo>
                    <a:pt x="228" y="84"/>
                    <a:pt x="228" y="84"/>
                    <a:pt x="228" y="84"/>
                  </a:cubicBezTo>
                  <a:cubicBezTo>
                    <a:pt x="228" y="12"/>
                    <a:pt x="228" y="12"/>
                    <a:pt x="228" y="12"/>
                  </a:cubicBezTo>
                  <a:cubicBezTo>
                    <a:pt x="12" y="12"/>
                    <a:pt x="12" y="12"/>
                    <a:pt x="12" y="12"/>
                  </a:cubicBezTo>
                  <a:lnTo>
                    <a:pt x="12" y="8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sp>
          <p:nvSpPr>
            <p:cNvPr id="251" name="Freeform 14">
              <a:extLst>
                <a:ext uri="{FF2B5EF4-FFF2-40B4-BE49-F238E27FC236}">
                  <a16:creationId xmlns:a16="http://schemas.microsoft.com/office/drawing/2014/main" id="{ADF81198-5593-C2B5-9B70-CB61C82B0085}"/>
                </a:ext>
              </a:extLst>
            </p:cNvPr>
            <p:cNvSpPr>
              <a:spLocks noEditPoints="1"/>
            </p:cNvSpPr>
            <p:nvPr/>
          </p:nvSpPr>
          <p:spPr bwMode="auto">
            <a:xfrm>
              <a:off x="1407" y="639"/>
              <a:ext cx="355" cy="142"/>
            </a:xfrm>
            <a:custGeom>
              <a:avLst/>
              <a:gdLst>
                <a:gd name="T0" fmla="*/ 234 w 240"/>
                <a:gd name="T1" fmla="*/ 96 h 96"/>
                <a:gd name="T2" fmla="*/ 6 w 240"/>
                <a:gd name="T3" fmla="*/ 96 h 96"/>
                <a:gd name="T4" fmla="*/ 0 w 240"/>
                <a:gd name="T5" fmla="*/ 90 h 96"/>
                <a:gd name="T6" fmla="*/ 0 w 240"/>
                <a:gd name="T7" fmla="*/ 6 h 96"/>
                <a:gd name="T8" fmla="*/ 6 w 240"/>
                <a:gd name="T9" fmla="*/ 0 h 96"/>
                <a:gd name="T10" fmla="*/ 234 w 240"/>
                <a:gd name="T11" fmla="*/ 0 h 96"/>
                <a:gd name="T12" fmla="*/ 240 w 240"/>
                <a:gd name="T13" fmla="*/ 6 h 96"/>
                <a:gd name="T14" fmla="*/ 240 w 240"/>
                <a:gd name="T15" fmla="*/ 90 h 96"/>
                <a:gd name="T16" fmla="*/ 234 w 240"/>
                <a:gd name="T17" fmla="*/ 96 h 96"/>
                <a:gd name="T18" fmla="*/ 12 w 240"/>
                <a:gd name="T19" fmla="*/ 84 h 96"/>
                <a:gd name="T20" fmla="*/ 228 w 240"/>
                <a:gd name="T21" fmla="*/ 84 h 96"/>
                <a:gd name="T22" fmla="*/ 228 w 240"/>
                <a:gd name="T23" fmla="*/ 12 h 96"/>
                <a:gd name="T24" fmla="*/ 12 w 240"/>
                <a:gd name="T25" fmla="*/ 12 h 96"/>
                <a:gd name="T26" fmla="*/ 12 w 240"/>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96">
                  <a:moveTo>
                    <a:pt x="234" y="96"/>
                  </a:moveTo>
                  <a:cubicBezTo>
                    <a:pt x="6" y="96"/>
                    <a:pt x="6" y="96"/>
                    <a:pt x="6" y="96"/>
                  </a:cubicBezTo>
                  <a:cubicBezTo>
                    <a:pt x="3" y="96"/>
                    <a:pt x="0" y="94"/>
                    <a:pt x="0" y="90"/>
                  </a:cubicBezTo>
                  <a:cubicBezTo>
                    <a:pt x="0" y="6"/>
                    <a:pt x="0" y="6"/>
                    <a:pt x="0" y="6"/>
                  </a:cubicBezTo>
                  <a:cubicBezTo>
                    <a:pt x="0" y="3"/>
                    <a:pt x="3" y="0"/>
                    <a:pt x="6" y="0"/>
                  </a:cubicBezTo>
                  <a:cubicBezTo>
                    <a:pt x="234" y="0"/>
                    <a:pt x="234" y="0"/>
                    <a:pt x="234" y="0"/>
                  </a:cubicBezTo>
                  <a:cubicBezTo>
                    <a:pt x="238" y="0"/>
                    <a:pt x="240" y="3"/>
                    <a:pt x="240" y="6"/>
                  </a:cubicBezTo>
                  <a:cubicBezTo>
                    <a:pt x="240" y="90"/>
                    <a:pt x="240" y="90"/>
                    <a:pt x="240" y="90"/>
                  </a:cubicBezTo>
                  <a:cubicBezTo>
                    <a:pt x="240" y="94"/>
                    <a:pt x="238" y="96"/>
                    <a:pt x="234" y="96"/>
                  </a:cubicBezTo>
                  <a:close/>
                  <a:moveTo>
                    <a:pt x="12" y="84"/>
                  </a:moveTo>
                  <a:cubicBezTo>
                    <a:pt x="228" y="84"/>
                    <a:pt x="228" y="84"/>
                    <a:pt x="228" y="84"/>
                  </a:cubicBezTo>
                  <a:cubicBezTo>
                    <a:pt x="228" y="12"/>
                    <a:pt x="228" y="12"/>
                    <a:pt x="228" y="12"/>
                  </a:cubicBezTo>
                  <a:cubicBezTo>
                    <a:pt x="12" y="12"/>
                    <a:pt x="12" y="12"/>
                    <a:pt x="12" y="12"/>
                  </a:cubicBezTo>
                  <a:lnTo>
                    <a:pt x="12" y="8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sp>
          <p:nvSpPr>
            <p:cNvPr id="252" name="Freeform 15">
              <a:extLst>
                <a:ext uri="{FF2B5EF4-FFF2-40B4-BE49-F238E27FC236}">
                  <a16:creationId xmlns:a16="http://schemas.microsoft.com/office/drawing/2014/main" id="{D20BB323-0C19-DBAA-D0A8-B4EF429BC2B1}"/>
                </a:ext>
              </a:extLst>
            </p:cNvPr>
            <p:cNvSpPr>
              <a:spLocks noEditPoints="1"/>
            </p:cNvSpPr>
            <p:nvPr/>
          </p:nvSpPr>
          <p:spPr bwMode="auto">
            <a:xfrm>
              <a:off x="1442" y="515"/>
              <a:ext cx="71" cy="107"/>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3" y="72"/>
                    <a:pt x="0" y="70"/>
                    <a:pt x="0" y="66"/>
                  </a:cubicBezTo>
                  <a:cubicBezTo>
                    <a:pt x="0" y="6"/>
                    <a:pt x="0" y="6"/>
                    <a:pt x="0" y="6"/>
                  </a:cubicBezTo>
                  <a:cubicBezTo>
                    <a:pt x="0" y="3"/>
                    <a:pt x="3" y="0"/>
                    <a:pt x="6" y="0"/>
                  </a:cubicBezTo>
                  <a:cubicBezTo>
                    <a:pt x="42" y="0"/>
                    <a:pt x="42" y="0"/>
                    <a:pt x="42" y="0"/>
                  </a:cubicBezTo>
                  <a:cubicBezTo>
                    <a:pt x="46" y="0"/>
                    <a:pt x="48" y="3"/>
                    <a:pt x="48" y="6"/>
                  </a:cubicBezTo>
                  <a:cubicBezTo>
                    <a:pt x="48" y="66"/>
                    <a:pt x="48" y="66"/>
                    <a:pt x="48" y="66"/>
                  </a:cubicBezTo>
                  <a:cubicBezTo>
                    <a:pt x="48" y="70"/>
                    <a:pt x="46"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sp>
          <p:nvSpPr>
            <p:cNvPr id="253" name="Freeform 16">
              <a:extLst>
                <a:ext uri="{FF2B5EF4-FFF2-40B4-BE49-F238E27FC236}">
                  <a16:creationId xmlns:a16="http://schemas.microsoft.com/office/drawing/2014/main" id="{BB5727B1-43F0-E5AC-1736-E718E69AC226}"/>
                </a:ext>
              </a:extLst>
            </p:cNvPr>
            <p:cNvSpPr>
              <a:spLocks noEditPoints="1"/>
            </p:cNvSpPr>
            <p:nvPr/>
          </p:nvSpPr>
          <p:spPr bwMode="auto">
            <a:xfrm>
              <a:off x="1495" y="515"/>
              <a:ext cx="71" cy="107"/>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3" y="72"/>
                    <a:pt x="0" y="70"/>
                    <a:pt x="0" y="66"/>
                  </a:cubicBezTo>
                  <a:cubicBezTo>
                    <a:pt x="0" y="6"/>
                    <a:pt x="0" y="6"/>
                    <a:pt x="0" y="6"/>
                  </a:cubicBezTo>
                  <a:cubicBezTo>
                    <a:pt x="0" y="3"/>
                    <a:pt x="3" y="0"/>
                    <a:pt x="6" y="0"/>
                  </a:cubicBezTo>
                  <a:cubicBezTo>
                    <a:pt x="42" y="0"/>
                    <a:pt x="42" y="0"/>
                    <a:pt x="42" y="0"/>
                  </a:cubicBezTo>
                  <a:cubicBezTo>
                    <a:pt x="46" y="0"/>
                    <a:pt x="48" y="3"/>
                    <a:pt x="48" y="6"/>
                  </a:cubicBezTo>
                  <a:cubicBezTo>
                    <a:pt x="48" y="66"/>
                    <a:pt x="48" y="66"/>
                    <a:pt x="48" y="66"/>
                  </a:cubicBezTo>
                  <a:cubicBezTo>
                    <a:pt x="48" y="70"/>
                    <a:pt x="46"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sp>
          <p:nvSpPr>
            <p:cNvPr id="254" name="Freeform 17">
              <a:extLst>
                <a:ext uri="{FF2B5EF4-FFF2-40B4-BE49-F238E27FC236}">
                  <a16:creationId xmlns:a16="http://schemas.microsoft.com/office/drawing/2014/main" id="{D10ACEB5-7768-F182-1AE6-D37B05153457}"/>
                </a:ext>
              </a:extLst>
            </p:cNvPr>
            <p:cNvSpPr>
              <a:spLocks noEditPoints="1"/>
            </p:cNvSpPr>
            <p:nvPr/>
          </p:nvSpPr>
          <p:spPr bwMode="auto">
            <a:xfrm>
              <a:off x="1549" y="515"/>
              <a:ext cx="71" cy="107"/>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3" y="72"/>
                    <a:pt x="0" y="70"/>
                    <a:pt x="0" y="66"/>
                  </a:cubicBezTo>
                  <a:cubicBezTo>
                    <a:pt x="0" y="6"/>
                    <a:pt x="0" y="6"/>
                    <a:pt x="0" y="6"/>
                  </a:cubicBezTo>
                  <a:cubicBezTo>
                    <a:pt x="0" y="3"/>
                    <a:pt x="3" y="0"/>
                    <a:pt x="6" y="0"/>
                  </a:cubicBezTo>
                  <a:cubicBezTo>
                    <a:pt x="42" y="0"/>
                    <a:pt x="42" y="0"/>
                    <a:pt x="42" y="0"/>
                  </a:cubicBezTo>
                  <a:cubicBezTo>
                    <a:pt x="46" y="0"/>
                    <a:pt x="48" y="3"/>
                    <a:pt x="48" y="6"/>
                  </a:cubicBezTo>
                  <a:cubicBezTo>
                    <a:pt x="48" y="66"/>
                    <a:pt x="48" y="66"/>
                    <a:pt x="48" y="66"/>
                  </a:cubicBezTo>
                  <a:cubicBezTo>
                    <a:pt x="48" y="70"/>
                    <a:pt x="46"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sp>
          <p:nvSpPr>
            <p:cNvPr id="255" name="Freeform 18">
              <a:extLst>
                <a:ext uri="{FF2B5EF4-FFF2-40B4-BE49-F238E27FC236}">
                  <a16:creationId xmlns:a16="http://schemas.microsoft.com/office/drawing/2014/main" id="{287A0770-A2ED-0DA9-0356-BE7152D397F0}"/>
                </a:ext>
              </a:extLst>
            </p:cNvPr>
            <p:cNvSpPr>
              <a:spLocks noEditPoints="1"/>
            </p:cNvSpPr>
            <p:nvPr/>
          </p:nvSpPr>
          <p:spPr bwMode="auto">
            <a:xfrm>
              <a:off x="1549" y="675"/>
              <a:ext cx="71" cy="106"/>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3" y="72"/>
                    <a:pt x="0" y="70"/>
                    <a:pt x="0" y="66"/>
                  </a:cubicBezTo>
                  <a:cubicBezTo>
                    <a:pt x="0" y="6"/>
                    <a:pt x="0" y="6"/>
                    <a:pt x="0" y="6"/>
                  </a:cubicBezTo>
                  <a:cubicBezTo>
                    <a:pt x="0" y="3"/>
                    <a:pt x="3" y="0"/>
                    <a:pt x="6" y="0"/>
                  </a:cubicBezTo>
                  <a:cubicBezTo>
                    <a:pt x="42" y="0"/>
                    <a:pt x="42" y="0"/>
                    <a:pt x="42" y="0"/>
                  </a:cubicBezTo>
                  <a:cubicBezTo>
                    <a:pt x="46" y="0"/>
                    <a:pt x="48" y="3"/>
                    <a:pt x="48" y="6"/>
                  </a:cubicBezTo>
                  <a:cubicBezTo>
                    <a:pt x="48" y="66"/>
                    <a:pt x="48" y="66"/>
                    <a:pt x="48" y="66"/>
                  </a:cubicBezTo>
                  <a:cubicBezTo>
                    <a:pt x="48" y="70"/>
                    <a:pt x="46"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sp>
          <p:nvSpPr>
            <p:cNvPr id="256" name="Freeform 19">
              <a:extLst>
                <a:ext uri="{FF2B5EF4-FFF2-40B4-BE49-F238E27FC236}">
                  <a16:creationId xmlns:a16="http://schemas.microsoft.com/office/drawing/2014/main" id="{22E94F52-EC95-AD22-4B7A-6FA6D382B8ED}"/>
                </a:ext>
              </a:extLst>
            </p:cNvPr>
            <p:cNvSpPr>
              <a:spLocks noEditPoints="1"/>
            </p:cNvSpPr>
            <p:nvPr/>
          </p:nvSpPr>
          <p:spPr bwMode="auto">
            <a:xfrm>
              <a:off x="1602" y="675"/>
              <a:ext cx="71" cy="106"/>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3" y="72"/>
                    <a:pt x="0" y="70"/>
                    <a:pt x="0" y="66"/>
                  </a:cubicBezTo>
                  <a:cubicBezTo>
                    <a:pt x="0" y="6"/>
                    <a:pt x="0" y="6"/>
                    <a:pt x="0" y="6"/>
                  </a:cubicBezTo>
                  <a:cubicBezTo>
                    <a:pt x="0" y="3"/>
                    <a:pt x="3" y="0"/>
                    <a:pt x="6" y="0"/>
                  </a:cubicBezTo>
                  <a:cubicBezTo>
                    <a:pt x="42" y="0"/>
                    <a:pt x="42" y="0"/>
                    <a:pt x="42" y="0"/>
                  </a:cubicBezTo>
                  <a:cubicBezTo>
                    <a:pt x="46" y="0"/>
                    <a:pt x="48" y="3"/>
                    <a:pt x="48" y="6"/>
                  </a:cubicBezTo>
                  <a:cubicBezTo>
                    <a:pt x="48" y="66"/>
                    <a:pt x="48" y="66"/>
                    <a:pt x="48" y="66"/>
                  </a:cubicBezTo>
                  <a:cubicBezTo>
                    <a:pt x="48" y="70"/>
                    <a:pt x="46"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sp>
          <p:nvSpPr>
            <p:cNvPr id="257" name="Freeform 20">
              <a:extLst>
                <a:ext uri="{FF2B5EF4-FFF2-40B4-BE49-F238E27FC236}">
                  <a16:creationId xmlns:a16="http://schemas.microsoft.com/office/drawing/2014/main" id="{2044067C-5BB4-AFCD-7D4B-C8108E25221F}"/>
                </a:ext>
              </a:extLst>
            </p:cNvPr>
            <p:cNvSpPr>
              <a:spLocks noEditPoints="1"/>
            </p:cNvSpPr>
            <p:nvPr/>
          </p:nvSpPr>
          <p:spPr bwMode="auto">
            <a:xfrm>
              <a:off x="1655" y="675"/>
              <a:ext cx="71" cy="106"/>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3" y="72"/>
                    <a:pt x="0" y="70"/>
                    <a:pt x="0" y="66"/>
                  </a:cubicBezTo>
                  <a:cubicBezTo>
                    <a:pt x="0" y="6"/>
                    <a:pt x="0" y="6"/>
                    <a:pt x="0" y="6"/>
                  </a:cubicBezTo>
                  <a:cubicBezTo>
                    <a:pt x="0" y="3"/>
                    <a:pt x="3" y="0"/>
                    <a:pt x="6" y="0"/>
                  </a:cubicBezTo>
                  <a:cubicBezTo>
                    <a:pt x="42" y="0"/>
                    <a:pt x="42" y="0"/>
                    <a:pt x="42" y="0"/>
                  </a:cubicBezTo>
                  <a:cubicBezTo>
                    <a:pt x="46" y="0"/>
                    <a:pt x="48" y="3"/>
                    <a:pt x="48" y="6"/>
                  </a:cubicBezTo>
                  <a:cubicBezTo>
                    <a:pt x="48" y="66"/>
                    <a:pt x="48" y="66"/>
                    <a:pt x="48" y="66"/>
                  </a:cubicBezTo>
                  <a:cubicBezTo>
                    <a:pt x="48" y="70"/>
                    <a:pt x="46"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sp>
          <p:nvSpPr>
            <p:cNvPr id="258" name="Freeform 21">
              <a:extLst>
                <a:ext uri="{FF2B5EF4-FFF2-40B4-BE49-F238E27FC236}">
                  <a16:creationId xmlns:a16="http://schemas.microsoft.com/office/drawing/2014/main" id="{9C115518-7C15-BC0F-6929-342773C9AC71}"/>
                </a:ext>
              </a:extLst>
            </p:cNvPr>
            <p:cNvSpPr>
              <a:spLocks noEditPoints="1"/>
            </p:cNvSpPr>
            <p:nvPr/>
          </p:nvSpPr>
          <p:spPr bwMode="auto">
            <a:xfrm>
              <a:off x="1608" y="508"/>
              <a:ext cx="96" cy="114"/>
            </a:xfrm>
            <a:custGeom>
              <a:avLst/>
              <a:gdLst>
                <a:gd name="T0" fmla="*/ 27 w 65"/>
                <a:gd name="T1" fmla="*/ 77 h 77"/>
                <a:gd name="T2" fmla="*/ 24 w 65"/>
                <a:gd name="T3" fmla="*/ 77 h 77"/>
                <a:gd name="T4" fmla="*/ 21 w 65"/>
                <a:gd name="T5" fmla="*/ 73 h 77"/>
                <a:gd name="T6" fmla="*/ 1 w 65"/>
                <a:gd name="T7" fmla="*/ 20 h 77"/>
                <a:gd name="T8" fmla="*/ 5 w 65"/>
                <a:gd name="T9" fmla="*/ 13 h 77"/>
                <a:gd name="T10" fmla="*/ 37 w 65"/>
                <a:gd name="T11" fmla="*/ 1 h 77"/>
                <a:gd name="T12" fmla="*/ 41 w 65"/>
                <a:gd name="T13" fmla="*/ 1 h 77"/>
                <a:gd name="T14" fmla="*/ 45 w 65"/>
                <a:gd name="T15" fmla="*/ 4 h 77"/>
                <a:gd name="T16" fmla="*/ 64 w 65"/>
                <a:gd name="T17" fmla="*/ 57 h 77"/>
                <a:gd name="T18" fmla="*/ 61 w 65"/>
                <a:gd name="T19" fmla="*/ 65 h 77"/>
                <a:gd name="T20" fmla="*/ 29 w 65"/>
                <a:gd name="T21" fmla="*/ 77 h 77"/>
                <a:gd name="T22" fmla="*/ 27 w 65"/>
                <a:gd name="T23" fmla="*/ 77 h 77"/>
                <a:gd name="T24" fmla="*/ 14 w 65"/>
                <a:gd name="T25" fmla="*/ 22 h 77"/>
                <a:gd name="T26" fmla="*/ 30 w 65"/>
                <a:gd name="T27" fmla="*/ 64 h 77"/>
                <a:gd name="T28" fmla="*/ 51 w 65"/>
                <a:gd name="T29" fmla="*/ 56 h 77"/>
                <a:gd name="T30" fmla="*/ 35 w 65"/>
                <a:gd name="T31" fmla="*/ 14 h 77"/>
                <a:gd name="T32" fmla="*/ 14 w 65"/>
                <a:gd name="T33" fmla="*/ 2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77">
                  <a:moveTo>
                    <a:pt x="27" y="77"/>
                  </a:moveTo>
                  <a:cubicBezTo>
                    <a:pt x="26" y="77"/>
                    <a:pt x="25" y="77"/>
                    <a:pt x="24" y="77"/>
                  </a:cubicBezTo>
                  <a:cubicBezTo>
                    <a:pt x="23" y="76"/>
                    <a:pt x="21" y="75"/>
                    <a:pt x="21" y="73"/>
                  </a:cubicBezTo>
                  <a:cubicBezTo>
                    <a:pt x="1" y="20"/>
                    <a:pt x="1" y="20"/>
                    <a:pt x="1" y="20"/>
                  </a:cubicBezTo>
                  <a:cubicBezTo>
                    <a:pt x="0" y="17"/>
                    <a:pt x="2" y="14"/>
                    <a:pt x="5" y="13"/>
                  </a:cubicBezTo>
                  <a:cubicBezTo>
                    <a:pt x="37" y="1"/>
                    <a:pt x="37" y="1"/>
                    <a:pt x="37" y="1"/>
                  </a:cubicBezTo>
                  <a:cubicBezTo>
                    <a:pt x="38" y="0"/>
                    <a:pt x="40" y="0"/>
                    <a:pt x="41" y="1"/>
                  </a:cubicBezTo>
                  <a:cubicBezTo>
                    <a:pt x="43" y="1"/>
                    <a:pt x="44" y="3"/>
                    <a:pt x="45" y="4"/>
                  </a:cubicBezTo>
                  <a:cubicBezTo>
                    <a:pt x="64" y="57"/>
                    <a:pt x="64" y="57"/>
                    <a:pt x="64" y="57"/>
                  </a:cubicBezTo>
                  <a:cubicBezTo>
                    <a:pt x="65" y="60"/>
                    <a:pt x="64" y="64"/>
                    <a:pt x="61" y="65"/>
                  </a:cubicBezTo>
                  <a:cubicBezTo>
                    <a:pt x="29" y="77"/>
                    <a:pt x="29" y="77"/>
                    <a:pt x="29" y="77"/>
                  </a:cubicBezTo>
                  <a:cubicBezTo>
                    <a:pt x="28" y="77"/>
                    <a:pt x="27" y="77"/>
                    <a:pt x="27" y="77"/>
                  </a:cubicBezTo>
                  <a:close/>
                  <a:moveTo>
                    <a:pt x="14" y="22"/>
                  </a:moveTo>
                  <a:cubicBezTo>
                    <a:pt x="30" y="64"/>
                    <a:pt x="30" y="64"/>
                    <a:pt x="30" y="64"/>
                  </a:cubicBezTo>
                  <a:cubicBezTo>
                    <a:pt x="51" y="56"/>
                    <a:pt x="51" y="56"/>
                    <a:pt x="51" y="56"/>
                  </a:cubicBezTo>
                  <a:cubicBezTo>
                    <a:pt x="35" y="14"/>
                    <a:pt x="35" y="14"/>
                    <a:pt x="35" y="14"/>
                  </a:cubicBezTo>
                  <a:lnTo>
                    <a:pt x="14" y="2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96968C"/>
                </a:solidFill>
              </a:endParaRPr>
            </a:p>
          </p:txBody>
        </p:sp>
      </p:grpSp>
      <p:grpSp>
        <p:nvGrpSpPr>
          <p:cNvPr id="226" name="programmatic; display; ads; banner">
            <a:extLst>
              <a:ext uri="{FF2B5EF4-FFF2-40B4-BE49-F238E27FC236}">
                <a16:creationId xmlns:a16="http://schemas.microsoft.com/office/drawing/2014/main" id="{6AC8A691-16CC-DFB8-0D89-DEE4634E5A0A}"/>
              </a:ext>
            </a:extLst>
          </p:cNvPr>
          <p:cNvGrpSpPr>
            <a:grpSpLocks noChangeAspect="1"/>
          </p:cNvGrpSpPr>
          <p:nvPr/>
        </p:nvGrpSpPr>
        <p:grpSpPr bwMode="auto">
          <a:xfrm>
            <a:off x="5002931" y="2987250"/>
            <a:ext cx="267659" cy="253810"/>
            <a:chOff x="1370" y="1719"/>
            <a:chExt cx="426" cy="427"/>
          </a:xfrm>
          <a:solidFill>
            <a:schemeClr val="accent2"/>
          </a:solidFill>
        </p:grpSpPr>
        <p:sp>
          <p:nvSpPr>
            <p:cNvPr id="240" name="Freeform 87">
              <a:extLst>
                <a:ext uri="{FF2B5EF4-FFF2-40B4-BE49-F238E27FC236}">
                  <a16:creationId xmlns:a16="http://schemas.microsoft.com/office/drawing/2014/main" id="{A4FECB61-5087-EACB-F310-C91D968B06E6}"/>
                </a:ext>
              </a:extLst>
            </p:cNvPr>
            <p:cNvSpPr>
              <a:spLocks noEditPoints="1"/>
            </p:cNvSpPr>
            <p:nvPr/>
          </p:nvSpPr>
          <p:spPr bwMode="auto">
            <a:xfrm>
              <a:off x="1370" y="1719"/>
              <a:ext cx="426" cy="427"/>
            </a:xfrm>
            <a:custGeom>
              <a:avLst/>
              <a:gdLst>
                <a:gd name="T0" fmla="*/ 258 w 288"/>
                <a:gd name="T1" fmla="*/ 288 h 288"/>
                <a:gd name="T2" fmla="*/ 30 w 288"/>
                <a:gd name="T3" fmla="*/ 288 h 288"/>
                <a:gd name="T4" fmla="*/ 0 w 288"/>
                <a:gd name="T5" fmla="*/ 258 h 288"/>
                <a:gd name="T6" fmla="*/ 0 w 288"/>
                <a:gd name="T7" fmla="*/ 30 h 288"/>
                <a:gd name="T8" fmla="*/ 30 w 288"/>
                <a:gd name="T9" fmla="*/ 0 h 288"/>
                <a:gd name="T10" fmla="*/ 258 w 288"/>
                <a:gd name="T11" fmla="*/ 0 h 288"/>
                <a:gd name="T12" fmla="*/ 288 w 288"/>
                <a:gd name="T13" fmla="*/ 30 h 288"/>
                <a:gd name="T14" fmla="*/ 288 w 288"/>
                <a:gd name="T15" fmla="*/ 258 h 288"/>
                <a:gd name="T16" fmla="*/ 258 w 288"/>
                <a:gd name="T17" fmla="*/ 288 h 288"/>
                <a:gd name="T18" fmla="*/ 30 w 288"/>
                <a:gd name="T19" fmla="*/ 12 h 288"/>
                <a:gd name="T20" fmla="*/ 12 w 288"/>
                <a:gd name="T21" fmla="*/ 30 h 288"/>
                <a:gd name="T22" fmla="*/ 12 w 288"/>
                <a:gd name="T23" fmla="*/ 258 h 288"/>
                <a:gd name="T24" fmla="*/ 30 w 288"/>
                <a:gd name="T25" fmla="*/ 276 h 288"/>
                <a:gd name="T26" fmla="*/ 258 w 288"/>
                <a:gd name="T27" fmla="*/ 276 h 288"/>
                <a:gd name="T28" fmla="*/ 276 w 288"/>
                <a:gd name="T29" fmla="*/ 258 h 288"/>
                <a:gd name="T30" fmla="*/ 276 w 288"/>
                <a:gd name="T31" fmla="*/ 30 h 288"/>
                <a:gd name="T32" fmla="*/ 258 w 288"/>
                <a:gd name="T33" fmla="*/ 12 h 288"/>
                <a:gd name="T34" fmla="*/ 30 w 28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258" y="288"/>
                  </a:moveTo>
                  <a:cubicBezTo>
                    <a:pt x="30" y="288"/>
                    <a:pt x="30" y="288"/>
                    <a:pt x="30" y="288"/>
                  </a:cubicBezTo>
                  <a:cubicBezTo>
                    <a:pt x="14" y="288"/>
                    <a:pt x="0" y="274"/>
                    <a:pt x="0" y="258"/>
                  </a:cubicBezTo>
                  <a:cubicBezTo>
                    <a:pt x="0" y="30"/>
                    <a:pt x="0" y="30"/>
                    <a:pt x="0" y="30"/>
                  </a:cubicBezTo>
                  <a:cubicBezTo>
                    <a:pt x="0" y="13"/>
                    <a:pt x="14" y="0"/>
                    <a:pt x="30" y="0"/>
                  </a:cubicBezTo>
                  <a:cubicBezTo>
                    <a:pt x="258" y="0"/>
                    <a:pt x="258" y="0"/>
                    <a:pt x="258" y="0"/>
                  </a:cubicBezTo>
                  <a:cubicBezTo>
                    <a:pt x="275" y="0"/>
                    <a:pt x="288" y="13"/>
                    <a:pt x="288" y="30"/>
                  </a:cubicBezTo>
                  <a:cubicBezTo>
                    <a:pt x="288" y="258"/>
                    <a:pt x="288" y="258"/>
                    <a:pt x="288" y="258"/>
                  </a:cubicBezTo>
                  <a:cubicBezTo>
                    <a:pt x="288" y="274"/>
                    <a:pt x="275" y="288"/>
                    <a:pt x="258" y="288"/>
                  </a:cubicBezTo>
                  <a:close/>
                  <a:moveTo>
                    <a:pt x="30" y="12"/>
                  </a:moveTo>
                  <a:cubicBezTo>
                    <a:pt x="21" y="12"/>
                    <a:pt x="12" y="20"/>
                    <a:pt x="12" y="30"/>
                  </a:cubicBezTo>
                  <a:cubicBezTo>
                    <a:pt x="12" y="258"/>
                    <a:pt x="12" y="258"/>
                    <a:pt x="12" y="258"/>
                  </a:cubicBezTo>
                  <a:cubicBezTo>
                    <a:pt x="12" y="268"/>
                    <a:pt x="21" y="276"/>
                    <a:pt x="30" y="276"/>
                  </a:cubicBezTo>
                  <a:cubicBezTo>
                    <a:pt x="258" y="276"/>
                    <a:pt x="258" y="276"/>
                    <a:pt x="258" y="276"/>
                  </a:cubicBezTo>
                  <a:cubicBezTo>
                    <a:pt x="268" y="276"/>
                    <a:pt x="276" y="268"/>
                    <a:pt x="276" y="258"/>
                  </a:cubicBezTo>
                  <a:cubicBezTo>
                    <a:pt x="276" y="30"/>
                    <a:pt x="276" y="30"/>
                    <a:pt x="276" y="30"/>
                  </a:cubicBezTo>
                  <a:cubicBezTo>
                    <a:pt x="276" y="20"/>
                    <a:pt x="268" y="12"/>
                    <a:pt x="258" y="12"/>
                  </a:cubicBezTo>
                  <a:lnTo>
                    <a:pt x="30" y="1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241" name="Freeform 88">
              <a:extLst>
                <a:ext uri="{FF2B5EF4-FFF2-40B4-BE49-F238E27FC236}">
                  <a16:creationId xmlns:a16="http://schemas.microsoft.com/office/drawing/2014/main" id="{D31EA3E9-AA17-BC91-C211-C83BBBB720EA}"/>
                </a:ext>
              </a:extLst>
            </p:cNvPr>
            <p:cNvSpPr>
              <a:spLocks/>
            </p:cNvSpPr>
            <p:nvPr/>
          </p:nvSpPr>
          <p:spPr bwMode="auto">
            <a:xfrm>
              <a:off x="1370" y="18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242" name="Oval 89">
              <a:extLst>
                <a:ext uri="{FF2B5EF4-FFF2-40B4-BE49-F238E27FC236}">
                  <a16:creationId xmlns:a16="http://schemas.microsoft.com/office/drawing/2014/main" id="{4FDC6691-A583-2728-5F03-F49F39EBB4EF}"/>
                </a:ext>
              </a:extLst>
            </p:cNvPr>
            <p:cNvSpPr>
              <a:spLocks noChangeArrowheads="1"/>
            </p:cNvSpPr>
            <p:nvPr/>
          </p:nvSpPr>
          <p:spPr bwMode="auto">
            <a:xfrm>
              <a:off x="1424" y="1755"/>
              <a:ext cx="35" cy="35"/>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243" name="Oval 90">
              <a:extLst>
                <a:ext uri="{FF2B5EF4-FFF2-40B4-BE49-F238E27FC236}">
                  <a16:creationId xmlns:a16="http://schemas.microsoft.com/office/drawing/2014/main" id="{32161CBF-E433-2C17-D8CB-480A99D548DE}"/>
                </a:ext>
              </a:extLst>
            </p:cNvPr>
            <p:cNvSpPr>
              <a:spLocks noChangeArrowheads="1"/>
            </p:cNvSpPr>
            <p:nvPr/>
          </p:nvSpPr>
          <p:spPr bwMode="auto">
            <a:xfrm>
              <a:off x="1477" y="1755"/>
              <a:ext cx="35" cy="35"/>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244" name="Oval 91">
              <a:extLst>
                <a:ext uri="{FF2B5EF4-FFF2-40B4-BE49-F238E27FC236}">
                  <a16:creationId xmlns:a16="http://schemas.microsoft.com/office/drawing/2014/main" id="{FAA35E9B-19B8-C43E-1BF2-726498B326F0}"/>
                </a:ext>
              </a:extLst>
            </p:cNvPr>
            <p:cNvSpPr>
              <a:spLocks noChangeArrowheads="1"/>
            </p:cNvSpPr>
            <p:nvPr/>
          </p:nvSpPr>
          <p:spPr bwMode="auto">
            <a:xfrm>
              <a:off x="1530" y="1755"/>
              <a:ext cx="35" cy="35"/>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245" name="Freeform 92">
              <a:extLst>
                <a:ext uri="{FF2B5EF4-FFF2-40B4-BE49-F238E27FC236}">
                  <a16:creationId xmlns:a16="http://schemas.microsoft.com/office/drawing/2014/main" id="{12ED2368-FF87-3110-BB25-80970A948880}"/>
                </a:ext>
              </a:extLst>
            </p:cNvPr>
            <p:cNvSpPr>
              <a:spLocks noEditPoints="1"/>
            </p:cNvSpPr>
            <p:nvPr/>
          </p:nvSpPr>
          <p:spPr bwMode="auto">
            <a:xfrm>
              <a:off x="1424" y="1844"/>
              <a:ext cx="319" cy="71"/>
            </a:xfrm>
            <a:custGeom>
              <a:avLst/>
              <a:gdLst>
                <a:gd name="T0" fmla="*/ 210 w 216"/>
                <a:gd name="T1" fmla="*/ 48 h 48"/>
                <a:gd name="T2" fmla="*/ 6 w 216"/>
                <a:gd name="T3" fmla="*/ 48 h 48"/>
                <a:gd name="T4" fmla="*/ 0 w 216"/>
                <a:gd name="T5" fmla="*/ 42 h 48"/>
                <a:gd name="T6" fmla="*/ 0 w 216"/>
                <a:gd name="T7" fmla="*/ 6 h 48"/>
                <a:gd name="T8" fmla="*/ 6 w 216"/>
                <a:gd name="T9" fmla="*/ 0 h 48"/>
                <a:gd name="T10" fmla="*/ 210 w 216"/>
                <a:gd name="T11" fmla="*/ 0 h 48"/>
                <a:gd name="T12" fmla="*/ 216 w 216"/>
                <a:gd name="T13" fmla="*/ 6 h 48"/>
                <a:gd name="T14" fmla="*/ 216 w 216"/>
                <a:gd name="T15" fmla="*/ 42 h 48"/>
                <a:gd name="T16" fmla="*/ 210 w 216"/>
                <a:gd name="T17" fmla="*/ 48 h 48"/>
                <a:gd name="T18" fmla="*/ 12 w 216"/>
                <a:gd name="T19" fmla="*/ 36 h 48"/>
                <a:gd name="T20" fmla="*/ 204 w 216"/>
                <a:gd name="T21" fmla="*/ 36 h 48"/>
                <a:gd name="T22" fmla="*/ 204 w 216"/>
                <a:gd name="T23" fmla="*/ 12 h 48"/>
                <a:gd name="T24" fmla="*/ 12 w 216"/>
                <a:gd name="T25" fmla="*/ 12 h 48"/>
                <a:gd name="T26" fmla="*/ 12 w 21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48">
                  <a:moveTo>
                    <a:pt x="210" y="48"/>
                  </a:moveTo>
                  <a:cubicBezTo>
                    <a:pt x="6" y="48"/>
                    <a:pt x="6" y="48"/>
                    <a:pt x="6" y="48"/>
                  </a:cubicBezTo>
                  <a:cubicBezTo>
                    <a:pt x="3" y="48"/>
                    <a:pt x="0" y="45"/>
                    <a:pt x="0" y="42"/>
                  </a:cubicBezTo>
                  <a:cubicBezTo>
                    <a:pt x="0" y="6"/>
                    <a:pt x="0" y="6"/>
                    <a:pt x="0" y="6"/>
                  </a:cubicBezTo>
                  <a:cubicBezTo>
                    <a:pt x="0" y="3"/>
                    <a:pt x="3" y="0"/>
                    <a:pt x="6" y="0"/>
                  </a:cubicBezTo>
                  <a:cubicBezTo>
                    <a:pt x="210" y="0"/>
                    <a:pt x="210" y="0"/>
                    <a:pt x="210" y="0"/>
                  </a:cubicBezTo>
                  <a:cubicBezTo>
                    <a:pt x="214" y="0"/>
                    <a:pt x="216" y="3"/>
                    <a:pt x="216" y="6"/>
                  </a:cubicBezTo>
                  <a:cubicBezTo>
                    <a:pt x="216" y="42"/>
                    <a:pt x="216" y="42"/>
                    <a:pt x="216" y="42"/>
                  </a:cubicBezTo>
                  <a:cubicBezTo>
                    <a:pt x="216" y="45"/>
                    <a:pt x="214" y="48"/>
                    <a:pt x="210" y="48"/>
                  </a:cubicBezTo>
                  <a:close/>
                  <a:moveTo>
                    <a:pt x="12" y="36"/>
                  </a:moveTo>
                  <a:cubicBezTo>
                    <a:pt x="204" y="36"/>
                    <a:pt x="204" y="36"/>
                    <a:pt x="204" y="36"/>
                  </a:cubicBezTo>
                  <a:cubicBezTo>
                    <a:pt x="204" y="12"/>
                    <a:pt x="204" y="12"/>
                    <a:pt x="204" y="12"/>
                  </a:cubicBezTo>
                  <a:cubicBezTo>
                    <a:pt x="12" y="12"/>
                    <a:pt x="12" y="12"/>
                    <a:pt x="12" y="12"/>
                  </a:cubicBezTo>
                  <a:lnTo>
                    <a:pt x="12" y="3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246" name="Freeform 93">
              <a:extLst>
                <a:ext uri="{FF2B5EF4-FFF2-40B4-BE49-F238E27FC236}">
                  <a16:creationId xmlns:a16="http://schemas.microsoft.com/office/drawing/2014/main" id="{6FA805EA-F929-3241-DAA5-CECA2C8681CA}"/>
                </a:ext>
              </a:extLst>
            </p:cNvPr>
            <p:cNvSpPr>
              <a:spLocks noEditPoints="1"/>
            </p:cNvSpPr>
            <p:nvPr/>
          </p:nvSpPr>
          <p:spPr bwMode="auto">
            <a:xfrm>
              <a:off x="1424" y="1932"/>
              <a:ext cx="70" cy="160"/>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3" y="108"/>
                    <a:pt x="0" y="105"/>
                    <a:pt x="0" y="102"/>
                  </a:cubicBezTo>
                  <a:cubicBezTo>
                    <a:pt x="0" y="6"/>
                    <a:pt x="0" y="6"/>
                    <a:pt x="0" y="6"/>
                  </a:cubicBezTo>
                  <a:cubicBezTo>
                    <a:pt x="0" y="3"/>
                    <a:pt x="3" y="0"/>
                    <a:pt x="6" y="0"/>
                  </a:cubicBezTo>
                  <a:cubicBezTo>
                    <a:pt x="42" y="0"/>
                    <a:pt x="42" y="0"/>
                    <a:pt x="42" y="0"/>
                  </a:cubicBezTo>
                  <a:cubicBezTo>
                    <a:pt x="46" y="0"/>
                    <a:pt x="48" y="3"/>
                    <a:pt x="48" y="6"/>
                  </a:cubicBezTo>
                  <a:cubicBezTo>
                    <a:pt x="48" y="102"/>
                    <a:pt x="48" y="102"/>
                    <a:pt x="48" y="102"/>
                  </a:cubicBezTo>
                  <a:cubicBezTo>
                    <a:pt x="48" y="105"/>
                    <a:pt x="46"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247" name="Freeform 94">
              <a:extLst>
                <a:ext uri="{FF2B5EF4-FFF2-40B4-BE49-F238E27FC236}">
                  <a16:creationId xmlns:a16="http://schemas.microsoft.com/office/drawing/2014/main" id="{A2EDF796-C904-8FDD-91E9-98E4216FB1BE}"/>
                </a:ext>
              </a:extLst>
            </p:cNvPr>
            <p:cNvSpPr>
              <a:spLocks noEditPoints="1"/>
            </p:cNvSpPr>
            <p:nvPr/>
          </p:nvSpPr>
          <p:spPr bwMode="auto">
            <a:xfrm>
              <a:off x="1530" y="1932"/>
              <a:ext cx="213" cy="71"/>
            </a:xfrm>
            <a:custGeom>
              <a:avLst/>
              <a:gdLst>
                <a:gd name="T0" fmla="*/ 138 w 144"/>
                <a:gd name="T1" fmla="*/ 48 h 48"/>
                <a:gd name="T2" fmla="*/ 6 w 144"/>
                <a:gd name="T3" fmla="*/ 48 h 48"/>
                <a:gd name="T4" fmla="*/ 0 w 144"/>
                <a:gd name="T5" fmla="*/ 42 h 48"/>
                <a:gd name="T6" fmla="*/ 0 w 144"/>
                <a:gd name="T7" fmla="*/ 6 h 48"/>
                <a:gd name="T8" fmla="*/ 6 w 144"/>
                <a:gd name="T9" fmla="*/ 0 h 48"/>
                <a:gd name="T10" fmla="*/ 138 w 144"/>
                <a:gd name="T11" fmla="*/ 0 h 48"/>
                <a:gd name="T12" fmla="*/ 144 w 144"/>
                <a:gd name="T13" fmla="*/ 6 h 48"/>
                <a:gd name="T14" fmla="*/ 144 w 144"/>
                <a:gd name="T15" fmla="*/ 42 h 48"/>
                <a:gd name="T16" fmla="*/ 138 w 144"/>
                <a:gd name="T17" fmla="*/ 48 h 48"/>
                <a:gd name="T18" fmla="*/ 12 w 144"/>
                <a:gd name="T19" fmla="*/ 36 h 48"/>
                <a:gd name="T20" fmla="*/ 132 w 144"/>
                <a:gd name="T21" fmla="*/ 36 h 48"/>
                <a:gd name="T22" fmla="*/ 132 w 144"/>
                <a:gd name="T23" fmla="*/ 12 h 48"/>
                <a:gd name="T24" fmla="*/ 12 w 144"/>
                <a:gd name="T25" fmla="*/ 12 h 48"/>
                <a:gd name="T26" fmla="*/ 12 w 14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48">
                  <a:moveTo>
                    <a:pt x="138" y="48"/>
                  </a:moveTo>
                  <a:cubicBezTo>
                    <a:pt x="6" y="48"/>
                    <a:pt x="6" y="48"/>
                    <a:pt x="6" y="48"/>
                  </a:cubicBezTo>
                  <a:cubicBezTo>
                    <a:pt x="3" y="48"/>
                    <a:pt x="0" y="45"/>
                    <a:pt x="0" y="42"/>
                  </a:cubicBezTo>
                  <a:cubicBezTo>
                    <a:pt x="0" y="6"/>
                    <a:pt x="0" y="6"/>
                    <a:pt x="0" y="6"/>
                  </a:cubicBezTo>
                  <a:cubicBezTo>
                    <a:pt x="0" y="3"/>
                    <a:pt x="3" y="0"/>
                    <a:pt x="6" y="0"/>
                  </a:cubicBezTo>
                  <a:cubicBezTo>
                    <a:pt x="138" y="0"/>
                    <a:pt x="138" y="0"/>
                    <a:pt x="138" y="0"/>
                  </a:cubicBezTo>
                  <a:cubicBezTo>
                    <a:pt x="142" y="0"/>
                    <a:pt x="144" y="3"/>
                    <a:pt x="144" y="6"/>
                  </a:cubicBezTo>
                  <a:cubicBezTo>
                    <a:pt x="144" y="42"/>
                    <a:pt x="144" y="42"/>
                    <a:pt x="144" y="42"/>
                  </a:cubicBezTo>
                  <a:cubicBezTo>
                    <a:pt x="144" y="45"/>
                    <a:pt x="142" y="48"/>
                    <a:pt x="138" y="48"/>
                  </a:cubicBezTo>
                  <a:close/>
                  <a:moveTo>
                    <a:pt x="12" y="36"/>
                  </a:moveTo>
                  <a:cubicBezTo>
                    <a:pt x="132" y="36"/>
                    <a:pt x="132" y="36"/>
                    <a:pt x="132" y="36"/>
                  </a:cubicBezTo>
                  <a:cubicBezTo>
                    <a:pt x="132" y="12"/>
                    <a:pt x="132" y="12"/>
                    <a:pt x="132" y="12"/>
                  </a:cubicBezTo>
                  <a:cubicBezTo>
                    <a:pt x="12" y="12"/>
                    <a:pt x="12" y="12"/>
                    <a:pt x="12" y="12"/>
                  </a:cubicBezTo>
                  <a:lnTo>
                    <a:pt x="12" y="3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248" name="Freeform 95">
              <a:extLst>
                <a:ext uri="{FF2B5EF4-FFF2-40B4-BE49-F238E27FC236}">
                  <a16:creationId xmlns:a16="http://schemas.microsoft.com/office/drawing/2014/main" id="{E3F40670-3409-F982-2395-E3915311CDB0}"/>
                </a:ext>
              </a:extLst>
            </p:cNvPr>
            <p:cNvSpPr>
              <a:spLocks noEditPoints="1"/>
            </p:cNvSpPr>
            <p:nvPr/>
          </p:nvSpPr>
          <p:spPr bwMode="auto">
            <a:xfrm>
              <a:off x="1530" y="2021"/>
              <a:ext cx="213" cy="71"/>
            </a:xfrm>
            <a:custGeom>
              <a:avLst/>
              <a:gdLst>
                <a:gd name="T0" fmla="*/ 138 w 144"/>
                <a:gd name="T1" fmla="*/ 48 h 48"/>
                <a:gd name="T2" fmla="*/ 6 w 144"/>
                <a:gd name="T3" fmla="*/ 48 h 48"/>
                <a:gd name="T4" fmla="*/ 0 w 144"/>
                <a:gd name="T5" fmla="*/ 42 h 48"/>
                <a:gd name="T6" fmla="*/ 0 w 144"/>
                <a:gd name="T7" fmla="*/ 6 h 48"/>
                <a:gd name="T8" fmla="*/ 6 w 144"/>
                <a:gd name="T9" fmla="*/ 0 h 48"/>
                <a:gd name="T10" fmla="*/ 138 w 144"/>
                <a:gd name="T11" fmla="*/ 0 h 48"/>
                <a:gd name="T12" fmla="*/ 144 w 144"/>
                <a:gd name="T13" fmla="*/ 6 h 48"/>
                <a:gd name="T14" fmla="*/ 144 w 144"/>
                <a:gd name="T15" fmla="*/ 42 h 48"/>
                <a:gd name="T16" fmla="*/ 138 w 144"/>
                <a:gd name="T17" fmla="*/ 48 h 48"/>
                <a:gd name="T18" fmla="*/ 12 w 144"/>
                <a:gd name="T19" fmla="*/ 36 h 48"/>
                <a:gd name="T20" fmla="*/ 132 w 144"/>
                <a:gd name="T21" fmla="*/ 36 h 48"/>
                <a:gd name="T22" fmla="*/ 132 w 144"/>
                <a:gd name="T23" fmla="*/ 12 h 48"/>
                <a:gd name="T24" fmla="*/ 12 w 144"/>
                <a:gd name="T25" fmla="*/ 12 h 48"/>
                <a:gd name="T26" fmla="*/ 12 w 14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48">
                  <a:moveTo>
                    <a:pt x="138" y="48"/>
                  </a:moveTo>
                  <a:cubicBezTo>
                    <a:pt x="6" y="48"/>
                    <a:pt x="6" y="48"/>
                    <a:pt x="6" y="48"/>
                  </a:cubicBezTo>
                  <a:cubicBezTo>
                    <a:pt x="3" y="48"/>
                    <a:pt x="0" y="45"/>
                    <a:pt x="0" y="42"/>
                  </a:cubicBezTo>
                  <a:cubicBezTo>
                    <a:pt x="0" y="6"/>
                    <a:pt x="0" y="6"/>
                    <a:pt x="0" y="6"/>
                  </a:cubicBezTo>
                  <a:cubicBezTo>
                    <a:pt x="0" y="3"/>
                    <a:pt x="3" y="0"/>
                    <a:pt x="6" y="0"/>
                  </a:cubicBezTo>
                  <a:cubicBezTo>
                    <a:pt x="138" y="0"/>
                    <a:pt x="138" y="0"/>
                    <a:pt x="138" y="0"/>
                  </a:cubicBezTo>
                  <a:cubicBezTo>
                    <a:pt x="142" y="0"/>
                    <a:pt x="144" y="3"/>
                    <a:pt x="144" y="6"/>
                  </a:cubicBezTo>
                  <a:cubicBezTo>
                    <a:pt x="144" y="42"/>
                    <a:pt x="144" y="42"/>
                    <a:pt x="144" y="42"/>
                  </a:cubicBezTo>
                  <a:cubicBezTo>
                    <a:pt x="144" y="45"/>
                    <a:pt x="142" y="48"/>
                    <a:pt x="138" y="48"/>
                  </a:cubicBezTo>
                  <a:close/>
                  <a:moveTo>
                    <a:pt x="12" y="36"/>
                  </a:moveTo>
                  <a:cubicBezTo>
                    <a:pt x="132" y="36"/>
                    <a:pt x="132" y="36"/>
                    <a:pt x="132" y="36"/>
                  </a:cubicBezTo>
                  <a:cubicBezTo>
                    <a:pt x="132" y="12"/>
                    <a:pt x="132" y="12"/>
                    <a:pt x="132" y="12"/>
                  </a:cubicBezTo>
                  <a:cubicBezTo>
                    <a:pt x="12" y="12"/>
                    <a:pt x="12" y="12"/>
                    <a:pt x="12" y="12"/>
                  </a:cubicBezTo>
                  <a:lnTo>
                    <a:pt x="12" y="3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grpSp>
      <p:grpSp>
        <p:nvGrpSpPr>
          <p:cNvPr id="227" name="search; seo; sem">
            <a:extLst>
              <a:ext uri="{FF2B5EF4-FFF2-40B4-BE49-F238E27FC236}">
                <a16:creationId xmlns:a16="http://schemas.microsoft.com/office/drawing/2014/main" id="{A668D26F-E4BC-86D1-4B2C-6DDBC26432A0}"/>
              </a:ext>
            </a:extLst>
          </p:cNvPr>
          <p:cNvGrpSpPr>
            <a:grpSpLocks noChangeAspect="1"/>
          </p:cNvGrpSpPr>
          <p:nvPr/>
        </p:nvGrpSpPr>
        <p:grpSpPr bwMode="auto">
          <a:xfrm>
            <a:off x="5009893" y="3460683"/>
            <a:ext cx="264215" cy="249372"/>
            <a:chOff x="1374" y="3001"/>
            <a:chExt cx="428" cy="427"/>
          </a:xfrm>
          <a:solidFill>
            <a:schemeClr val="accent2"/>
          </a:solidFill>
        </p:grpSpPr>
        <p:sp>
          <p:nvSpPr>
            <p:cNvPr id="238" name="Freeform 116">
              <a:extLst>
                <a:ext uri="{FF2B5EF4-FFF2-40B4-BE49-F238E27FC236}">
                  <a16:creationId xmlns:a16="http://schemas.microsoft.com/office/drawing/2014/main" id="{404C1B88-D5FE-E5F4-B72D-57A3202266A7}"/>
                </a:ext>
              </a:extLst>
            </p:cNvPr>
            <p:cNvSpPr>
              <a:spLocks noEditPoints="1"/>
            </p:cNvSpPr>
            <p:nvPr/>
          </p:nvSpPr>
          <p:spPr bwMode="auto">
            <a:xfrm>
              <a:off x="1374" y="3001"/>
              <a:ext cx="302" cy="302"/>
            </a:xfrm>
            <a:custGeom>
              <a:avLst/>
              <a:gdLst>
                <a:gd name="T0" fmla="*/ 102 w 204"/>
                <a:gd name="T1" fmla="*/ 204 h 204"/>
                <a:gd name="T2" fmla="*/ 0 w 204"/>
                <a:gd name="T3" fmla="*/ 102 h 204"/>
                <a:gd name="T4" fmla="*/ 102 w 204"/>
                <a:gd name="T5" fmla="*/ 0 h 204"/>
                <a:gd name="T6" fmla="*/ 204 w 204"/>
                <a:gd name="T7" fmla="*/ 102 h 204"/>
                <a:gd name="T8" fmla="*/ 102 w 204"/>
                <a:gd name="T9" fmla="*/ 204 h 204"/>
                <a:gd name="T10" fmla="*/ 102 w 204"/>
                <a:gd name="T11" fmla="*/ 12 h 204"/>
                <a:gd name="T12" fmla="*/ 12 w 204"/>
                <a:gd name="T13" fmla="*/ 102 h 204"/>
                <a:gd name="T14" fmla="*/ 102 w 204"/>
                <a:gd name="T15" fmla="*/ 192 h 204"/>
                <a:gd name="T16" fmla="*/ 192 w 204"/>
                <a:gd name="T17" fmla="*/ 102 h 204"/>
                <a:gd name="T18" fmla="*/ 102 w 204"/>
                <a:gd name="T1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4">
                  <a:moveTo>
                    <a:pt x="102" y="204"/>
                  </a:moveTo>
                  <a:cubicBezTo>
                    <a:pt x="46" y="204"/>
                    <a:pt x="0" y="158"/>
                    <a:pt x="0" y="102"/>
                  </a:cubicBezTo>
                  <a:cubicBezTo>
                    <a:pt x="0" y="46"/>
                    <a:pt x="46" y="0"/>
                    <a:pt x="102" y="0"/>
                  </a:cubicBezTo>
                  <a:cubicBezTo>
                    <a:pt x="159" y="0"/>
                    <a:pt x="204" y="46"/>
                    <a:pt x="204" y="102"/>
                  </a:cubicBezTo>
                  <a:cubicBezTo>
                    <a:pt x="204" y="158"/>
                    <a:pt x="159" y="204"/>
                    <a:pt x="102" y="204"/>
                  </a:cubicBezTo>
                  <a:close/>
                  <a:moveTo>
                    <a:pt x="102" y="12"/>
                  </a:moveTo>
                  <a:cubicBezTo>
                    <a:pt x="53" y="12"/>
                    <a:pt x="12" y="52"/>
                    <a:pt x="12" y="102"/>
                  </a:cubicBezTo>
                  <a:cubicBezTo>
                    <a:pt x="12" y="151"/>
                    <a:pt x="53" y="192"/>
                    <a:pt x="102" y="192"/>
                  </a:cubicBezTo>
                  <a:cubicBezTo>
                    <a:pt x="152" y="192"/>
                    <a:pt x="192" y="151"/>
                    <a:pt x="192" y="102"/>
                  </a:cubicBezTo>
                  <a:cubicBezTo>
                    <a:pt x="192" y="52"/>
                    <a:pt x="152" y="12"/>
                    <a:pt x="102"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239" name="Freeform 117">
              <a:extLst>
                <a:ext uri="{FF2B5EF4-FFF2-40B4-BE49-F238E27FC236}">
                  <a16:creationId xmlns:a16="http://schemas.microsoft.com/office/drawing/2014/main" id="{E6F127FC-C1D8-375C-4703-8714BDB7D68D}"/>
                </a:ext>
              </a:extLst>
            </p:cNvPr>
            <p:cNvSpPr>
              <a:spLocks/>
            </p:cNvSpPr>
            <p:nvPr/>
          </p:nvSpPr>
          <p:spPr bwMode="auto">
            <a:xfrm>
              <a:off x="1617" y="3243"/>
              <a:ext cx="185" cy="185"/>
            </a:xfrm>
            <a:custGeom>
              <a:avLst/>
              <a:gdLst>
                <a:gd name="T0" fmla="*/ 118 w 125"/>
                <a:gd name="T1" fmla="*/ 125 h 125"/>
                <a:gd name="T2" fmla="*/ 114 w 125"/>
                <a:gd name="T3" fmla="*/ 123 h 125"/>
                <a:gd name="T4" fmla="*/ 2 w 125"/>
                <a:gd name="T5" fmla="*/ 11 h 125"/>
                <a:gd name="T6" fmla="*/ 2 w 125"/>
                <a:gd name="T7" fmla="*/ 2 h 125"/>
                <a:gd name="T8" fmla="*/ 11 w 125"/>
                <a:gd name="T9" fmla="*/ 2 h 125"/>
                <a:gd name="T10" fmla="*/ 123 w 125"/>
                <a:gd name="T11" fmla="*/ 115 h 125"/>
                <a:gd name="T12" fmla="*/ 123 w 125"/>
                <a:gd name="T13" fmla="*/ 123 h 125"/>
                <a:gd name="T14" fmla="*/ 118 w 125"/>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25">
                  <a:moveTo>
                    <a:pt x="118" y="125"/>
                  </a:moveTo>
                  <a:cubicBezTo>
                    <a:pt x="117" y="125"/>
                    <a:pt x="115" y="124"/>
                    <a:pt x="114" y="123"/>
                  </a:cubicBezTo>
                  <a:cubicBezTo>
                    <a:pt x="2" y="11"/>
                    <a:pt x="2" y="11"/>
                    <a:pt x="2" y="11"/>
                  </a:cubicBezTo>
                  <a:cubicBezTo>
                    <a:pt x="0" y="9"/>
                    <a:pt x="0" y="5"/>
                    <a:pt x="2" y="2"/>
                  </a:cubicBezTo>
                  <a:cubicBezTo>
                    <a:pt x="4" y="0"/>
                    <a:pt x="8" y="0"/>
                    <a:pt x="11" y="2"/>
                  </a:cubicBezTo>
                  <a:cubicBezTo>
                    <a:pt x="123" y="115"/>
                    <a:pt x="123" y="115"/>
                    <a:pt x="123" y="115"/>
                  </a:cubicBezTo>
                  <a:cubicBezTo>
                    <a:pt x="125" y="117"/>
                    <a:pt x="125" y="121"/>
                    <a:pt x="123" y="123"/>
                  </a:cubicBezTo>
                  <a:cubicBezTo>
                    <a:pt x="122" y="124"/>
                    <a:pt x="120" y="125"/>
                    <a:pt x="118" y="12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grpSp>
      <p:grpSp>
        <p:nvGrpSpPr>
          <p:cNvPr id="367" name="DMP; data; MDM; 360; customer">
            <a:extLst>
              <a:ext uri="{FF2B5EF4-FFF2-40B4-BE49-F238E27FC236}">
                <a16:creationId xmlns:a16="http://schemas.microsoft.com/office/drawing/2014/main" id="{101F0531-4800-D995-DDD0-304728E78CE8}"/>
              </a:ext>
            </a:extLst>
          </p:cNvPr>
          <p:cNvGrpSpPr>
            <a:grpSpLocks noChangeAspect="1"/>
          </p:cNvGrpSpPr>
          <p:nvPr/>
        </p:nvGrpSpPr>
        <p:grpSpPr bwMode="auto">
          <a:xfrm>
            <a:off x="4986012" y="3945341"/>
            <a:ext cx="253406" cy="277067"/>
            <a:chOff x="4501" y="1723"/>
            <a:chExt cx="366" cy="423"/>
          </a:xfrm>
          <a:solidFill>
            <a:schemeClr val="accent2"/>
          </a:solidFill>
        </p:grpSpPr>
        <p:sp>
          <p:nvSpPr>
            <p:cNvPr id="368" name="Freeform 120">
              <a:extLst>
                <a:ext uri="{FF2B5EF4-FFF2-40B4-BE49-F238E27FC236}">
                  <a16:creationId xmlns:a16="http://schemas.microsoft.com/office/drawing/2014/main" id="{3C4649C4-2322-5C8A-F7DE-C77988D5F6CB}"/>
                </a:ext>
              </a:extLst>
            </p:cNvPr>
            <p:cNvSpPr>
              <a:spLocks/>
            </p:cNvSpPr>
            <p:nvPr/>
          </p:nvSpPr>
          <p:spPr bwMode="auto">
            <a:xfrm>
              <a:off x="4567" y="1859"/>
              <a:ext cx="84" cy="83"/>
            </a:xfrm>
            <a:custGeom>
              <a:avLst/>
              <a:gdLst>
                <a:gd name="T0" fmla="*/ 5 w 57"/>
                <a:gd name="T1" fmla="*/ 0 h 56"/>
                <a:gd name="T2" fmla="*/ 4 w 57"/>
                <a:gd name="T3" fmla="*/ 0 h 56"/>
                <a:gd name="T4" fmla="*/ 3 w 57"/>
                <a:gd name="T5" fmla="*/ 0 h 56"/>
                <a:gd name="T6" fmla="*/ 3 w 57"/>
                <a:gd name="T7" fmla="*/ 0 h 56"/>
                <a:gd name="T8" fmla="*/ 2 w 57"/>
                <a:gd name="T9" fmla="*/ 0 h 56"/>
                <a:gd name="T10" fmla="*/ 2 w 57"/>
                <a:gd name="T11" fmla="*/ 1 h 56"/>
                <a:gd name="T12" fmla="*/ 1 w 57"/>
                <a:gd name="T13" fmla="*/ 2 h 56"/>
                <a:gd name="T14" fmla="*/ 1 w 57"/>
                <a:gd name="T15" fmla="*/ 2 h 56"/>
                <a:gd name="T16" fmla="*/ 0 w 57"/>
                <a:gd name="T17" fmla="*/ 3 h 56"/>
                <a:gd name="T18" fmla="*/ 0 w 57"/>
                <a:gd name="T19" fmla="*/ 3 h 56"/>
                <a:gd name="T20" fmla="*/ 0 w 57"/>
                <a:gd name="T21" fmla="*/ 4 h 56"/>
                <a:gd name="T22" fmla="*/ 0 w 57"/>
                <a:gd name="T23" fmla="*/ 4 h 56"/>
                <a:gd name="T24" fmla="*/ 0 w 57"/>
                <a:gd name="T25" fmla="*/ 4 h 56"/>
                <a:gd name="T26" fmla="*/ 0 w 57"/>
                <a:gd name="T27" fmla="*/ 28 h 56"/>
                <a:gd name="T28" fmla="*/ 5 w 57"/>
                <a:gd name="T29" fmla="*/ 33 h 56"/>
                <a:gd name="T30" fmla="*/ 9 w 57"/>
                <a:gd name="T31" fmla="*/ 28 h 56"/>
                <a:gd name="T32" fmla="*/ 9 w 57"/>
                <a:gd name="T33" fmla="*/ 16 h 56"/>
                <a:gd name="T34" fmla="*/ 48 w 57"/>
                <a:gd name="T35" fmla="*/ 55 h 56"/>
                <a:gd name="T36" fmla="*/ 51 w 57"/>
                <a:gd name="T37" fmla="*/ 56 h 56"/>
                <a:gd name="T38" fmla="*/ 55 w 57"/>
                <a:gd name="T39" fmla="*/ 55 h 56"/>
                <a:gd name="T40" fmla="*/ 55 w 57"/>
                <a:gd name="T41" fmla="*/ 48 h 56"/>
                <a:gd name="T42" fmla="*/ 16 w 57"/>
                <a:gd name="T43" fmla="*/ 9 h 56"/>
                <a:gd name="T44" fmla="*/ 28 w 57"/>
                <a:gd name="T45" fmla="*/ 9 h 56"/>
                <a:gd name="T46" fmla="*/ 33 w 57"/>
                <a:gd name="T47" fmla="*/ 4 h 56"/>
                <a:gd name="T48" fmla="*/ 28 w 57"/>
                <a:gd name="T49" fmla="*/ 0 h 56"/>
                <a:gd name="T50" fmla="*/ 5 w 57"/>
                <a:gd name="T5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 h="56">
                  <a:moveTo>
                    <a:pt x="5" y="0"/>
                  </a:moveTo>
                  <a:cubicBezTo>
                    <a:pt x="4" y="0"/>
                    <a:pt x="4" y="0"/>
                    <a:pt x="4" y="0"/>
                  </a:cubicBezTo>
                  <a:cubicBezTo>
                    <a:pt x="4" y="0"/>
                    <a:pt x="4" y="0"/>
                    <a:pt x="3" y="0"/>
                  </a:cubicBezTo>
                  <a:cubicBezTo>
                    <a:pt x="3" y="0"/>
                    <a:pt x="3" y="0"/>
                    <a:pt x="3" y="0"/>
                  </a:cubicBezTo>
                  <a:cubicBezTo>
                    <a:pt x="3" y="0"/>
                    <a:pt x="3" y="0"/>
                    <a:pt x="2" y="0"/>
                  </a:cubicBezTo>
                  <a:cubicBezTo>
                    <a:pt x="2" y="0"/>
                    <a:pt x="2" y="0"/>
                    <a:pt x="2" y="1"/>
                  </a:cubicBezTo>
                  <a:cubicBezTo>
                    <a:pt x="2" y="1"/>
                    <a:pt x="1" y="1"/>
                    <a:pt x="1" y="2"/>
                  </a:cubicBezTo>
                  <a:cubicBezTo>
                    <a:pt x="1" y="2"/>
                    <a:pt x="1" y="2"/>
                    <a:pt x="1" y="2"/>
                  </a:cubicBezTo>
                  <a:cubicBezTo>
                    <a:pt x="1" y="2"/>
                    <a:pt x="0" y="2"/>
                    <a:pt x="0" y="3"/>
                  </a:cubicBezTo>
                  <a:cubicBezTo>
                    <a:pt x="0" y="3"/>
                    <a:pt x="0" y="3"/>
                    <a:pt x="0" y="3"/>
                  </a:cubicBezTo>
                  <a:cubicBezTo>
                    <a:pt x="0" y="3"/>
                    <a:pt x="0" y="3"/>
                    <a:pt x="0" y="4"/>
                  </a:cubicBezTo>
                  <a:cubicBezTo>
                    <a:pt x="0" y="4"/>
                    <a:pt x="0" y="4"/>
                    <a:pt x="0" y="4"/>
                  </a:cubicBezTo>
                  <a:cubicBezTo>
                    <a:pt x="0" y="4"/>
                    <a:pt x="0" y="4"/>
                    <a:pt x="0" y="4"/>
                  </a:cubicBezTo>
                  <a:cubicBezTo>
                    <a:pt x="0" y="28"/>
                    <a:pt x="0" y="28"/>
                    <a:pt x="0" y="28"/>
                  </a:cubicBezTo>
                  <a:cubicBezTo>
                    <a:pt x="0" y="31"/>
                    <a:pt x="2" y="33"/>
                    <a:pt x="5" y="33"/>
                  </a:cubicBezTo>
                  <a:cubicBezTo>
                    <a:pt x="7" y="33"/>
                    <a:pt x="9" y="31"/>
                    <a:pt x="9" y="28"/>
                  </a:cubicBezTo>
                  <a:cubicBezTo>
                    <a:pt x="9" y="16"/>
                    <a:pt x="9" y="16"/>
                    <a:pt x="9" y="16"/>
                  </a:cubicBezTo>
                  <a:cubicBezTo>
                    <a:pt x="48" y="55"/>
                    <a:pt x="48" y="55"/>
                    <a:pt x="48" y="55"/>
                  </a:cubicBezTo>
                  <a:cubicBezTo>
                    <a:pt x="49" y="56"/>
                    <a:pt x="50" y="56"/>
                    <a:pt x="51" y="56"/>
                  </a:cubicBezTo>
                  <a:cubicBezTo>
                    <a:pt x="53" y="56"/>
                    <a:pt x="54" y="56"/>
                    <a:pt x="55" y="55"/>
                  </a:cubicBezTo>
                  <a:cubicBezTo>
                    <a:pt x="57" y="53"/>
                    <a:pt x="57" y="50"/>
                    <a:pt x="55" y="48"/>
                  </a:cubicBezTo>
                  <a:cubicBezTo>
                    <a:pt x="16" y="9"/>
                    <a:pt x="16" y="9"/>
                    <a:pt x="16" y="9"/>
                  </a:cubicBezTo>
                  <a:cubicBezTo>
                    <a:pt x="28" y="9"/>
                    <a:pt x="28" y="9"/>
                    <a:pt x="28" y="9"/>
                  </a:cubicBezTo>
                  <a:cubicBezTo>
                    <a:pt x="31" y="9"/>
                    <a:pt x="33" y="7"/>
                    <a:pt x="33" y="4"/>
                  </a:cubicBezTo>
                  <a:cubicBezTo>
                    <a:pt x="33" y="2"/>
                    <a:pt x="31" y="0"/>
                    <a:pt x="28" y="0"/>
                  </a:cubicBezTo>
                  <a:lnTo>
                    <a:pt x="5"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369" name="Freeform 121">
              <a:extLst>
                <a:ext uri="{FF2B5EF4-FFF2-40B4-BE49-F238E27FC236}">
                  <a16:creationId xmlns:a16="http://schemas.microsoft.com/office/drawing/2014/main" id="{920CC99A-8F17-D7A7-2B77-87C801E445BC}"/>
                </a:ext>
              </a:extLst>
            </p:cNvPr>
            <p:cNvSpPr>
              <a:spLocks/>
            </p:cNvSpPr>
            <p:nvPr/>
          </p:nvSpPr>
          <p:spPr bwMode="auto">
            <a:xfrm>
              <a:off x="4732" y="1859"/>
              <a:ext cx="85" cy="83"/>
            </a:xfrm>
            <a:custGeom>
              <a:avLst/>
              <a:gdLst>
                <a:gd name="T0" fmla="*/ 57 w 57"/>
                <a:gd name="T1" fmla="*/ 4 h 56"/>
                <a:gd name="T2" fmla="*/ 57 w 57"/>
                <a:gd name="T3" fmla="*/ 3 h 56"/>
                <a:gd name="T4" fmla="*/ 56 w 57"/>
                <a:gd name="T5" fmla="*/ 3 h 56"/>
                <a:gd name="T6" fmla="*/ 56 w 57"/>
                <a:gd name="T7" fmla="*/ 2 h 56"/>
                <a:gd name="T8" fmla="*/ 56 w 57"/>
                <a:gd name="T9" fmla="*/ 2 h 56"/>
                <a:gd name="T10" fmla="*/ 55 w 57"/>
                <a:gd name="T11" fmla="*/ 1 h 56"/>
                <a:gd name="T12" fmla="*/ 54 w 57"/>
                <a:gd name="T13" fmla="*/ 0 h 56"/>
                <a:gd name="T14" fmla="*/ 54 w 57"/>
                <a:gd name="T15" fmla="*/ 0 h 56"/>
                <a:gd name="T16" fmla="*/ 53 w 57"/>
                <a:gd name="T17" fmla="*/ 0 h 56"/>
                <a:gd name="T18" fmla="*/ 53 w 57"/>
                <a:gd name="T19" fmla="*/ 0 h 56"/>
                <a:gd name="T20" fmla="*/ 52 w 57"/>
                <a:gd name="T21" fmla="*/ 0 h 56"/>
                <a:gd name="T22" fmla="*/ 52 w 57"/>
                <a:gd name="T23" fmla="*/ 0 h 56"/>
                <a:gd name="T24" fmla="*/ 29 w 57"/>
                <a:gd name="T25" fmla="*/ 0 h 56"/>
                <a:gd name="T26" fmla="*/ 24 w 57"/>
                <a:gd name="T27" fmla="*/ 4 h 56"/>
                <a:gd name="T28" fmla="*/ 29 w 57"/>
                <a:gd name="T29" fmla="*/ 9 h 56"/>
                <a:gd name="T30" fmla="*/ 41 w 57"/>
                <a:gd name="T31" fmla="*/ 9 h 56"/>
                <a:gd name="T32" fmla="*/ 2 w 57"/>
                <a:gd name="T33" fmla="*/ 48 h 56"/>
                <a:gd name="T34" fmla="*/ 2 w 57"/>
                <a:gd name="T35" fmla="*/ 55 h 56"/>
                <a:gd name="T36" fmla="*/ 5 w 57"/>
                <a:gd name="T37" fmla="*/ 56 h 56"/>
                <a:gd name="T38" fmla="*/ 9 w 57"/>
                <a:gd name="T39" fmla="*/ 55 h 56"/>
                <a:gd name="T40" fmla="*/ 47 w 57"/>
                <a:gd name="T41" fmla="*/ 16 h 56"/>
                <a:gd name="T42" fmla="*/ 47 w 57"/>
                <a:gd name="T43" fmla="*/ 28 h 56"/>
                <a:gd name="T44" fmla="*/ 52 w 57"/>
                <a:gd name="T45" fmla="*/ 33 h 56"/>
                <a:gd name="T46" fmla="*/ 57 w 57"/>
                <a:gd name="T47" fmla="*/ 28 h 56"/>
                <a:gd name="T48" fmla="*/ 57 w 57"/>
                <a:gd name="T49" fmla="*/ 4 h 56"/>
                <a:gd name="T50" fmla="*/ 57 w 57"/>
                <a:gd name="T51" fmla="*/ 4 h 56"/>
                <a:gd name="T52" fmla="*/ 57 w 57"/>
                <a:gd name="T53"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 h="56">
                  <a:moveTo>
                    <a:pt x="57" y="4"/>
                  </a:moveTo>
                  <a:cubicBezTo>
                    <a:pt x="57" y="3"/>
                    <a:pt x="57" y="3"/>
                    <a:pt x="57" y="3"/>
                  </a:cubicBezTo>
                  <a:cubicBezTo>
                    <a:pt x="56" y="3"/>
                    <a:pt x="56" y="3"/>
                    <a:pt x="56" y="3"/>
                  </a:cubicBezTo>
                  <a:cubicBezTo>
                    <a:pt x="56" y="2"/>
                    <a:pt x="56" y="2"/>
                    <a:pt x="56" y="2"/>
                  </a:cubicBezTo>
                  <a:cubicBezTo>
                    <a:pt x="56" y="2"/>
                    <a:pt x="56" y="2"/>
                    <a:pt x="56" y="2"/>
                  </a:cubicBezTo>
                  <a:cubicBezTo>
                    <a:pt x="56" y="1"/>
                    <a:pt x="55" y="1"/>
                    <a:pt x="55" y="1"/>
                  </a:cubicBezTo>
                  <a:cubicBezTo>
                    <a:pt x="55" y="1"/>
                    <a:pt x="54" y="0"/>
                    <a:pt x="54" y="0"/>
                  </a:cubicBezTo>
                  <a:cubicBezTo>
                    <a:pt x="54" y="0"/>
                    <a:pt x="54" y="0"/>
                    <a:pt x="54" y="0"/>
                  </a:cubicBezTo>
                  <a:cubicBezTo>
                    <a:pt x="54" y="0"/>
                    <a:pt x="54" y="0"/>
                    <a:pt x="53" y="0"/>
                  </a:cubicBezTo>
                  <a:cubicBezTo>
                    <a:pt x="53" y="0"/>
                    <a:pt x="53" y="0"/>
                    <a:pt x="53" y="0"/>
                  </a:cubicBezTo>
                  <a:cubicBezTo>
                    <a:pt x="53" y="0"/>
                    <a:pt x="53" y="0"/>
                    <a:pt x="52" y="0"/>
                  </a:cubicBezTo>
                  <a:cubicBezTo>
                    <a:pt x="52" y="0"/>
                    <a:pt x="52" y="0"/>
                    <a:pt x="52" y="0"/>
                  </a:cubicBezTo>
                  <a:cubicBezTo>
                    <a:pt x="29" y="0"/>
                    <a:pt x="29" y="0"/>
                    <a:pt x="29" y="0"/>
                  </a:cubicBezTo>
                  <a:cubicBezTo>
                    <a:pt x="26" y="0"/>
                    <a:pt x="24" y="2"/>
                    <a:pt x="24" y="4"/>
                  </a:cubicBezTo>
                  <a:cubicBezTo>
                    <a:pt x="24" y="7"/>
                    <a:pt x="26" y="9"/>
                    <a:pt x="29" y="9"/>
                  </a:cubicBezTo>
                  <a:cubicBezTo>
                    <a:pt x="41" y="9"/>
                    <a:pt x="41" y="9"/>
                    <a:pt x="41" y="9"/>
                  </a:cubicBezTo>
                  <a:cubicBezTo>
                    <a:pt x="2" y="48"/>
                    <a:pt x="2" y="48"/>
                    <a:pt x="2" y="48"/>
                  </a:cubicBezTo>
                  <a:cubicBezTo>
                    <a:pt x="0" y="50"/>
                    <a:pt x="0" y="53"/>
                    <a:pt x="2" y="55"/>
                  </a:cubicBezTo>
                  <a:cubicBezTo>
                    <a:pt x="3" y="56"/>
                    <a:pt x="4" y="56"/>
                    <a:pt x="5" y="56"/>
                  </a:cubicBezTo>
                  <a:cubicBezTo>
                    <a:pt x="7" y="56"/>
                    <a:pt x="8" y="56"/>
                    <a:pt x="9" y="55"/>
                  </a:cubicBezTo>
                  <a:cubicBezTo>
                    <a:pt x="47" y="16"/>
                    <a:pt x="47" y="16"/>
                    <a:pt x="47" y="16"/>
                  </a:cubicBezTo>
                  <a:cubicBezTo>
                    <a:pt x="47" y="28"/>
                    <a:pt x="47" y="28"/>
                    <a:pt x="47" y="28"/>
                  </a:cubicBezTo>
                  <a:cubicBezTo>
                    <a:pt x="47" y="31"/>
                    <a:pt x="49" y="33"/>
                    <a:pt x="52" y="33"/>
                  </a:cubicBezTo>
                  <a:cubicBezTo>
                    <a:pt x="55" y="33"/>
                    <a:pt x="57" y="31"/>
                    <a:pt x="57" y="28"/>
                  </a:cubicBezTo>
                  <a:cubicBezTo>
                    <a:pt x="57" y="4"/>
                    <a:pt x="57" y="4"/>
                    <a:pt x="57" y="4"/>
                  </a:cubicBezTo>
                  <a:cubicBezTo>
                    <a:pt x="57" y="4"/>
                    <a:pt x="57" y="4"/>
                    <a:pt x="57" y="4"/>
                  </a:cubicBezTo>
                  <a:cubicBezTo>
                    <a:pt x="57" y="4"/>
                    <a:pt x="57" y="4"/>
                    <a:pt x="57"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370" name="Freeform 122">
              <a:extLst>
                <a:ext uri="{FF2B5EF4-FFF2-40B4-BE49-F238E27FC236}">
                  <a16:creationId xmlns:a16="http://schemas.microsoft.com/office/drawing/2014/main" id="{DEDE0D86-4554-D333-2BE5-F6AE47C1C887}"/>
                </a:ext>
              </a:extLst>
            </p:cNvPr>
            <p:cNvSpPr>
              <a:spLocks/>
            </p:cNvSpPr>
            <p:nvPr/>
          </p:nvSpPr>
          <p:spPr bwMode="auto">
            <a:xfrm>
              <a:off x="4655" y="1859"/>
              <a:ext cx="71" cy="83"/>
            </a:xfrm>
            <a:custGeom>
              <a:avLst/>
              <a:gdLst>
                <a:gd name="T0" fmla="*/ 24 w 48"/>
                <a:gd name="T1" fmla="*/ 56 h 56"/>
                <a:gd name="T2" fmla="*/ 24 w 48"/>
                <a:gd name="T3" fmla="*/ 56 h 56"/>
                <a:gd name="T4" fmla="*/ 29 w 48"/>
                <a:gd name="T5" fmla="*/ 51 h 56"/>
                <a:gd name="T6" fmla="*/ 29 w 48"/>
                <a:gd name="T7" fmla="*/ 14 h 56"/>
                <a:gd name="T8" fmla="*/ 40 w 48"/>
                <a:gd name="T9" fmla="*/ 22 h 56"/>
                <a:gd name="T10" fmla="*/ 43 w 48"/>
                <a:gd name="T11" fmla="*/ 23 h 56"/>
                <a:gd name="T12" fmla="*/ 47 w 48"/>
                <a:gd name="T13" fmla="*/ 21 h 56"/>
                <a:gd name="T14" fmla="*/ 46 w 48"/>
                <a:gd name="T15" fmla="*/ 15 h 56"/>
                <a:gd name="T16" fmla="*/ 27 w 48"/>
                <a:gd name="T17" fmla="*/ 1 h 56"/>
                <a:gd name="T18" fmla="*/ 27 w 48"/>
                <a:gd name="T19" fmla="*/ 1 h 56"/>
                <a:gd name="T20" fmla="*/ 26 w 48"/>
                <a:gd name="T21" fmla="*/ 0 h 56"/>
                <a:gd name="T22" fmla="*/ 26 w 48"/>
                <a:gd name="T23" fmla="*/ 0 h 56"/>
                <a:gd name="T24" fmla="*/ 24 w 48"/>
                <a:gd name="T25" fmla="*/ 0 h 56"/>
                <a:gd name="T26" fmla="*/ 24 w 48"/>
                <a:gd name="T27" fmla="*/ 0 h 56"/>
                <a:gd name="T28" fmla="*/ 23 w 48"/>
                <a:gd name="T29" fmla="*/ 0 h 56"/>
                <a:gd name="T30" fmla="*/ 23 w 48"/>
                <a:gd name="T31" fmla="*/ 0 h 56"/>
                <a:gd name="T32" fmla="*/ 22 w 48"/>
                <a:gd name="T33" fmla="*/ 1 h 56"/>
                <a:gd name="T34" fmla="*/ 22 w 48"/>
                <a:gd name="T35" fmla="*/ 1 h 56"/>
                <a:gd name="T36" fmla="*/ 3 w 48"/>
                <a:gd name="T37" fmla="*/ 15 h 56"/>
                <a:gd name="T38" fmla="*/ 2 w 48"/>
                <a:gd name="T39" fmla="*/ 21 h 56"/>
                <a:gd name="T40" fmla="*/ 8 w 48"/>
                <a:gd name="T41" fmla="*/ 22 h 56"/>
                <a:gd name="T42" fmla="*/ 20 w 48"/>
                <a:gd name="T43" fmla="*/ 14 h 56"/>
                <a:gd name="T44" fmla="*/ 20 w 48"/>
                <a:gd name="T45" fmla="*/ 51 h 56"/>
                <a:gd name="T46" fmla="*/ 24 w 48"/>
                <a:gd name="T4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56">
                  <a:moveTo>
                    <a:pt x="24" y="56"/>
                  </a:moveTo>
                  <a:cubicBezTo>
                    <a:pt x="24" y="56"/>
                    <a:pt x="24" y="56"/>
                    <a:pt x="24" y="56"/>
                  </a:cubicBezTo>
                  <a:cubicBezTo>
                    <a:pt x="27" y="56"/>
                    <a:pt x="29" y="54"/>
                    <a:pt x="29" y="51"/>
                  </a:cubicBezTo>
                  <a:cubicBezTo>
                    <a:pt x="29" y="14"/>
                    <a:pt x="29" y="14"/>
                    <a:pt x="29" y="14"/>
                  </a:cubicBezTo>
                  <a:cubicBezTo>
                    <a:pt x="40" y="22"/>
                    <a:pt x="40" y="22"/>
                    <a:pt x="40" y="22"/>
                  </a:cubicBezTo>
                  <a:cubicBezTo>
                    <a:pt x="41" y="23"/>
                    <a:pt x="42" y="23"/>
                    <a:pt x="43" y="23"/>
                  </a:cubicBezTo>
                  <a:cubicBezTo>
                    <a:pt x="45" y="23"/>
                    <a:pt x="46" y="23"/>
                    <a:pt x="47" y="21"/>
                  </a:cubicBezTo>
                  <a:cubicBezTo>
                    <a:pt x="48" y="19"/>
                    <a:pt x="48" y="16"/>
                    <a:pt x="46" y="15"/>
                  </a:cubicBezTo>
                  <a:cubicBezTo>
                    <a:pt x="27" y="1"/>
                    <a:pt x="27" y="1"/>
                    <a:pt x="27" y="1"/>
                  </a:cubicBezTo>
                  <a:cubicBezTo>
                    <a:pt x="27" y="1"/>
                    <a:pt x="27" y="1"/>
                    <a:pt x="27" y="1"/>
                  </a:cubicBezTo>
                  <a:cubicBezTo>
                    <a:pt x="27" y="1"/>
                    <a:pt x="26" y="1"/>
                    <a:pt x="26" y="0"/>
                  </a:cubicBezTo>
                  <a:cubicBezTo>
                    <a:pt x="26" y="0"/>
                    <a:pt x="26" y="0"/>
                    <a:pt x="26" y="0"/>
                  </a:cubicBezTo>
                  <a:cubicBezTo>
                    <a:pt x="25" y="0"/>
                    <a:pt x="25" y="0"/>
                    <a:pt x="24" y="0"/>
                  </a:cubicBezTo>
                  <a:cubicBezTo>
                    <a:pt x="24" y="0"/>
                    <a:pt x="24" y="0"/>
                    <a:pt x="24" y="0"/>
                  </a:cubicBezTo>
                  <a:cubicBezTo>
                    <a:pt x="24" y="0"/>
                    <a:pt x="24" y="0"/>
                    <a:pt x="23" y="0"/>
                  </a:cubicBezTo>
                  <a:cubicBezTo>
                    <a:pt x="23" y="0"/>
                    <a:pt x="23" y="0"/>
                    <a:pt x="23" y="0"/>
                  </a:cubicBezTo>
                  <a:cubicBezTo>
                    <a:pt x="22" y="1"/>
                    <a:pt x="22" y="1"/>
                    <a:pt x="22" y="1"/>
                  </a:cubicBezTo>
                  <a:cubicBezTo>
                    <a:pt x="22" y="1"/>
                    <a:pt x="22" y="1"/>
                    <a:pt x="22" y="1"/>
                  </a:cubicBezTo>
                  <a:cubicBezTo>
                    <a:pt x="3" y="15"/>
                    <a:pt x="3" y="15"/>
                    <a:pt x="3" y="15"/>
                  </a:cubicBezTo>
                  <a:cubicBezTo>
                    <a:pt x="1" y="16"/>
                    <a:pt x="0" y="19"/>
                    <a:pt x="2" y="21"/>
                  </a:cubicBezTo>
                  <a:cubicBezTo>
                    <a:pt x="3" y="23"/>
                    <a:pt x="6" y="24"/>
                    <a:pt x="8" y="22"/>
                  </a:cubicBezTo>
                  <a:cubicBezTo>
                    <a:pt x="20" y="14"/>
                    <a:pt x="20" y="14"/>
                    <a:pt x="20" y="14"/>
                  </a:cubicBezTo>
                  <a:cubicBezTo>
                    <a:pt x="20" y="51"/>
                    <a:pt x="20" y="51"/>
                    <a:pt x="20" y="51"/>
                  </a:cubicBezTo>
                  <a:cubicBezTo>
                    <a:pt x="20" y="54"/>
                    <a:pt x="22" y="56"/>
                    <a:pt x="24" y="5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371" name="Freeform 123">
              <a:extLst>
                <a:ext uri="{FF2B5EF4-FFF2-40B4-BE49-F238E27FC236}">
                  <a16:creationId xmlns:a16="http://schemas.microsoft.com/office/drawing/2014/main" id="{C7BD29BD-B6F9-4717-D0BC-D7391C880092}"/>
                </a:ext>
              </a:extLst>
            </p:cNvPr>
            <p:cNvSpPr>
              <a:spLocks noEditPoints="1"/>
            </p:cNvSpPr>
            <p:nvPr/>
          </p:nvSpPr>
          <p:spPr bwMode="auto">
            <a:xfrm>
              <a:off x="4768" y="1723"/>
              <a:ext cx="99" cy="124"/>
            </a:xfrm>
            <a:custGeom>
              <a:avLst/>
              <a:gdLst>
                <a:gd name="T0" fmla="*/ 67 w 67"/>
                <a:gd name="T1" fmla="*/ 29 h 84"/>
                <a:gd name="T2" fmla="*/ 67 w 67"/>
                <a:gd name="T3" fmla="*/ 28 h 84"/>
                <a:gd name="T4" fmla="*/ 67 w 67"/>
                <a:gd name="T5" fmla="*/ 28 h 84"/>
                <a:gd name="T6" fmla="*/ 67 w 67"/>
                <a:gd name="T7" fmla="*/ 27 h 84"/>
                <a:gd name="T8" fmla="*/ 67 w 67"/>
                <a:gd name="T9" fmla="*/ 27 h 84"/>
                <a:gd name="T10" fmla="*/ 66 w 67"/>
                <a:gd name="T11" fmla="*/ 26 h 84"/>
                <a:gd name="T12" fmla="*/ 41 w 67"/>
                <a:gd name="T13" fmla="*/ 1 h 84"/>
                <a:gd name="T14" fmla="*/ 38 w 67"/>
                <a:gd name="T15" fmla="*/ 0 h 84"/>
                <a:gd name="T16" fmla="*/ 4 w 67"/>
                <a:gd name="T17" fmla="*/ 0 h 84"/>
                <a:gd name="T18" fmla="*/ 0 w 67"/>
                <a:gd name="T19" fmla="*/ 4 h 84"/>
                <a:gd name="T20" fmla="*/ 0 w 67"/>
                <a:gd name="T21" fmla="*/ 80 h 84"/>
                <a:gd name="T22" fmla="*/ 4 w 67"/>
                <a:gd name="T23" fmla="*/ 84 h 84"/>
                <a:gd name="T24" fmla="*/ 63 w 67"/>
                <a:gd name="T25" fmla="*/ 84 h 84"/>
                <a:gd name="T26" fmla="*/ 67 w 67"/>
                <a:gd name="T27" fmla="*/ 80 h 84"/>
                <a:gd name="T28" fmla="*/ 67 w 67"/>
                <a:gd name="T29" fmla="*/ 29 h 84"/>
                <a:gd name="T30" fmla="*/ 67 w 67"/>
                <a:gd name="T31" fmla="*/ 29 h 84"/>
                <a:gd name="T32" fmla="*/ 53 w 67"/>
                <a:gd name="T33" fmla="*/ 25 h 84"/>
                <a:gd name="T34" fmla="*/ 38 w 67"/>
                <a:gd name="T35" fmla="*/ 25 h 84"/>
                <a:gd name="T36" fmla="*/ 38 w 67"/>
                <a:gd name="T37" fmla="*/ 10 h 84"/>
                <a:gd name="T38" fmla="*/ 53 w 67"/>
                <a:gd name="T39" fmla="*/ 25 h 84"/>
                <a:gd name="T40" fmla="*/ 9 w 67"/>
                <a:gd name="T41" fmla="*/ 76 h 84"/>
                <a:gd name="T42" fmla="*/ 9 w 67"/>
                <a:gd name="T43" fmla="*/ 8 h 84"/>
                <a:gd name="T44" fmla="*/ 30 w 67"/>
                <a:gd name="T45" fmla="*/ 8 h 84"/>
                <a:gd name="T46" fmla="*/ 30 w 67"/>
                <a:gd name="T47" fmla="*/ 29 h 84"/>
                <a:gd name="T48" fmla="*/ 34 w 67"/>
                <a:gd name="T49" fmla="*/ 34 h 84"/>
                <a:gd name="T50" fmla="*/ 59 w 67"/>
                <a:gd name="T51" fmla="*/ 34 h 84"/>
                <a:gd name="T52" fmla="*/ 59 w 67"/>
                <a:gd name="T53" fmla="*/ 76 h 84"/>
                <a:gd name="T54" fmla="*/ 9 w 67"/>
                <a:gd name="T55"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84">
                  <a:moveTo>
                    <a:pt x="67" y="29"/>
                  </a:moveTo>
                  <a:cubicBezTo>
                    <a:pt x="67" y="28"/>
                    <a:pt x="67" y="28"/>
                    <a:pt x="67" y="28"/>
                  </a:cubicBezTo>
                  <a:cubicBezTo>
                    <a:pt x="67" y="28"/>
                    <a:pt x="67" y="28"/>
                    <a:pt x="67" y="28"/>
                  </a:cubicBezTo>
                  <a:cubicBezTo>
                    <a:pt x="67" y="28"/>
                    <a:pt x="67" y="27"/>
                    <a:pt x="67" y="27"/>
                  </a:cubicBezTo>
                  <a:cubicBezTo>
                    <a:pt x="67" y="27"/>
                    <a:pt x="67" y="27"/>
                    <a:pt x="67" y="27"/>
                  </a:cubicBezTo>
                  <a:cubicBezTo>
                    <a:pt x="67" y="27"/>
                    <a:pt x="66" y="27"/>
                    <a:pt x="66" y="26"/>
                  </a:cubicBezTo>
                  <a:cubicBezTo>
                    <a:pt x="41" y="1"/>
                    <a:pt x="41" y="1"/>
                    <a:pt x="41" y="1"/>
                  </a:cubicBezTo>
                  <a:cubicBezTo>
                    <a:pt x="40" y="0"/>
                    <a:pt x="39" y="0"/>
                    <a:pt x="38" y="0"/>
                  </a:cubicBezTo>
                  <a:cubicBezTo>
                    <a:pt x="4" y="0"/>
                    <a:pt x="4" y="0"/>
                    <a:pt x="4" y="0"/>
                  </a:cubicBezTo>
                  <a:cubicBezTo>
                    <a:pt x="2" y="0"/>
                    <a:pt x="0" y="2"/>
                    <a:pt x="0" y="4"/>
                  </a:cubicBezTo>
                  <a:cubicBezTo>
                    <a:pt x="0" y="80"/>
                    <a:pt x="0" y="80"/>
                    <a:pt x="0" y="80"/>
                  </a:cubicBezTo>
                  <a:cubicBezTo>
                    <a:pt x="0" y="82"/>
                    <a:pt x="2" y="84"/>
                    <a:pt x="4" y="84"/>
                  </a:cubicBezTo>
                  <a:cubicBezTo>
                    <a:pt x="63" y="84"/>
                    <a:pt x="63" y="84"/>
                    <a:pt x="63" y="84"/>
                  </a:cubicBezTo>
                  <a:cubicBezTo>
                    <a:pt x="66" y="84"/>
                    <a:pt x="67" y="82"/>
                    <a:pt x="67" y="80"/>
                  </a:cubicBezTo>
                  <a:cubicBezTo>
                    <a:pt x="67" y="29"/>
                    <a:pt x="67" y="29"/>
                    <a:pt x="67" y="29"/>
                  </a:cubicBezTo>
                  <a:cubicBezTo>
                    <a:pt x="67" y="29"/>
                    <a:pt x="67" y="29"/>
                    <a:pt x="67" y="29"/>
                  </a:cubicBezTo>
                  <a:close/>
                  <a:moveTo>
                    <a:pt x="53" y="25"/>
                  </a:moveTo>
                  <a:cubicBezTo>
                    <a:pt x="38" y="25"/>
                    <a:pt x="38" y="25"/>
                    <a:pt x="38" y="25"/>
                  </a:cubicBezTo>
                  <a:cubicBezTo>
                    <a:pt x="38" y="10"/>
                    <a:pt x="38" y="10"/>
                    <a:pt x="38" y="10"/>
                  </a:cubicBezTo>
                  <a:lnTo>
                    <a:pt x="53" y="25"/>
                  </a:lnTo>
                  <a:close/>
                  <a:moveTo>
                    <a:pt x="9" y="76"/>
                  </a:moveTo>
                  <a:cubicBezTo>
                    <a:pt x="9" y="8"/>
                    <a:pt x="9" y="8"/>
                    <a:pt x="9" y="8"/>
                  </a:cubicBezTo>
                  <a:cubicBezTo>
                    <a:pt x="30" y="8"/>
                    <a:pt x="30" y="8"/>
                    <a:pt x="30" y="8"/>
                  </a:cubicBezTo>
                  <a:cubicBezTo>
                    <a:pt x="30" y="29"/>
                    <a:pt x="30" y="29"/>
                    <a:pt x="30" y="29"/>
                  </a:cubicBezTo>
                  <a:cubicBezTo>
                    <a:pt x="30" y="32"/>
                    <a:pt x="32" y="34"/>
                    <a:pt x="34" y="34"/>
                  </a:cubicBezTo>
                  <a:cubicBezTo>
                    <a:pt x="59" y="34"/>
                    <a:pt x="59" y="34"/>
                    <a:pt x="59" y="34"/>
                  </a:cubicBezTo>
                  <a:cubicBezTo>
                    <a:pt x="59" y="76"/>
                    <a:pt x="59" y="76"/>
                    <a:pt x="59" y="76"/>
                  </a:cubicBezTo>
                  <a:lnTo>
                    <a:pt x="9" y="7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372" name="Freeform 124">
              <a:extLst>
                <a:ext uri="{FF2B5EF4-FFF2-40B4-BE49-F238E27FC236}">
                  <a16:creationId xmlns:a16="http://schemas.microsoft.com/office/drawing/2014/main" id="{B23829B5-E6A3-ABE2-AED4-51884D4AE22A}"/>
                </a:ext>
              </a:extLst>
            </p:cNvPr>
            <p:cNvSpPr>
              <a:spLocks noEditPoints="1"/>
            </p:cNvSpPr>
            <p:nvPr/>
          </p:nvSpPr>
          <p:spPr bwMode="auto">
            <a:xfrm>
              <a:off x="4501" y="1723"/>
              <a:ext cx="113" cy="92"/>
            </a:xfrm>
            <a:custGeom>
              <a:avLst/>
              <a:gdLst>
                <a:gd name="T0" fmla="*/ 72 w 76"/>
                <a:gd name="T1" fmla="*/ 17 h 62"/>
                <a:gd name="T2" fmla="*/ 23 w 76"/>
                <a:gd name="T3" fmla="*/ 17 h 62"/>
                <a:gd name="T4" fmla="*/ 23 w 76"/>
                <a:gd name="T5" fmla="*/ 4 h 62"/>
                <a:gd name="T6" fmla="*/ 18 w 76"/>
                <a:gd name="T7" fmla="*/ 0 h 62"/>
                <a:gd name="T8" fmla="*/ 5 w 76"/>
                <a:gd name="T9" fmla="*/ 0 h 62"/>
                <a:gd name="T10" fmla="*/ 0 w 76"/>
                <a:gd name="T11" fmla="*/ 4 h 62"/>
                <a:gd name="T12" fmla="*/ 5 w 76"/>
                <a:gd name="T13" fmla="*/ 8 h 62"/>
                <a:gd name="T14" fmla="*/ 14 w 76"/>
                <a:gd name="T15" fmla="*/ 8 h 62"/>
                <a:gd name="T16" fmla="*/ 14 w 76"/>
                <a:gd name="T17" fmla="*/ 57 h 62"/>
                <a:gd name="T18" fmla="*/ 18 w 76"/>
                <a:gd name="T19" fmla="*/ 62 h 62"/>
                <a:gd name="T20" fmla="*/ 72 w 76"/>
                <a:gd name="T21" fmla="*/ 62 h 62"/>
                <a:gd name="T22" fmla="*/ 76 w 76"/>
                <a:gd name="T23" fmla="*/ 57 h 62"/>
                <a:gd name="T24" fmla="*/ 76 w 76"/>
                <a:gd name="T25" fmla="*/ 22 h 62"/>
                <a:gd name="T26" fmla="*/ 72 w 76"/>
                <a:gd name="T27" fmla="*/ 17 h 62"/>
                <a:gd name="T28" fmla="*/ 67 w 76"/>
                <a:gd name="T29" fmla="*/ 53 h 62"/>
                <a:gd name="T30" fmla="*/ 23 w 76"/>
                <a:gd name="T31" fmla="*/ 53 h 62"/>
                <a:gd name="T32" fmla="*/ 23 w 76"/>
                <a:gd name="T33" fmla="*/ 26 h 62"/>
                <a:gd name="T34" fmla="*/ 67 w 76"/>
                <a:gd name="T35" fmla="*/ 26 h 62"/>
                <a:gd name="T36" fmla="*/ 67 w 76"/>
                <a:gd name="T37"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62">
                  <a:moveTo>
                    <a:pt x="72" y="17"/>
                  </a:moveTo>
                  <a:cubicBezTo>
                    <a:pt x="23" y="17"/>
                    <a:pt x="23" y="17"/>
                    <a:pt x="23" y="17"/>
                  </a:cubicBezTo>
                  <a:cubicBezTo>
                    <a:pt x="23" y="4"/>
                    <a:pt x="23" y="4"/>
                    <a:pt x="23" y="4"/>
                  </a:cubicBezTo>
                  <a:cubicBezTo>
                    <a:pt x="23" y="2"/>
                    <a:pt x="21" y="0"/>
                    <a:pt x="18" y="0"/>
                  </a:cubicBezTo>
                  <a:cubicBezTo>
                    <a:pt x="5" y="0"/>
                    <a:pt x="5" y="0"/>
                    <a:pt x="5" y="0"/>
                  </a:cubicBezTo>
                  <a:cubicBezTo>
                    <a:pt x="2" y="0"/>
                    <a:pt x="0" y="2"/>
                    <a:pt x="0" y="4"/>
                  </a:cubicBezTo>
                  <a:cubicBezTo>
                    <a:pt x="0" y="6"/>
                    <a:pt x="2" y="8"/>
                    <a:pt x="5" y="8"/>
                  </a:cubicBezTo>
                  <a:cubicBezTo>
                    <a:pt x="14" y="8"/>
                    <a:pt x="14" y="8"/>
                    <a:pt x="14" y="8"/>
                  </a:cubicBezTo>
                  <a:cubicBezTo>
                    <a:pt x="14" y="57"/>
                    <a:pt x="14" y="57"/>
                    <a:pt x="14" y="57"/>
                  </a:cubicBezTo>
                  <a:cubicBezTo>
                    <a:pt x="14" y="60"/>
                    <a:pt x="16" y="62"/>
                    <a:pt x="18" y="62"/>
                  </a:cubicBezTo>
                  <a:cubicBezTo>
                    <a:pt x="72" y="62"/>
                    <a:pt x="72" y="62"/>
                    <a:pt x="72" y="62"/>
                  </a:cubicBezTo>
                  <a:cubicBezTo>
                    <a:pt x="74" y="62"/>
                    <a:pt x="76" y="60"/>
                    <a:pt x="76" y="57"/>
                  </a:cubicBezTo>
                  <a:cubicBezTo>
                    <a:pt x="76" y="22"/>
                    <a:pt x="76" y="22"/>
                    <a:pt x="76" y="22"/>
                  </a:cubicBezTo>
                  <a:cubicBezTo>
                    <a:pt x="76" y="19"/>
                    <a:pt x="74" y="17"/>
                    <a:pt x="72" y="17"/>
                  </a:cubicBezTo>
                  <a:close/>
                  <a:moveTo>
                    <a:pt x="67" y="53"/>
                  </a:moveTo>
                  <a:cubicBezTo>
                    <a:pt x="23" y="53"/>
                    <a:pt x="23" y="53"/>
                    <a:pt x="23" y="53"/>
                  </a:cubicBezTo>
                  <a:cubicBezTo>
                    <a:pt x="23" y="26"/>
                    <a:pt x="23" y="26"/>
                    <a:pt x="23" y="26"/>
                  </a:cubicBezTo>
                  <a:cubicBezTo>
                    <a:pt x="67" y="26"/>
                    <a:pt x="67" y="26"/>
                    <a:pt x="67" y="26"/>
                  </a:cubicBezTo>
                  <a:lnTo>
                    <a:pt x="67" y="5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373" name="Oval 125">
              <a:extLst>
                <a:ext uri="{FF2B5EF4-FFF2-40B4-BE49-F238E27FC236}">
                  <a16:creationId xmlns:a16="http://schemas.microsoft.com/office/drawing/2014/main" id="{380DBEC9-3B95-CC2F-B178-A7B282568033}"/>
                </a:ext>
              </a:extLst>
            </p:cNvPr>
            <p:cNvSpPr>
              <a:spLocks noChangeArrowheads="1"/>
            </p:cNvSpPr>
            <p:nvPr/>
          </p:nvSpPr>
          <p:spPr bwMode="auto">
            <a:xfrm>
              <a:off x="4528" y="1820"/>
              <a:ext cx="27" cy="27"/>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374" name="Oval 126">
              <a:extLst>
                <a:ext uri="{FF2B5EF4-FFF2-40B4-BE49-F238E27FC236}">
                  <a16:creationId xmlns:a16="http://schemas.microsoft.com/office/drawing/2014/main" id="{A7AFCEDE-F48C-4D18-8FFE-6DB2A177E0C5}"/>
                </a:ext>
              </a:extLst>
            </p:cNvPr>
            <p:cNvSpPr>
              <a:spLocks noChangeArrowheads="1"/>
            </p:cNvSpPr>
            <p:nvPr/>
          </p:nvSpPr>
          <p:spPr bwMode="auto">
            <a:xfrm>
              <a:off x="4581" y="1820"/>
              <a:ext cx="27" cy="27"/>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375" name="Freeform 127">
              <a:extLst>
                <a:ext uri="{FF2B5EF4-FFF2-40B4-BE49-F238E27FC236}">
                  <a16:creationId xmlns:a16="http://schemas.microsoft.com/office/drawing/2014/main" id="{604DA8D4-226A-771A-2C3A-3EE24FF65A7D}"/>
                </a:ext>
              </a:extLst>
            </p:cNvPr>
            <p:cNvSpPr>
              <a:spLocks noEditPoints="1"/>
            </p:cNvSpPr>
            <p:nvPr/>
          </p:nvSpPr>
          <p:spPr bwMode="auto">
            <a:xfrm>
              <a:off x="4567" y="1931"/>
              <a:ext cx="250" cy="215"/>
            </a:xfrm>
            <a:custGeom>
              <a:avLst/>
              <a:gdLst>
                <a:gd name="T0" fmla="*/ 159 w 169"/>
                <a:gd name="T1" fmla="*/ 0 h 145"/>
                <a:gd name="T2" fmla="*/ 84 w 169"/>
                <a:gd name="T3" fmla="*/ 23 h 145"/>
                <a:gd name="T4" fmla="*/ 9 w 169"/>
                <a:gd name="T5" fmla="*/ 0 h 145"/>
                <a:gd name="T6" fmla="*/ 0 w 169"/>
                <a:gd name="T7" fmla="*/ 0 h 145"/>
                <a:gd name="T8" fmla="*/ 0 w 169"/>
                <a:gd name="T9" fmla="*/ 112 h 145"/>
                <a:gd name="T10" fmla="*/ 75 w 169"/>
                <a:gd name="T11" fmla="*/ 145 h 145"/>
                <a:gd name="T12" fmla="*/ 84 w 169"/>
                <a:gd name="T13" fmla="*/ 145 h 145"/>
                <a:gd name="T14" fmla="*/ 169 w 169"/>
                <a:gd name="T15" fmla="*/ 112 h 145"/>
                <a:gd name="T16" fmla="*/ 169 w 169"/>
                <a:gd name="T17" fmla="*/ 0 h 145"/>
                <a:gd name="T18" fmla="*/ 159 w 169"/>
                <a:gd name="T19" fmla="*/ 0 h 145"/>
                <a:gd name="T20" fmla="*/ 159 w 169"/>
                <a:gd name="T21" fmla="*/ 75 h 145"/>
                <a:gd name="T22" fmla="*/ 84 w 169"/>
                <a:gd name="T23" fmla="*/ 98 h 145"/>
                <a:gd name="T24" fmla="*/ 9 w 169"/>
                <a:gd name="T25" fmla="*/ 75 h 145"/>
                <a:gd name="T26" fmla="*/ 9 w 169"/>
                <a:gd name="T27" fmla="*/ 53 h 145"/>
                <a:gd name="T28" fmla="*/ 84 w 169"/>
                <a:gd name="T29" fmla="*/ 70 h 145"/>
                <a:gd name="T30" fmla="*/ 159 w 169"/>
                <a:gd name="T31" fmla="*/ 53 h 145"/>
                <a:gd name="T32" fmla="*/ 159 w 169"/>
                <a:gd name="T33" fmla="*/ 75 h 145"/>
                <a:gd name="T34" fmla="*/ 159 w 169"/>
                <a:gd name="T35" fmla="*/ 37 h 145"/>
                <a:gd name="T36" fmla="*/ 84 w 169"/>
                <a:gd name="T37" fmla="*/ 61 h 145"/>
                <a:gd name="T38" fmla="*/ 9 w 169"/>
                <a:gd name="T39" fmla="*/ 37 h 145"/>
                <a:gd name="T40" fmla="*/ 9 w 169"/>
                <a:gd name="T41" fmla="*/ 16 h 145"/>
                <a:gd name="T42" fmla="*/ 84 w 169"/>
                <a:gd name="T43" fmla="*/ 33 h 145"/>
                <a:gd name="T44" fmla="*/ 159 w 169"/>
                <a:gd name="T45" fmla="*/ 16 h 145"/>
                <a:gd name="T46" fmla="*/ 159 w 169"/>
                <a:gd name="T47" fmla="*/ 37 h 145"/>
                <a:gd name="T48" fmla="*/ 84 w 169"/>
                <a:gd name="T49" fmla="*/ 136 h 145"/>
                <a:gd name="T50" fmla="*/ 9 w 169"/>
                <a:gd name="T51" fmla="*/ 112 h 145"/>
                <a:gd name="T52" fmla="*/ 9 w 169"/>
                <a:gd name="T53" fmla="*/ 91 h 145"/>
                <a:gd name="T54" fmla="*/ 84 w 169"/>
                <a:gd name="T55" fmla="*/ 108 h 145"/>
                <a:gd name="T56" fmla="*/ 159 w 169"/>
                <a:gd name="T57" fmla="*/ 91 h 145"/>
                <a:gd name="T58" fmla="*/ 159 w 169"/>
                <a:gd name="T59" fmla="*/ 112 h 145"/>
                <a:gd name="T60" fmla="*/ 84 w 169"/>
                <a:gd name="T61" fmla="*/ 1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45">
                  <a:moveTo>
                    <a:pt x="159" y="0"/>
                  </a:moveTo>
                  <a:cubicBezTo>
                    <a:pt x="159" y="10"/>
                    <a:pt x="131" y="23"/>
                    <a:pt x="84" y="23"/>
                  </a:cubicBezTo>
                  <a:cubicBezTo>
                    <a:pt x="38" y="23"/>
                    <a:pt x="9" y="10"/>
                    <a:pt x="9" y="0"/>
                  </a:cubicBezTo>
                  <a:cubicBezTo>
                    <a:pt x="0" y="0"/>
                    <a:pt x="0" y="0"/>
                    <a:pt x="0" y="0"/>
                  </a:cubicBezTo>
                  <a:cubicBezTo>
                    <a:pt x="0" y="112"/>
                    <a:pt x="0" y="112"/>
                    <a:pt x="0" y="112"/>
                  </a:cubicBezTo>
                  <a:cubicBezTo>
                    <a:pt x="0" y="132"/>
                    <a:pt x="37" y="143"/>
                    <a:pt x="75" y="145"/>
                  </a:cubicBezTo>
                  <a:cubicBezTo>
                    <a:pt x="84" y="145"/>
                    <a:pt x="84" y="145"/>
                    <a:pt x="84" y="145"/>
                  </a:cubicBezTo>
                  <a:cubicBezTo>
                    <a:pt x="125" y="145"/>
                    <a:pt x="169" y="134"/>
                    <a:pt x="169" y="112"/>
                  </a:cubicBezTo>
                  <a:cubicBezTo>
                    <a:pt x="169" y="0"/>
                    <a:pt x="169" y="0"/>
                    <a:pt x="169" y="0"/>
                  </a:cubicBezTo>
                  <a:lnTo>
                    <a:pt x="159" y="0"/>
                  </a:lnTo>
                  <a:close/>
                  <a:moveTo>
                    <a:pt x="159" y="75"/>
                  </a:moveTo>
                  <a:cubicBezTo>
                    <a:pt x="159" y="85"/>
                    <a:pt x="131" y="98"/>
                    <a:pt x="84" y="98"/>
                  </a:cubicBezTo>
                  <a:cubicBezTo>
                    <a:pt x="38" y="98"/>
                    <a:pt x="9" y="85"/>
                    <a:pt x="9" y="75"/>
                  </a:cubicBezTo>
                  <a:cubicBezTo>
                    <a:pt x="9" y="53"/>
                    <a:pt x="9" y="53"/>
                    <a:pt x="9" y="53"/>
                  </a:cubicBezTo>
                  <a:cubicBezTo>
                    <a:pt x="24" y="64"/>
                    <a:pt x="55" y="70"/>
                    <a:pt x="84" y="70"/>
                  </a:cubicBezTo>
                  <a:cubicBezTo>
                    <a:pt x="114" y="70"/>
                    <a:pt x="144" y="64"/>
                    <a:pt x="159" y="53"/>
                  </a:cubicBezTo>
                  <a:lnTo>
                    <a:pt x="159" y="75"/>
                  </a:lnTo>
                  <a:close/>
                  <a:moveTo>
                    <a:pt x="159" y="37"/>
                  </a:moveTo>
                  <a:cubicBezTo>
                    <a:pt x="159" y="47"/>
                    <a:pt x="131" y="61"/>
                    <a:pt x="84" y="61"/>
                  </a:cubicBezTo>
                  <a:cubicBezTo>
                    <a:pt x="38" y="61"/>
                    <a:pt x="9" y="47"/>
                    <a:pt x="9" y="37"/>
                  </a:cubicBezTo>
                  <a:cubicBezTo>
                    <a:pt x="9" y="16"/>
                    <a:pt x="9" y="16"/>
                    <a:pt x="9" y="16"/>
                  </a:cubicBezTo>
                  <a:cubicBezTo>
                    <a:pt x="24" y="27"/>
                    <a:pt x="55" y="33"/>
                    <a:pt x="84" y="33"/>
                  </a:cubicBezTo>
                  <a:cubicBezTo>
                    <a:pt x="114" y="33"/>
                    <a:pt x="144" y="27"/>
                    <a:pt x="159" y="16"/>
                  </a:cubicBezTo>
                  <a:lnTo>
                    <a:pt x="159" y="37"/>
                  </a:lnTo>
                  <a:close/>
                  <a:moveTo>
                    <a:pt x="84" y="136"/>
                  </a:moveTo>
                  <a:cubicBezTo>
                    <a:pt x="38" y="136"/>
                    <a:pt x="9" y="122"/>
                    <a:pt x="9" y="112"/>
                  </a:cubicBezTo>
                  <a:cubicBezTo>
                    <a:pt x="9" y="91"/>
                    <a:pt x="9" y="91"/>
                    <a:pt x="9" y="91"/>
                  </a:cubicBezTo>
                  <a:cubicBezTo>
                    <a:pt x="24" y="102"/>
                    <a:pt x="55" y="108"/>
                    <a:pt x="84" y="108"/>
                  </a:cubicBezTo>
                  <a:cubicBezTo>
                    <a:pt x="114" y="108"/>
                    <a:pt x="144" y="102"/>
                    <a:pt x="159" y="91"/>
                  </a:cubicBezTo>
                  <a:cubicBezTo>
                    <a:pt x="159" y="112"/>
                    <a:pt x="159" y="112"/>
                    <a:pt x="159" y="112"/>
                  </a:cubicBezTo>
                  <a:cubicBezTo>
                    <a:pt x="159" y="122"/>
                    <a:pt x="131" y="136"/>
                    <a:pt x="84" y="13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sp>
          <p:nvSpPr>
            <p:cNvPr id="376" name="Freeform 128">
              <a:extLst>
                <a:ext uri="{FF2B5EF4-FFF2-40B4-BE49-F238E27FC236}">
                  <a16:creationId xmlns:a16="http://schemas.microsoft.com/office/drawing/2014/main" id="{BF83102C-A141-882E-E635-BA5E773F6F48}"/>
                </a:ext>
              </a:extLst>
            </p:cNvPr>
            <p:cNvSpPr>
              <a:spLocks noEditPoints="1"/>
            </p:cNvSpPr>
            <p:nvPr/>
          </p:nvSpPr>
          <p:spPr bwMode="auto">
            <a:xfrm>
              <a:off x="4629" y="1723"/>
              <a:ext cx="126" cy="124"/>
            </a:xfrm>
            <a:custGeom>
              <a:avLst/>
              <a:gdLst>
                <a:gd name="T0" fmla="*/ 58 w 85"/>
                <a:gd name="T1" fmla="*/ 40 h 84"/>
                <a:gd name="T2" fmla="*/ 66 w 85"/>
                <a:gd name="T3" fmla="*/ 23 h 84"/>
                <a:gd name="T4" fmla="*/ 42 w 85"/>
                <a:gd name="T5" fmla="*/ 0 h 84"/>
                <a:gd name="T6" fmla="*/ 19 w 85"/>
                <a:gd name="T7" fmla="*/ 23 h 84"/>
                <a:gd name="T8" fmla="*/ 27 w 85"/>
                <a:gd name="T9" fmla="*/ 40 h 84"/>
                <a:gd name="T10" fmla="*/ 0 w 85"/>
                <a:gd name="T11" fmla="*/ 79 h 84"/>
                <a:gd name="T12" fmla="*/ 5 w 85"/>
                <a:gd name="T13" fmla="*/ 84 h 84"/>
                <a:gd name="T14" fmla="*/ 80 w 85"/>
                <a:gd name="T15" fmla="*/ 84 h 84"/>
                <a:gd name="T16" fmla="*/ 85 w 85"/>
                <a:gd name="T17" fmla="*/ 79 h 84"/>
                <a:gd name="T18" fmla="*/ 58 w 85"/>
                <a:gd name="T19" fmla="*/ 40 h 84"/>
                <a:gd name="T20" fmla="*/ 29 w 85"/>
                <a:gd name="T21" fmla="*/ 23 h 84"/>
                <a:gd name="T22" fmla="*/ 42 w 85"/>
                <a:gd name="T23" fmla="*/ 9 h 84"/>
                <a:gd name="T24" fmla="*/ 56 w 85"/>
                <a:gd name="T25" fmla="*/ 23 h 84"/>
                <a:gd name="T26" fmla="*/ 42 w 85"/>
                <a:gd name="T27" fmla="*/ 37 h 84"/>
                <a:gd name="T28" fmla="*/ 29 w 85"/>
                <a:gd name="T29" fmla="*/ 23 h 84"/>
                <a:gd name="T30" fmla="*/ 10 w 85"/>
                <a:gd name="T31" fmla="*/ 75 h 84"/>
                <a:gd name="T32" fmla="*/ 42 w 85"/>
                <a:gd name="T33" fmla="*/ 46 h 84"/>
                <a:gd name="T34" fmla="*/ 75 w 85"/>
                <a:gd name="T35" fmla="*/ 75 h 84"/>
                <a:gd name="T36" fmla="*/ 10 w 85"/>
                <a:gd name="T37"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84">
                  <a:moveTo>
                    <a:pt x="58" y="40"/>
                  </a:moveTo>
                  <a:cubicBezTo>
                    <a:pt x="63" y="36"/>
                    <a:pt x="66" y="30"/>
                    <a:pt x="66" y="23"/>
                  </a:cubicBezTo>
                  <a:cubicBezTo>
                    <a:pt x="66" y="10"/>
                    <a:pt x="55" y="0"/>
                    <a:pt x="42" y="0"/>
                  </a:cubicBezTo>
                  <a:cubicBezTo>
                    <a:pt x="30" y="0"/>
                    <a:pt x="19" y="10"/>
                    <a:pt x="19" y="23"/>
                  </a:cubicBezTo>
                  <a:cubicBezTo>
                    <a:pt x="19" y="30"/>
                    <a:pt x="22" y="36"/>
                    <a:pt x="27" y="40"/>
                  </a:cubicBezTo>
                  <a:cubicBezTo>
                    <a:pt x="11" y="46"/>
                    <a:pt x="0" y="62"/>
                    <a:pt x="0" y="79"/>
                  </a:cubicBezTo>
                  <a:cubicBezTo>
                    <a:pt x="0" y="82"/>
                    <a:pt x="2" y="84"/>
                    <a:pt x="5" y="84"/>
                  </a:cubicBezTo>
                  <a:cubicBezTo>
                    <a:pt x="80" y="84"/>
                    <a:pt x="80" y="84"/>
                    <a:pt x="80" y="84"/>
                  </a:cubicBezTo>
                  <a:cubicBezTo>
                    <a:pt x="83" y="84"/>
                    <a:pt x="85" y="82"/>
                    <a:pt x="85" y="79"/>
                  </a:cubicBezTo>
                  <a:cubicBezTo>
                    <a:pt x="85" y="62"/>
                    <a:pt x="74" y="46"/>
                    <a:pt x="58" y="40"/>
                  </a:cubicBezTo>
                  <a:close/>
                  <a:moveTo>
                    <a:pt x="29" y="23"/>
                  </a:moveTo>
                  <a:cubicBezTo>
                    <a:pt x="29" y="16"/>
                    <a:pt x="35" y="9"/>
                    <a:pt x="42" y="9"/>
                  </a:cubicBezTo>
                  <a:cubicBezTo>
                    <a:pt x="50" y="9"/>
                    <a:pt x="56" y="16"/>
                    <a:pt x="56" y="23"/>
                  </a:cubicBezTo>
                  <a:cubicBezTo>
                    <a:pt x="56" y="31"/>
                    <a:pt x="50" y="37"/>
                    <a:pt x="42" y="37"/>
                  </a:cubicBezTo>
                  <a:cubicBezTo>
                    <a:pt x="35" y="37"/>
                    <a:pt x="29" y="31"/>
                    <a:pt x="29" y="23"/>
                  </a:cubicBezTo>
                  <a:close/>
                  <a:moveTo>
                    <a:pt x="10" y="75"/>
                  </a:moveTo>
                  <a:cubicBezTo>
                    <a:pt x="12" y="59"/>
                    <a:pt x="26" y="46"/>
                    <a:pt x="42" y="46"/>
                  </a:cubicBezTo>
                  <a:cubicBezTo>
                    <a:pt x="59" y="46"/>
                    <a:pt x="73" y="59"/>
                    <a:pt x="75" y="75"/>
                  </a:cubicBezTo>
                  <a:lnTo>
                    <a:pt x="10" y="75"/>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AU" sz="1350" kern="0">
                <a:solidFill>
                  <a:srgbClr val="000000"/>
                </a:solidFill>
                <a:latin typeface="Graphik"/>
              </a:endParaRPr>
            </a:p>
          </p:txBody>
        </p:sp>
      </p:grpSp>
      <p:sp>
        <p:nvSpPr>
          <p:cNvPr id="386" name="TextBox 385">
            <a:extLst>
              <a:ext uri="{FF2B5EF4-FFF2-40B4-BE49-F238E27FC236}">
                <a16:creationId xmlns:a16="http://schemas.microsoft.com/office/drawing/2014/main" id="{581F8564-EBFD-5B3D-7832-F4A5CDA63A37}"/>
              </a:ext>
            </a:extLst>
          </p:cNvPr>
          <p:cNvSpPr txBox="1"/>
          <p:nvPr/>
        </p:nvSpPr>
        <p:spPr>
          <a:xfrm>
            <a:off x="5383727" y="1581572"/>
            <a:ext cx="920385" cy="138499"/>
          </a:xfrm>
          <a:prstGeom prst="rect">
            <a:avLst/>
          </a:prstGeom>
          <a:ln>
            <a:noFill/>
          </a:ln>
        </p:spPr>
        <p:txBody>
          <a:bodyPr vert="horz" wrap="square" lIns="0" tIns="0" rIns="0" bIns="0" rtlCol="0" anchor="ctr">
            <a:spAutoFit/>
          </a:bodyPr>
          <a:lstStyle/>
          <a:p>
            <a:pPr defTabSz="685800" fontAlgn="auto">
              <a:spcBef>
                <a:spcPts val="0"/>
              </a:spcBef>
              <a:spcAft>
                <a:spcPts val="675"/>
              </a:spcAft>
              <a:tabLst>
                <a:tab pos="940594" algn="l"/>
              </a:tabLst>
              <a:defRPr/>
            </a:pPr>
            <a:r>
              <a:rPr lang="de-CH" sz="900" b="1">
                <a:solidFill>
                  <a:srgbClr val="000000"/>
                </a:solidFill>
                <a:latin typeface="Graphik" panose="020B0503030202060203" pitchFamily="34" charset="0"/>
                <a:cs typeface="+mn-cs"/>
              </a:rPr>
              <a:t>Rapid Prototyping</a:t>
            </a:r>
          </a:p>
        </p:txBody>
      </p:sp>
      <p:sp>
        <p:nvSpPr>
          <p:cNvPr id="390" name="TextBox 389">
            <a:extLst>
              <a:ext uri="{FF2B5EF4-FFF2-40B4-BE49-F238E27FC236}">
                <a16:creationId xmlns:a16="http://schemas.microsoft.com/office/drawing/2014/main" id="{7E3C69C2-7DF4-58BA-B990-D22A468CDA16}"/>
              </a:ext>
            </a:extLst>
          </p:cNvPr>
          <p:cNvSpPr txBox="1"/>
          <p:nvPr/>
        </p:nvSpPr>
        <p:spPr>
          <a:xfrm>
            <a:off x="5383727" y="3013400"/>
            <a:ext cx="1166270" cy="223028"/>
          </a:xfrm>
          <a:prstGeom prst="rect">
            <a:avLst/>
          </a:prstGeom>
          <a:ln>
            <a:noFill/>
          </a:ln>
        </p:spPr>
        <p:txBody>
          <a:bodyPr vert="horz" wrap="square" lIns="0" tIns="0" rIns="0" bIns="0" rtlCol="0" anchor="ctr">
            <a:noAutofit/>
          </a:bodyPr>
          <a:lstStyle/>
          <a:p>
            <a:pPr defTabSz="685800" fontAlgn="auto">
              <a:spcBef>
                <a:spcPts val="0"/>
              </a:spcBef>
              <a:spcAft>
                <a:spcPts val="675"/>
              </a:spcAft>
              <a:tabLst>
                <a:tab pos="940594" algn="l"/>
              </a:tabLst>
              <a:defRPr/>
            </a:pPr>
            <a:r>
              <a:rPr lang="de-CH" sz="900" b="1">
                <a:solidFill>
                  <a:srgbClr val="000000"/>
                </a:solidFill>
                <a:latin typeface="Graphik" panose="020B0503030202060203" pitchFamily="34" charset="0"/>
                <a:cs typeface="+mn-cs"/>
              </a:rPr>
              <a:t>Reference Architecture</a:t>
            </a:r>
          </a:p>
        </p:txBody>
      </p:sp>
      <p:sp>
        <p:nvSpPr>
          <p:cNvPr id="393" name="TextBox 392">
            <a:extLst>
              <a:ext uri="{FF2B5EF4-FFF2-40B4-BE49-F238E27FC236}">
                <a16:creationId xmlns:a16="http://schemas.microsoft.com/office/drawing/2014/main" id="{DCC3070E-2E18-739C-4A84-C56DAAC176FB}"/>
              </a:ext>
            </a:extLst>
          </p:cNvPr>
          <p:cNvSpPr txBox="1"/>
          <p:nvPr/>
        </p:nvSpPr>
        <p:spPr>
          <a:xfrm>
            <a:off x="5383727" y="2022309"/>
            <a:ext cx="920385" cy="276999"/>
          </a:xfrm>
          <a:prstGeom prst="rect">
            <a:avLst/>
          </a:prstGeom>
          <a:ln>
            <a:noFill/>
          </a:ln>
        </p:spPr>
        <p:txBody>
          <a:bodyPr vert="horz" wrap="square" lIns="0" tIns="0" rIns="0" bIns="0" rtlCol="0" anchor="ctr">
            <a:spAutoFit/>
          </a:bodyPr>
          <a:lstStyle/>
          <a:p>
            <a:pPr defTabSz="685800" fontAlgn="auto">
              <a:spcBef>
                <a:spcPts val="0"/>
              </a:spcBef>
              <a:spcAft>
                <a:spcPts val="675"/>
              </a:spcAft>
              <a:tabLst>
                <a:tab pos="940594" algn="l"/>
              </a:tabLst>
              <a:defRPr/>
            </a:pPr>
            <a:r>
              <a:rPr lang="de-CH" sz="900" b="1">
                <a:solidFill>
                  <a:srgbClr val="000000"/>
                </a:solidFill>
                <a:latin typeface="Graphik"/>
                <a:cs typeface="+mn-cs"/>
              </a:rPr>
              <a:t>Proof-</a:t>
            </a:r>
            <a:r>
              <a:rPr lang="de-CH" sz="900" b="1" err="1">
                <a:solidFill>
                  <a:srgbClr val="000000"/>
                </a:solidFill>
                <a:latin typeface="Graphik"/>
                <a:cs typeface="+mn-cs"/>
              </a:rPr>
              <a:t>of</a:t>
            </a:r>
            <a:r>
              <a:rPr lang="de-CH" sz="900" b="1">
                <a:solidFill>
                  <a:srgbClr val="000000"/>
                </a:solidFill>
                <a:latin typeface="Graphik"/>
                <a:cs typeface="+mn-cs"/>
              </a:rPr>
              <a:t>-Value/ </a:t>
            </a:r>
            <a:br>
              <a:rPr lang="de-CH" sz="900" b="1">
                <a:solidFill>
                  <a:srgbClr val="000000"/>
                </a:solidFill>
                <a:latin typeface="Graphik" panose="020B0503030202060203" pitchFamily="34" charset="0"/>
                <a:cs typeface="+mn-cs"/>
              </a:rPr>
            </a:br>
            <a:r>
              <a:rPr lang="de-CH" sz="900" b="1" err="1">
                <a:solidFill>
                  <a:srgbClr val="000000"/>
                </a:solidFill>
                <a:latin typeface="Graphik"/>
                <a:cs typeface="+mn-cs"/>
              </a:rPr>
              <a:t>Pilots</a:t>
            </a:r>
            <a:r>
              <a:rPr lang="de-CH" sz="900" b="1">
                <a:solidFill>
                  <a:srgbClr val="000000"/>
                </a:solidFill>
                <a:latin typeface="Graphik"/>
                <a:cs typeface="+mn-cs"/>
              </a:rPr>
              <a:t> / MVP</a:t>
            </a:r>
          </a:p>
        </p:txBody>
      </p:sp>
      <p:sp>
        <p:nvSpPr>
          <p:cNvPr id="394" name="TextBox 393">
            <a:extLst>
              <a:ext uri="{FF2B5EF4-FFF2-40B4-BE49-F238E27FC236}">
                <a16:creationId xmlns:a16="http://schemas.microsoft.com/office/drawing/2014/main" id="{3ED3C87F-5219-50D7-376A-DC157AD72980}"/>
              </a:ext>
            </a:extLst>
          </p:cNvPr>
          <p:cNvSpPr txBox="1"/>
          <p:nvPr/>
        </p:nvSpPr>
        <p:spPr>
          <a:xfrm>
            <a:off x="5383727" y="2481755"/>
            <a:ext cx="1342798" cy="276999"/>
          </a:xfrm>
          <a:prstGeom prst="rect">
            <a:avLst/>
          </a:prstGeom>
          <a:ln>
            <a:noFill/>
          </a:ln>
        </p:spPr>
        <p:txBody>
          <a:bodyPr vert="horz" wrap="square" lIns="0" tIns="0" rIns="0" bIns="0" rtlCol="0" anchor="ctr">
            <a:spAutoFit/>
          </a:bodyPr>
          <a:lstStyle/>
          <a:p>
            <a:pPr defTabSz="685800" fontAlgn="auto">
              <a:spcBef>
                <a:spcPts val="0"/>
              </a:spcBef>
              <a:spcAft>
                <a:spcPts val="675"/>
              </a:spcAft>
              <a:tabLst>
                <a:tab pos="940594" algn="l"/>
              </a:tabLst>
              <a:defRPr/>
            </a:pPr>
            <a:r>
              <a:rPr lang="de-CH" sz="900" b="1">
                <a:solidFill>
                  <a:srgbClr val="000000"/>
                </a:solidFill>
                <a:latin typeface="Graphik"/>
                <a:cs typeface="+mn-cs"/>
              </a:rPr>
              <a:t>Use Case &amp; </a:t>
            </a:r>
            <a:r>
              <a:rPr lang="de-CH" sz="900" b="1" err="1">
                <a:solidFill>
                  <a:srgbClr val="000000"/>
                </a:solidFill>
                <a:latin typeface="Graphik"/>
                <a:cs typeface="+mn-cs"/>
              </a:rPr>
              <a:t>Credentials</a:t>
            </a:r>
            <a:br>
              <a:rPr lang="de-CH" sz="900" b="1">
                <a:solidFill>
                  <a:srgbClr val="000000"/>
                </a:solidFill>
                <a:latin typeface="Graphik" panose="020B0503030202060203" pitchFamily="34" charset="0"/>
                <a:cs typeface="+mn-cs"/>
              </a:rPr>
            </a:br>
            <a:r>
              <a:rPr lang="de-CH" sz="900" b="1">
                <a:solidFill>
                  <a:srgbClr val="000000"/>
                </a:solidFill>
                <a:latin typeface="Graphik"/>
                <a:cs typeface="+mn-cs"/>
              </a:rPr>
              <a:t>Library</a:t>
            </a:r>
          </a:p>
        </p:txBody>
      </p:sp>
      <p:grpSp>
        <p:nvGrpSpPr>
          <p:cNvPr id="180" name="Group 179">
            <a:extLst>
              <a:ext uri="{FF2B5EF4-FFF2-40B4-BE49-F238E27FC236}">
                <a16:creationId xmlns:a16="http://schemas.microsoft.com/office/drawing/2014/main" id="{C894756E-2DC7-16B0-C709-1AC458DAFB47}"/>
              </a:ext>
            </a:extLst>
          </p:cNvPr>
          <p:cNvGrpSpPr/>
          <p:nvPr/>
        </p:nvGrpSpPr>
        <p:grpSpPr>
          <a:xfrm>
            <a:off x="3223609" y="4512747"/>
            <a:ext cx="271859" cy="257191"/>
            <a:chOff x="6025904" y="3328461"/>
            <a:chExt cx="362479" cy="342921"/>
          </a:xfrm>
        </p:grpSpPr>
        <p:sp>
          <p:nvSpPr>
            <p:cNvPr id="182" name="Freeform 11">
              <a:extLst>
                <a:ext uri="{FF2B5EF4-FFF2-40B4-BE49-F238E27FC236}">
                  <a16:creationId xmlns:a16="http://schemas.microsoft.com/office/drawing/2014/main" id="{1A3A875E-8FC5-09CE-6691-5DF505E9FF78}"/>
                </a:ext>
              </a:extLst>
            </p:cNvPr>
            <p:cNvSpPr>
              <a:spLocks noEditPoints="1"/>
            </p:cNvSpPr>
            <p:nvPr/>
          </p:nvSpPr>
          <p:spPr bwMode="auto">
            <a:xfrm>
              <a:off x="6222549" y="3485451"/>
              <a:ext cx="165834" cy="185931"/>
            </a:xfrm>
            <a:custGeom>
              <a:avLst/>
              <a:gdLst>
                <a:gd name="T0" fmla="*/ 42 w 44"/>
                <a:gd name="T1" fmla="*/ 16 h 52"/>
                <a:gd name="T2" fmla="*/ 36 w 44"/>
                <a:gd name="T3" fmla="*/ 16 h 52"/>
                <a:gd name="T4" fmla="*/ 36 w 44"/>
                <a:gd name="T5" fmla="*/ 14 h 52"/>
                <a:gd name="T6" fmla="*/ 22 w 44"/>
                <a:gd name="T7" fmla="*/ 0 h 52"/>
                <a:gd name="T8" fmla="*/ 8 w 44"/>
                <a:gd name="T9" fmla="*/ 14 h 52"/>
                <a:gd name="T10" fmla="*/ 8 w 44"/>
                <a:gd name="T11" fmla="*/ 16 h 52"/>
                <a:gd name="T12" fmla="*/ 2 w 44"/>
                <a:gd name="T13" fmla="*/ 16 h 52"/>
                <a:gd name="T14" fmla="*/ 0 w 44"/>
                <a:gd name="T15" fmla="*/ 18 h 52"/>
                <a:gd name="T16" fmla="*/ 0 w 44"/>
                <a:gd name="T17" fmla="*/ 50 h 52"/>
                <a:gd name="T18" fmla="*/ 2 w 44"/>
                <a:gd name="T19" fmla="*/ 52 h 52"/>
                <a:gd name="T20" fmla="*/ 42 w 44"/>
                <a:gd name="T21" fmla="*/ 52 h 52"/>
                <a:gd name="T22" fmla="*/ 44 w 44"/>
                <a:gd name="T23" fmla="*/ 50 h 52"/>
                <a:gd name="T24" fmla="*/ 44 w 44"/>
                <a:gd name="T25" fmla="*/ 18 h 52"/>
                <a:gd name="T26" fmla="*/ 42 w 44"/>
                <a:gd name="T27" fmla="*/ 16 h 52"/>
                <a:gd name="T28" fmla="*/ 12 w 44"/>
                <a:gd name="T29" fmla="*/ 14 h 52"/>
                <a:gd name="T30" fmla="*/ 22 w 44"/>
                <a:gd name="T31" fmla="*/ 4 h 52"/>
                <a:gd name="T32" fmla="*/ 32 w 44"/>
                <a:gd name="T33" fmla="*/ 14 h 52"/>
                <a:gd name="T34" fmla="*/ 32 w 44"/>
                <a:gd name="T35" fmla="*/ 16 h 52"/>
                <a:gd name="T36" fmla="*/ 12 w 44"/>
                <a:gd name="T37" fmla="*/ 16 h 52"/>
                <a:gd name="T38" fmla="*/ 12 w 44"/>
                <a:gd name="T39" fmla="*/ 14 h 52"/>
                <a:gd name="T40" fmla="*/ 40 w 44"/>
                <a:gd name="T41" fmla="*/ 48 h 52"/>
                <a:gd name="T42" fmla="*/ 4 w 44"/>
                <a:gd name="T43" fmla="*/ 48 h 52"/>
                <a:gd name="T44" fmla="*/ 4 w 44"/>
                <a:gd name="T45" fmla="*/ 20 h 52"/>
                <a:gd name="T46" fmla="*/ 40 w 44"/>
                <a:gd name="T47" fmla="*/ 20 h 52"/>
                <a:gd name="T48" fmla="*/ 40 w 44"/>
                <a:gd name="T49"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52">
                  <a:moveTo>
                    <a:pt x="42" y="16"/>
                  </a:moveTo>
                  <a:cubicBezTo>
                    <a:pt x="36" y="16"/>
                    <a:pt x="36" y="16"/>
                    <a:pt x="36" y="16"/>
                  </a:cubicBezTo>
                  <a:cubicBezTo>
                    <a:pt x="36" y="14"/>
                    <a:pt x="36" y="14"/>
                    <a:pt x="36" y="14"/>
                  </a:cubicBezTo>
                  <a:cubicBezTo>
                    <a:pt x="36" y="6"/>
                    <a:pt x="30" y="0"/>
                    <a:pt x="22" y="0"/>
                  </a:cubicBezTo>
                  <a:cubicBezTo>
                    <a:pt x="14" y="0"/>
                    <a:pt x="8" y="6"/>
                    <a:pt x="8" y="14"/>
                  </a:cubicBezTo>
                  <a:cubicBezTo>
                    <a:pt x="8" y="16"/>
                    <a:pt x="8" y="16"/>
                    <a:pt x="8" y="16"/>
                  </a:cubicBezTo>
                  <a:cubicBezTo>
                    <a:pt x="2" y="16"/>
                    <a:pt x="2" y="16"/>
                    <a:pt x="2" y="16"/>
                  </a:cubicBezTo>
                  <a:cubicBezTo>
                    <a:pt x="1" y="16"/>
                    <a:pt x="0" y="17"/>
                    <a:pt x="0" y="18"/>
                  </a:cubicBezTo>
                  <a:cubicBezTo>
                    <a:pt x="0" y="50"/>
                    <a:pt x="0" y="50"/>
                    <a:pt x="0" y="50"/>
                  </a:cubicBezTo>
                  <a:cubicBezTo>
                    <a:pt x="0" y="51"/>
                    <a:pt x="1" y="52"/>
                    <a:pt x="2" y="52"/>
                  </a:cubicBezTo>
                  <a:cubicBezTo>
                    <a:pt x="42" y="52"/>
                    <a:pt x="42" y="52"/>
                    <a:pt x="42" y="52"/>
                  </a:cubicBezTo>
                  <a:cubicBezTo>
                    <a:pt x="43" y="52"/>
                    <a:pt x="44" y="51"/>
                    <a:pt x="44" y="50"/>
                  </a:cubicBezTo>
                  <a:cubicBezTo>
                    <a:pt x="44" y="18"/>
                    <a:pt x="44" y="18"/>
                    <a:pt x="44" y="18"/>
                  </a:cubicBezTo>
                  <a:cubicBezTo>
                    <a:pt x="44" y="17"/>
                    <a:pt x="43" y="16"/>
                    <a:pt x="42" y="16"/>
                  </a:cubicBezTo>
                  <a:close/>
                  <a:moveTo>
                    <a:pt x="12" y="14"/>
                  </a:moveTo>
                  <a:cubicBezTo>
                    <a:pt x="12" y="8"/>
                    <a:pt x="16" y="4"/>
                    <a:pt x="22" y="4"/>
                  </a:cubicBezTo>
                  <a:cubicBezTo>
                    <a:pt x="28" y="4"/>
                    <a:pt x="32" y="8"/>
                    <a:pt x="32" y="14"/>
                  </a:cubicBezTo>
                  <a:cubicBezTo>
                    <a:pt x="32" y="16"/>
                    <a:pt x="32" y="16"/>
                    <a:pt x="32" y="16"/>
                  </a:cubicBezTo>
                  <a:cubicBezTo>
                    <a:pt x="12" y="16"/>
                    <a:pt x="12" y="16"/>
                    <a:pt x="12" y="16"/>
                  </a:cubicBezTo>
                  <a:lnTo>
                    <a:pt x="12" y="14"/>
                  </a:lnTo>
                  <a:close/>
                  <a:moveTo>
                    <a:pt x="40" y="48"/>
                  </a:moveTo>
                  <a:cubicBezTo>
                    <a:pt x="4" y="48"/>
                    <a:pt x="4" y="48"/>
                    <a:pt x="4" y="48"/>
                  </a:cubicBezTo>
                  <a:cubicBezTo>
                    <a:pt x="4" y="20"/>
                    <a:pt x="4" y="20"/>
                    <a:pt x="4" y="20"/>
                  </a:cubicBezTo>
                  <a:cubicBezTo>
                    <a:pt x="40" y="20"/>
                    <a:pt x="40" y="20"/>
                    <a:pt x="40" y="20"/>
                  </a:cubicBezTo>
                  <a:lnTo>
                    <a:pt x="40" y="48"/>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83" name="Freeform 12">
              <a:extLst>
                <a:ext uri="{FF2B5EF4-FFF2-40B4-BE49-F238E27FC236}">
                  <a16:creationId xmlns:a16="http://schemas.microsoft.com/office/drawing/2014/main" id="{6C812DAA-C6CD-E326-ECBF-38634CADE3BD}"/>
                </a:ext>
              </a:extLst>
            </p:cNvPr>
            <p:cNvSpPr>
              <a:spLocks noEditPoints="1"/>
            </p:cNvSpPr>
            <p:nvPr/>
          </p:nvSpPr>
          <p:spPr bwMode="auto">
            <a:xfrm>
              <a:off x="6290514" y="3578416"/>
              <a:ext cx="29905" cy="57007"/>
            </a:xfrm>
            <a:custGeom>
              <a:avLst/>
              <a:gdLst>
                <a:gd name="T0" fmla="*/ 4 w 8"/>
                <a:gd name="T1" fmla="*/ 0 h 16"/>
                <a:gd name="T2" fmla="*/ 0 w 8"/>
                <a:gd name="T3" fmla="*/ 4 h 16"/>
                <a:gd name="T4" fmla="*/ 2 w 8"/>
                <a:gd name="T5" fmla="*/ 7 h 16"/>
                <a:gd name="T6" fmla="*/ 2 w 8"/>
                <a:gd name="T7" fmla="*/ 14 h 16"/>
                <a:gd name="T8" fmla="*/ 4 w 8"/>
                <a:gd name="T9" fmla="*/ 16 h 16"/>
                <a:gd name="T10" fmla="*/ 6 w 8"/>
                <a:gd name="T11" fmla="*/ 14 h 16"/>
                <a:gd name="T12" fmla="*/ 6 w 8"/>
                <a:gd name="T13" fmla="*/ 7 h 16"/>
                <a:gd name="T14" fmla="*/ 8 w 8"/>
                <a:gd name="T15" fmla="*/ 4 h 16"/>
                <a:gd name="T16" fmla="*/ 4 w 8"/>
                <a:gd name="T17" fmla="*/ 0 h 16"/>
                <a:gd name="T18" fmla="*/ 4 w 8"/>
                <a:gd name="T19" fmla="*/ 4 h 16"/>
                <a:gd name="T20" fmla="*/ 4 w 8"/>
                <a:gd name="T21" fmla="*/ 4 h 16"/>
                <a:gd name="T22" fmla="*/ 6 w 8"/>
                <a:gd name="T23" fmla="*/ 4 h 16"/>
                <a:gd name="T24" fmla="*/ 4 w 8"/>
                <a:gd name="T2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6">
                  <a:moveTo>
                    <a:pt x="4" y="0"/>
                  </a:moveTo>
                  <a:cubicBezTo>
                    <a:pt x="2" y="0"/>
                    <a:pt x="0" y="2"/>
                    <a:pt x="0" y="4"/>
                  </a:cubicBezTo>
                  <a:cubicBezTo>
                    <a:pt x="0" y="5"/>
                    <a:pt x="1" y="7"/>
                    <a:pt x="2" y="7"/>
                  </a:cubicBezTo>
                  <a:cubicBezTo>
                    <a:pt x="2" y="14"/>
                    <a:pt x="2" y="14"/>
                    <a:pt x="2" y="14"/>
                  </a:cubicBezTo>
                  <a:cubicBezTo>
                    <a:pt x="2" y="15"/>
                    <a:pt x="3" y="16"/>
                    <a:pt x="4" y="16"/>
                  </a:cubicBezTo>
                  <a:cubicBezTo>
                    <a:pt x="5" y="16"/>
                    <a:pt x="6" y="15"/>
                    <a:pt x="6" y="14"/>
                  </a:cubicBezTo>
                  <a:cubicBezTo>
                    <a:pt x="6" y="7"/>
                    <a:pt x="6" y="7"/>
                    <a:pt x="6" y="7"/>
                  </a:cubicBezTo>
                  <a:cubicBezTo>
                    <a:pt x="7" y="7"/>
                    <a:pt x="8" y="5"/>
                    <a:pt x="8" y="4"/>
                  </a:cubicBezTo>
                  <a:cubicBezTo>
                    <a:pt x="8" y="2"/>
                    <a:pt x="6" y="0"/>
                    <a:pt x="4" y="0"/>
                  </a:cubicBezTo>
                  <a:close/>
                  <a:moveTo>
                    <a:pt x="4" y="4"/>
                  </a:moveTo>
                  <a:cubicBezTo>
                    <a:pt x="4" y="4"/>
                    <a:pt x="4" y="4"/>
                    <a:pt x="4" y="4"/>
                  </a:cubicBezTo>
                  <a:cubicBezTo>
                    <a:pt x="6" y="4"/>
                    <a:pt x="6" y="4"/>
                    <a:pt x="6" y="4"/>
                  </a:cubicBezTo>
                  <a:lnTo>
                    <a:pt x="4" y="4"/>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84" name="Freeform 13">
              <a:extLst>
                <a:ext uri="{FF2B5EF4-FFF2-40B4-BE49-F238E27FC236}">
                  <a16:creationId xmlns:a16="http://schemas.microsoft.com/office/drawing/2014/main" id="{ABAF36F2-8A43-53C2-9240-1EDE94E3BAA2}"/>
                </a:ext>
              </a:extLst>
            </p:cNvPr>
            <p:cNvSpPr>
              <a:spLocks noEditPoints="1"/>
            </p:cNvSpPr>
            <p:nvPr/>
          </p:nvSpPr>
          <p:spPr bwMode="auto">
            <a:xfrm>
              <a:off x="6154584" y="3428443"/>
              <a:ext cx="29905" cy="28065"/>
            </a:xfrm>
            <a:custGeom>
              <a:avLst/>
              <a:gdLst>
                <a:gd name="T0" fmla="*/ 0 w 8"/>
                <a:gd name="T1" fmla="*/ 4 h 8"/>
                <a:gd name="T2" fmla="*/ 4 w 8"/>
                <a:gd name="T3" fmla="*/ 8 h 8"/>
                <a:gd name="T4" fmla="*/ 8 w 8"/>
                <a:gd name="T5" fmla="*/ 4 h 8"/>
                <a:gd name="T6" fmla="*/ 4 w 8"/>
                <a:gd name="T7" fmla="*/ 0 h 8"/>
                <a:gd name="T8" fmla="*/ 0 w 8"/>
                <a:gd name="T9" fmla="*/ 4 h 8"/>
                <a:gd name="T10" fmla="*/ 4 w 8"/>
                <a:gd name="T11" fmla="*/ 4 h 8"/>
                <a:gd name="T12" fmla="*/ 4 w 8"/>
                <a:gd name="T13" fmla="*/ 4 h 8"/>
                <a:gd name="T14" fmla="*/ 6 w 8"/>
                <a:gd name="T15" fmla="*/ 4 h 8"/>
                <a:gd name="T16" fmla="*/ 4 w 8"/>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4"/>
                  </a:moveTo>
                  <a:cubicBezTo>
                    <a:pt x="0" y="6"/>
                    <a:pt x="2" y="8"/>
                    <a:pt x="4" y="8"/>
                  </a:cubicBezTo>
                  <a:cubicBezTo>
                    <a:pt x="6" y="8"/>
                    <a:pt x="8" y="6"/>
                    <a:pt x="8" y="4"/>
                  </a:cubicBezTo>
                  <a:cubicBezTo>
                    <a:pt x="8" y="2"/>
                    <a:pt x="6" y="0"/>
                    <a:pt x="4" y="0"/>
                  </a:cubicBezTo>
                  <a:cubicBezTo>
                    <a:pt x="2" y="0"/>
                    <a:pt x="0" y="2"/>
                    <a:pt x="0" y="4"/>
                  </a:cubicBezTo>
                  <a:close/>
                  <a:moveTo>
                    <a:pt x="4" y="4"/>
                  </a:moveTo>
                  <a:cubicBezTo>
                    <a:pt x="4" y="4"/>
                    <a:pt x="4" y="4"/>
                    <a:pt x="4" y="4"/>
                  </a:cubicBezTo>
                  <a:cubicBezTo>
                    <a:pt x="6" y="4"/>
                    <a:pt x="6" y="4"/>
                    <a:pt x="6" y="4"/>
                  </a:cubicBezTo>
                  <a:lnTo>
                    <a:pt x="4" y="4"/>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85" name="Freeform 14">
              <a:extLst>
                <a:ext uri="{FF2B5EF4-FFF2-40B4-BE49-F238E27FC236}">
                  <a16:creationId xmlns:a16="http://schemas.microsoft.com/office/drawing/2014/main" id="{D8355550-CE29-3EFD-9837-C3F5FB1F08F2}"/>
                </a:ext>
              </a:extLst>
            </p:cNvPr>
            <p:cNvSpPr>
              <a:spLocks noEditPoints="1"/>
            </p:cNvSpPr>
            <p:nvPr/>
          </p:nvSpPr>
          <p:spPr bwMode="auto">
            <a:xfrm>
              <a:off x="6199894" y="3428443"/>
              <a:ext cx="29905" cy="28065"/>
            </a:xfrm>
            <a:custGeom>
              <a:avLst/>
              <a:gdLst>
                <a:gd name="T0" fmla="*/ 0 w 8"/>
                <a:gd name="T1" fmla="*/ 4 h 8"/>
                <a:gd name="T2" fmla="*/ 4 w 8"/>
                <a:gd name="T3" fmla="*/ 8 h 8"/>
                <a:gd name="T4" fmla="*/ 8 w 8"/>
                <a:gd name="T5" fmla="*/ 4 h 8"/>
                <a:gd name="T6" fmla="*/ 4 w 8"/>
                <a:gd name="T7" fmla="*/ 0 h 8"/>
                <a:gd name="T8" fmla="*/ 0 w 8"/>
                <a:gd name="T9" fmla="*/ 4 h 8"/>
                <a:gd name="T10" fmla="*/ 4 w 8"/>
                <a:gd name="T11" fmla="*/ 4 h 8"/>
                <a:gd name="T12" fmla="*/ 4 w 8"/>
                <a:gd name="T13" fmla="*/ 4 h 8"/>
                <a:gd name="T14" fmla="*/ 6 w 8"/>
                <a:gd name="T15" fmla="*/ 4 h 8"/>
                <a:gd name="T16" fmla="*/ 4 w 8"/>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4"/>
                  </a:moveTo>
                  <a:cubicBezTo>
                    <a:pt x="0" y="6"/>
                    <a:pt x="2" y="8"/>
                    <a:pt x="4" y="8"/>
                  </a:cubicBezTo>
                  <a:cubicBezTo>
                    <a:pt x="6" y="8"/>
                    <a:pt x="8" y="6"/>
                    <a:pt x="8" y="4"/>
                  </a:cubicBezTo>
                  <a:cubicBezTo>
                    <a:pt x="8" y="2"/>
                    <a:pt x="6" y="0"/>
                    <a:pt x="4" y="0"/>
                  </a:cubicBezTo>
                  <a:cubicBezTo>
                    <a:pt x="2" y="0"/>
                    <a:pt x="0" y="2"/>
                    <a:pt x="0" y="4"/>
                  </a:cubicBezTo>
                  <a:close/>
                  <a:moveTo>
                    <a:pt x="4" y="4"/>
                  </a:moveTo>
                  <a:cubicBezTo>
                    <a:pt x="4" y="4"/>
                    <a:pt x="4" y="4"/>
                    <a:pt x="4" y="4"/>
                  </a:cubicBezTo>
                  <a:cubicBezTo>
                    <a:pt x="6" y="4"/>
                    <a:pt x="6" y="4"/>
                    <a:pt x="6" y="4"/>
                  </a:cubicBezTo>
                  <a:lnTo>
                    <a:pt x="4" y="4"/>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86" name="Freeform 15">
              <a:extLst>
                <a:ext uri="{FF2B5EF4-FFF2-40B4-BE49-F238E27FC236}">
                  <a16:creationId xmlns:a16="http://schemas.microsoft.com/office/drawing/2014/main" id="{0882A7A2-2C32-2141-8BCF-0972F5BE729E}"/>
                </a:ext>
              </a:extLst>
            </p:cNvPr>
            <p:cNvSpPr>
              <a:spLocks noEditPoints="1"/>
            </p:cNvSpPr>
            <p:nvPr/>
          </p:nvSpPr>
          <p:spPr bwMode="auto">
            <a:xfrm>
              <a:off x="6245203" y="3428443"/>
              <a:ext cx="29905" cy="28065"/>
            </a:xfrm>
            <a:custGeom>
              <a:avLst/>
              <a:gdLst>
                <a:gd name="T0" fmla="*/ 0 w 8"/>
                <a:gd name="T1" fmla="*/ 4 h 8"/>
                <a:gd name="T2" fmla="*/ 4 w 8"/>
                <a:gd name="T3" fmla="*/ 8 h 8"/>
                <a:gd name="T4" fmla="*/ 8 w 8"/>
                <a:gd name="T5" fmla="*/ 4 h 8"/>
                <a:gd name="T6" fmla="*/ 4 w 8"/>
                <a:gd name="T7" fmla="*/ 0 h 8"/>
                <a:gd name="T8" fmla="*/ 0 w 8"/>
                <a:gd name="T9" fmla="*/ 4 h 8"/>
                <a:gd name="T10" fmla="*/ 4 w 8"/>
                <a:gd name="T11" fmla="*/ 4 h 8"/>
                <a:gd name="T12" fmla="*/ 4 w 8"/>
                <a:gd name="T13" fmla="*/ 4 h 8"/>
                <a:gd name="T14" fmla="*/ 6 w 8"/>
                <a:gd name="T15" fmla="*/ 4 h 8"/>
                <a:gd name="T16" fmla="*/ 4 w 8"/>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4"/>
                  </a:moveTo>
                  <a:cubicBezTo>
                    <a:pt x="0" y="6"/>
                    <a:pt x="2" y="8"/>
                    <a:pt x="4" y="8"/>
                  </a:cubicBezTo>
                  <a:cubicBezTo>
                    <a:pt x="6" y="8"/>
                    <a:pt x="8" y="6"/>
                    <a:pt x="8" y="4"/>
                  </a:cubicBezTo>
                  <a:cubicBezTo>
                    <a:pt x="8" y="2"/>
                    <a:pt x="6" y="0"/>
                    <a:pt x="4" y="0"/>
                  </a:cubicBezTo>
                  <a:cubicBezTo>
                    <a:pt x="2" y="0"/>
                    <a:pt x="0" y="2"/>
                    <a:pt x="0" y="4"/>
                  </a:cubicBezTo>
                  <a:close/>
                  <a:moveTo>
                    <a:pt x="4" y="4"/>
                  </a:moveTo>
                  <a:cubicBezTo>
                    <a:pt x="4" y="4"/>
                    <a:pt x="4" y="4"/>
                    <a:pt x="4" y="4"/>
                  </a:cubicBezTo>
                  <a:cubicBezTo>
                    <a:pt x="6" y="4"/>
                    <a:pt x="6" y="4"/>
                    <a:pt x="6" y="4"/>
                  </a:cubicBezTo>
                  <a:lnTo>
                    <a:pt x="4" y="4"/>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87" name="Freeform 16">
              <a:extLst>
                <a:ext uri="{FF2B5EF4-FFF2-40B4-BE49-F238E27FC236}">
                  <a16:creationId xmlns:a16="http://schemas.microsoft.com/office/drawing/2014/main" id="{A256A279-23F6-E0E1-F7B9-21B865BC0B33}"/>
                </a:ext>
              </a:extLst>
            </p:cNvPr>
            <p:cNvSpPr>
              <a:spLocks noEditPoints="1"/>
            </p:cNvSpPr>
            <p:nvPr/>
          </p:nvSpPr>
          <p:spPr bwMode="auto">
            <a:xfrm>
              <a:off x="6055809" y="3421427"/>
              <a:ext cx="45310" cy="42975"/>
            </a:xfrm>
            <a:custGeom>
              <a:avLst/>
              <a:gdLst>
                <a:gd name="T0" fmla="*/ 0 w 12"/>
                <a:gd name="T1" fmla="*/ 6 h 12"/>
                <a:gd name="T2" fmla="*/ 6 w 12"/>
                <a:gd name="T3" fmla="*/ 12 h 12"/>
                <a:gd name="T4" fmla="*/ 12 w 12"/>
                <a:gd name="T5" fmla="*/ 6 h 12"/>
                <a:gd name="T6" fmla="*/ 6 w 12"/>
                <a:gd name="T7" fmla="*/ 0 h 12"/>
                <a:gd name="T8" fmla="*/ 0 w 12"/>
                <a:gd name="T9" fmla="*/ 6 h 12"/>
                <a:gd name="T10" fmla="*/ 8 w 12"/>
                <a:gd name="T11" fmla="*/ 6 h 12"/>
                <a:gd name="T12" fmla="*/ 6 w 12"/>
                <a:gd name="T13" fmla="*/ 8 h 12"/>
                <a:gd name="T14" fmla="*/ 4 w 12"/>
                <a:gd name="T15" fmla="*/ 6 h 12"/>
                <a:gd name="T16" fmla="*/ 6 w 12"/>
                <a:gd name="T17" fmla="*/ 4 h 12"/>
                <a:gd name="T18" fmla="*/ 8 w 12"/>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0" y="6"/>
                  </a:moveTo>
                  <a:cubicBezTo>
                    <a:pt x="0" y="9"/>
                    <a:pt x="3" y="12"/>
                    <a:pt x="6" y="12"/>
                  </a:cubicBezTo>
                  <a:cubicBezTo>
                    <a:pt x="9" y="12"/>
                    <a:pt x="12" y="9"/>
                    <a:pt x="12" y="6"/>
                  </a:cubicBezTo>
                  <a:cubicBezTo>
                    <a:pt x="12" y="3"/>
                    <a:pt x="9" y="0"/>
                    <a:pt x="6" y="0"/>
                  </a:cubicBezTo>
                  <a:cubicBezTo>
                    <a:pt x="3" y="0"/>
                    <a:pt x="0" y="3"/>
                    <a:pt x="0" y="6"/>
                  </a:cubicBezTo>
                  <a:close/>
                  <a:moveTo>
                    <a:pt x="8" y="6"/>
                  </a:moveTo>
                  <a:cubicBezTo>
                    <a:pt x="8" y="7"/>
                    <a:pt x="7" y="8"/>
                    <a:pt x="6" y="8"/>
                  </a:cubicBezTo>
                  <a:cubicBezTo>
                    <a:pt x="5" y="8"/>
                    <a:pt x="4" y="7"/>
                    <a:pt x="4" y="6"/>
                  </a:cubicBezTo>
                  <a:cubicBezTo>
                    <a:pt x="4" y="5"/>
                    <a:pt x="5" y="4"/>
                    <a:pt x="6" y="4"/>
                  </a:cubicBezTo>
                  <a:cubicBezTo>
                    <a:pt x="7" y="4"/>
                    <a:pt x="8" y="5"/>
                    <a:pt x="8" y="6"/>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88" name="Freeform 17">
              <a:extLst>
                <a:ext uri="{FF2B5EF4-FFF2-40B4-BE49-F238E27FC236}">
                  <a16:creationId xmlns:a16="http://schemas.microsoft.com/office/drawing/2014/main" id="{5E148AAE-6078-24E1-3D5F-D779FE9190BA}"/>
                </a:ext>
              </a:extLst>
            </p:cNvPr>
            <p:cNvSpPr>
              <a:spLocks noEditPoints="1"/>
            </p:cNvSpPr>
            <p:nvPr/>
          </p:nvSpPr>
          <p:spPr bwMode="auto">
            <a:xfrm>
              <a:off x="6154584" y="3356526"/>
              <a:ext cx="29905" cy="28942"/>
            </a:xfrm>
            <a:custGeom>
              <a:avLst/>
              <a:gdLst>
                <a:gd name="T0" fmla="*/ 4 w 8"/>
                <a:gd name="T1" fmla="*/ 8 h 8"/>
                <a:gd name="T2" fmla="*/ 8 w 8"/>
                <a:gd name="T3" fmla="*/ 4 h 8"/>
                <a:gd name="T4" fmla="*/ 4 w 8"/>
                <a:gd name="T5" fmla="*/ 0 h 8"/>
                <a:gd name="T6" fmla="*/ 0 w 8"/>
                <a:gd name="T7" fmla="*/ 4 h 8"/>
                <a:gd name="T8" fmla="*/ 4 w 8"/>
                <a:gd name="T9" fmla="*/ 8 h 8"/>
                <a:gd name="T10" fmla="*/ 4 w 8"/>
                <a:gd name="T11" fmla="*/ 4 h 8"/>
                <a:gd name="T12" fmla="*/ 6 w 8"/>
                <a:gd name="T13" fmla="*/ 4 h 8"/>
                <a:gd name="T14" fmla="*/ 4 w 8"/>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6" y="8"/>
                    <a:pt x="8" y="6"/>
                    <a:pt x="8" y="4"/>
                  </a:cubicBezTo>
                  <a:cubicBezTo>
                    <a:pt x="8" y="2"/>
                    <a:pt x="6" y="0"/>
                    <a:pt x="4" y="0"/>
                  </a:cubicBezTo>
                  <a:cubicBezTo>
                    <a:pt x="2" y="0"/>
                    <a:pt x="0" y="2"/>
                    <a:pt x="0" y="4"/>
                  </a:cubicBezTo>
                  <a:cubicBezTo>
                    <a:pt x="0" y="6"/>
                    <a:pt x="2" y="8"/>
                    <a:pt x="4" y="8"/>
                  </a:cubicBezTo>
                  <a:close/>
                  <a:moveTo>
                    <a:pt x="4" y="4"/>
                  </a:moveTo>
                  <a:cubicBezTo>
                    <a:pt x="6" y="4"/>
                    <a:pt x="6" y="4"/>
                    <a:pt x="6" y="4"/>
                  </a:cubicBezTo>
                  <a:cubicBezTo>
                    <a:pt x="4" y="4"/>
                    <a:pt x="4" y="4"/>
                    <a:pt x="4" y="4"/>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89" name="Freeform 18">
              <a:extLst>
                <a:ext uri="{FF2B5EF4-FFF2-40B4-BE49-F238E27FC236}">
                  <a16:creationId xmlns:a16="http://schemas.microsoft.com/office/drawing/2014/main" id="{3C158412-936E-4A5C-A2DD-D6F630F5634E}"/>
                </a:ext>
              </a:extLst>
            </p:cNvPr>
            <p:cNvSpPr>
              <a:spLocks noEditPoints="1"/>
            </p:cNvSpPr>
            <p:nvPr/>
          </p:nvSpPr>
          <p:spPr bwMode="auto">
            <a:xfrm>
              <a:off x="6199894" y="3356526"/>
              <a:ext cx="29905" cy="28942"/>
            </a:xfrm>
            <a:custGeom>
              <a:avLst/>
              <a:gdLst>
                <a:gd name="T0" fmla="*/ 4 w 8"/>
                <a:gd name="T1" fmla="*/ 8 h 8"/>
                <a:gd name="T2" fmla="*/ 8 w 8"/>
                <a:gd name="T3" fmla="*/ 4 h 8"/>
                <a:gd name="T4" fmla="*/ 4 w 8"/>
                <a:gd name="T5" fmla="*/ 0 h 8"/>
                <a:gd name="T6" fmla="*/ 0 w 8"/>
                <a:gd name="T7" fmla="*/ 4 h 8"/>
                <a:gd name="T8" fmla="*/ 4 w 8"/>
                <a:gd name="T9" fmla="*/ 8 h 8"/>
                <a:gd name="T10" fmla="*/ 4 w 8"/>
                <a:gd name="T11" fmla="*/ 4 h 8"/>
                <a:gd name="T12" fmla="*/ 6 w 8"/>
                <a:gd name="T13" fmla="*/ 4 h 8"/>
                <a:gd name="T14" fmla="*/ 4 w 8"/>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6" y="8"/>
                    <a:pt x="8" y="6"/>
                    <a:pt x="8" y="4"/>
                  </a:cubicBezTo>
                  <a:cubicBezTo>
                    <a:pt x="8" y="2"/>
                    <a:pt x="6" y="0"/>
                    <a:pt x="4" y="0"/>
                  </a:cubicBezTo>
                  <a:cubicBezTo>
                    <a:pt x="2" y="0"/>
                    <a:pt x="0" y="2"/>
                    <a:pt x="0" y="4"/>
                  </a:cubicBezTo>
                  <a:cubicBezTo>
                    <a:pt x="0" y="6"/>
                    <a:pt x="2" y="8"/>
                    <a:pt x="4" y="8"/>
                  </a:cubicBezTo>
                  <a:close/>
                  <a:moveTo>
                    <a:pt x="4" y="4"/>
                  </a:moveTo>
                  <a:cubicBezTo>
                    <a:pt x="6" y="4"/>
                    <a:pt x="6" y="4"/>
                    <a:pt x="6" y="4"/>
                  </a:cubicBezTo>
                  <a:cubicBezTo>
                    <a:pt x="4" y="4"/>
                    <a:pt x="4" y="4"/>
                    <a:pt x="4" y="4"/>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90" name="Freeform 19">
              <a:extLst>
                <a:ext uri="{FF2B5EF4-FFF2-40B4-BE49-F238E27FC236}">
                  <a16:creationId xmlns:a16="http://schemas.microsoft.com/office/drawing/2014/main" id="{49F4A27F-6C2C-F89F-D3CB-E164163F7760}"/>
                </a:ext>
              </a:extLst>
            </p:cNvPr>
            <p:cNvSpPr>
              <a:spLocks noEditPoints="1"/>
            </p:cNvSpPr>
            <p:nvPr/>
          </p:nvSpPr>
          <p:spPr bwMode="auto">
            <a:xfrm>
              <a:off x="6245203" y="3356526"/>
              <a:ext cx="29905" cy="28942"/>
            </a:xfrm>
            <a:custGeom>
              <a:avLst/>
              <a:gdLst>
                <a:gd name="T0" fmla="*/ 4 w 8"/>
                <a:gd name="T1" fmla="*/ 8 h 8"/>
                <a:gd name="T2" fmla="*/ 8 w 8"/>
                <a:gd name="T3" fmla="*/ 4 h 8"/>
                <a:gd name="T4" fmla="*/ 4 w 8"/>
                <a:gd name="T5" fmla="*/ 0 h 8"/>
                <a:gd name="T6" fmla="*/ 0 w 8"/>
                <a:gd name="T7" fmla="*/ 4 h 8"/>
                <a:gd name="T8" fmla="*/ 4 w 8"/>
                <a:gd name="T9" fmla="*/ 8 h 8"/>
                <a:gd name="T10" fmla="*/ 4 w 8"/>
                <a:gd name="T11" fmla="*/ 4 h 8"/>
                <a:gd name="T12" fmla="*/ 6 w 8"/>
                <a:gd name="T13" fmla="*/ 4 h 8"/>
                <a:gd name="T14" fmla="*/ 4 w 8"/>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8"/>
                  </a:moveTo>
                  <a:cubicBezTo>
                    <a:pt x="6" y="8"/>
                    <a:pt x="8" y="6"/>
                    <a:pt x="8" y="4"/>
                  </a:cubicBezTo>
                  <a:cubicBezTo>
                    <a:pt x="8" y="2"/>
                    <a:pt x="6" y="0"/>
                    <a:pt x="4" y="0"/>
                  </a:cubicBezTo>
                  <a:cubicBezTo>
                    <a:pt x="2" y="0"/>
                    <a:pt x="0" y="2"/>
                    <a:pt x="0" y="4"/>
                  </a:cubicBezTo>
                  <a:cubicBezTo>
                    <a:pt x="0" y="6"/>
                    <a:pt x="2" y="8"/>
                    <a:pt x="4" y="8"/>
                  </a:cubicBezTo>
                  <a:close/>
                  <a:moveTo>
                    <a:pt x="4" y="4"/>
                  </a:moveTo>
                  <a:cubicBezTo>
                    <a:pt x="6" y="4"/>
                    <a:pt x="6" y="4"/>
                    <a:pt x="6" y="4"/>
                  </a:cubicBezTo>
                  <a:cubicBezTo>
                    <a:pt x="4" y="4"/>
                    <a:pt x="4" y="4"/>
                    <a:pt x="4" y="4"/>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91" name="Freeform 20">
              <a:extLst>
                <a:ext uri="{FF2B5EF4-FFF2-40B4-BE49-F238E27FC236}">
                  <a16:creationId xmlns:a16="http://schemas.microsoft.com/office/drawing/2014/main" id="{B8A7A511-5B0F-94DF-04A4-003087C6C0FE}"/>
                </a:ext>
              </a:extLst>
            </p:cNvPr>
            <p:cNvSpPr>
              <a:spLocks noEditPoints="1"/>
            </p:cNvSpPr>
            <p:nvPr/>
          </p:nvSpPr>
          <p:spPr bwMode="auto">
            <a:xfrm>
              <a:off x="6055809" y="3349510"/>
              <a:ext cx="45310" cy="42975"/>
            </a:xfrm>
            <a:custGeom>
              <a:avLst/>
              <a:gdLst>
                <a:gd name="T0" fmla="*/ 6 w 12"/>
                <a:gd name="T1" fmla="*/ 12 h 12"/>
                <a:gd name="T2" fmla="*/ 12 w 12"/>
                <a:gd name="T3" fmla="*/ 6 h 12"/>
                <a:gd name="T4" fmla="*/ 6 w 12"/>
                <a:gd name="T5" fmla="*/ 0 h 12"/>
                <a:gd name="T6" fmla="*/ 0 w 12"/>
                <a:gd name="T7" fmla="*/ 6 h 12"/>
                <a:gd name="T8" fmla="*/ 6 w 12"/>
                <a:gd name="T9" fmla="*/ 12 h 12"/>
                <a:gd name="T10" fmla="*/ 6 w 12"/>
                <a:gd name="T11" fmla="*/ 4 h 12"/>
                <a:gd name="T12" fmla="*/ 8 w 12"/>
                <a:gd name="T13" fmla="*/ 6 h 12"/>
                <a:gd name="T14" fmla="*/ 6 w 12"/>
                <a:gd name="T15" fmla="*/ 8 h 12"/>
                <a:gd name="T16" fmla="*/ 4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9" y="12"/>
                    <a:pt x="12" y="9"/>
                    <a:pt x="12" y="6"/>
                  </a:cubicBezTo>
                  <a:cubicBezTo>
                    <a:pt x="12" y="3"/>
                    <a:pt x="9" y="0"/>
                    <a:pt x="6" y="0"/>
                  </a:cubicBezTo>
                  <a:cubicBezTo>
                    <a:pt x="3" y="0"/>
                    <a:pt x="0" y="3"/>
                    <a:pt x="0" y="6"/>
                  </a:cubicBezTo>
                  <a:cubicBezTo>
                    <a:pt x="0" y="9"/>
                    <a:pt x="3" y="12"/>
                    <a:pt x="6" y="12"/>
                  </a:cubicBezTo>
                  <a:close/>
                  <a:moveTo>
                    <a:pt x="6" y="4"/>
                  </a:moveTo>
                  <a:cubicBezTo>
                    <a:pt x="7" y="4"/>
                    <a:pt x="8" y="5"/>
                    <a:pt x="8" y="6"/>
                  </a:cubicBezTo>
                  <a:cubicBezTo>
                    <a:pt x="8" y="7"/>
                    <a:pt x="7" y="8"/>
                    <a:pt x="6" y="8"/>
                  </a:cubicBezTo>
                  <a:cubicBezTo>
                    <a:pt x="5" y="8"/>
                    <a:pt x="4" y="7"/>
                    <a:pt x="4" y="6"/>
                  </a:cubicBezTo>
                  <a:cubicBezTo>
                    <a:pt x="4" y="5"/>
                    <a:pt x="5" y="4"/>
                    <a:pt x="6" y="4"/>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92" name="Freeform 21">
              <a:extLst>
                <a:ext uri="{FF2B5EF4-FFF2-40B4-BE49-F238E27FC236}">
                  <a16:creationId xmlns:a16="http://schemas.microsoft.com/office/drawing/2014/main" id="{25CB8D5B-4378-95AD-8A96-0FC7FC5D41D0}"/>
                </a:ext>
              </a:extLst>
            </p:cNvPr>
            <p:cNvSpPr>
              <a:spLocks noEditPoints="1"/>
            </p:cNvSpPr>
            <p:nvPr/>
          </p:nvSpPr>
          <p:spPr bwMode="auto">
            <a:xfrm>
              <a:off x="6025904" y="3328461"/>
              <a:ext cx="287265" cy="285914"/>
            </a:xfrm>
            <a:custGeom>
              <a:avLst/>
              <a:gdLst>
                <a:gd name="T0" fmla="*/ 46 w 76"/>
                <a:gd name="T1" fmla="*/ 64 h 80"/>
                <a:gd name="T2" fmla="*/ 48 w 76"/>
                <a:gd name="T3" fmla="*/ 62 h 80"/>
                <a:gd name="T4" fmla="*/ 46 w 76"/>
                <a:gd name="T5" fmla="*/ 60 h 80"/>
                <a:gd name="T6" fmla="*/ 4 w 76"/>
                <a:gd name="T7" fmla="*/ 60 h 80"/>
                <a:gd name="T8" fmla="*/ 4 w 76"/>
                <a:gd name="T9" fmla="*/ 44 h 80"/>
                <a:gd name="T10" fmla="*/ 56 w 76"/>
                <a:gd name="T11" fmla="*/ 44 h 80"/>
                <a:gd name="T12" fmla="*/ 58 w 76"/>
                <a:gd name="T13" fmla="*/ 42 h 80"/>
                <a:gd name="T14" fmla="*/ 56 w 76"/>
                <a:gd name="T15" fmla="*/ 40 h 80"/>
                <a:gd name="T16" fmla="*/ 4 w 76"/>
                <a:gd name="T17" fmla="*/ 40 h 80"/>
                <a:gd name="T18" fmla="*/ 4 w 76"/>
                <a:gd name="T19" fmla="*/ 24 h 80"/>
                <a:gd name="T20" fmla="*/ 72 w 76"/>
                <a:gd name="T21" fmla="*/ 24 h 80"/>
                <a:gd name="T22" fmla="*/ 72 w 76"/>
                <a:gd name="T23" fmla="*/ 38 h 80"/>
                <a:gd name="T24" fmla="*/ 74 w 76"/>
                <a:gd name="T25" fmla="*/ 40 h 80"/>
                <a:gd name="T26" fmla="*/ 76 w 76"/>
                <a:gd name="T27" fmla="*/ 38 h 80"/>
                <a:gd name="T28" fmla="*/ 76 w 76"/>
                <a:gd name="T29" fmla="*/ 22 h 80"/>
                <a:gd name="T30" fmla="*/ 76 w 76"/>
                <a:gd name="T31" fmla="*/ 2 h 80"/>
                <a:gd name="T32" fmla="*/ 74 w 76"/>
                <a:gd name="T33" fmla="*/ 0 h 80"/>
                <a:gd name="T34" fmla="*/ 2 w 76"/>
                <a:gd name="T35" fmla="*/ 0 h 80"/>
                <a:gd name="T36" fmla="*/ 0 w 76"/>
                <a:gd name="T37" fmla="*/ 2 h 80"/>
                <a:gd name="T38" fmla="*/ 0 w 76"/>
                <a:gd name="T39" fmla="*/ 22 h 80"/>
                <a:gd name="T40" fmla="*/ 0 w 76"/>
                <a:gd name="T41" fmla="*/ 42 h 80"/>
                <a:gd name="T42" fmla="*/ 0 w 76"/>
                <a:gd name="T43" fmla="*/ 62 h 80"/>
                <a:gd name="T44" fmla="*/ 2 w 76"/>
                <a:gd name="T45" fmla="*/ 64 h 80"/>
                <a:gd name="T46" fmla="*/ 36 w 76"/>
                <a:gd name="T47" fmla="*/ 64 h 80"/>
                <a:gd name="T48" fmla="*/ 36 w 76"/>
                <a:gd name="T49" fmla="*/ 76 h 80"/>
                <a:gd name="T50" fmla="*/ 22 w 76"/>
                <a:gd name="T51" fmla="*/ 76 h 80"/>
                <a:gd name="T52" fmla="*/ 20 w 76"/>
                <a:gd name="T53" fmla="*/ 78 h 80"/>
                <a:gd name="T54" fmla="*/ 22 w 76"/>
                <a:gd name="T55" fmla="*/ 80 h 80"/>
                <a:gd name="T56" fmla="*/ 46 w 76"/>
                <a:gd name="T57" fmla="*/ 80 h 80"/>
                <a:gd name="T58" fmla="*/ 48 w 76"/>
                <a:gd name="T59" fmla="*/ 78 h 80"/>
                <a:gd name="T60" fmla="*/ 46 w 76"/>
                <a:gd name="T61" fmla="*/ 76 h 80"/>
                <a:gd name="T62" fmla="*/ 40 w 76"/>
                <a:gd name="T63" fmla="*/ 76 h 80"/>
                <a:gd name="T64" fmla="*/ 40 w 76"/>
                <a:gd name="T65" fmla="*/ 64 h 80"/>
                <a:gd name="T66" fmla="*/ 46 w 76"/>
                <a:gd name="T67" fmla="*/ 64 h 80"/>
                <a:gd name="T68" fmla="*/ 72 w 76"/>
                <a:gd name="T69" fmla="*/ 4 h 80"/>
                <a:gd name="T70" fmla="*/ 72 w 76"/>
                <a:gd name="T71" fmla="*/ 20 h 80"/>
                <a:gd name="T72" fmla="*/ 4 w 76"/>
                <a:gd name="T73" fmla="*/ 20 h 80"/>
                <a:gd name="T74" fmla="*/ 4 w 76"/>
                <a:gd name="T75" fmla="*/ 4 h 80"/>
                <a:gd name="T76" fmla="*/ 72 w 76"/>
                <a:gd name="T77" fmla="*/ 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6" h="80">
                  <a:moveTo>
                    <a:pt x="46" y="64"/>
                  </a:moveTo>
                  <a:cubicBezTo>
                    <a:pt x="47" y="64"/>
                    <a:pt x="48" y="63"/>
                    <a:pt x="48" y="62"/>
                  </a:cubicBezTo>
                  <a:cubicBezTo>
                    <a:pt x="48" y="61"/>
                    <a:pt x="47" y="60"/>
                    <a:pt x="46" y="60"/>
                  </a:cubicBezTo>
                  <a:cubicBezTo>
                    <a:pt x="4" y="60"/>
                    <a:pt x="4" y="60"/>
                    <a:pt x="4" y="60"/>
                  </a:cubicBezTo>
                  <a:cubicBezTo>
                    <a:pt x="4" y="44"/>
                    <a:pt x="4" y="44"/>
                    <a:pt x="4" y="44"/>
                  </a:cubicBezTo>
                  <a:cubicBezTo>
                    <a:pt x="56" y="44"/>
                    <a:pt x="56" y="44"/>
                    <a:pt x="56" y="44"/>
                  </a:cubicBezTo>
                  <a:cubicBezTo>
                    <a:pt x="57" y="44"/>
                    <a:pt x="58" y="43"/>
                    <a:pt x="58" y="42"/>
                  </a:cubicBezTo>
                  <a:cubicBezTo>
                    <a:pt x="58" y="41"/>
                    <a:pt x="57" y="40"/>
                    <a:pt x="56" y="40"/>
                  </a:cubicBezTo>
                  <a:cubicBezTo>
                    <a:pt x="4" y="40"/>
                    <a:pt x="4" y="40"/>
                    <a:pt x="4" y="40"/>
                  </a:cubicBezTo>
                  <a:cubicBezTo>
                    <a:pt x="4" y="24"/>
                    <a:pt x="4" y="24"/>
                    <a:pt x="4" y="24"/>
                  </a:cubicBezTo>
                  <a:cubicBezTo>
                    <a:pt x="72" y="24"/>
                    <a:pt x="72" y="24"/>
                    <a:pt x="72" y="24"/>
                  </a:cubicBezTo>
                  <a:cubicBezTo>
                    <a:pt x="72" y="38"/>
                    <a:pt x="72" y="38"/>
                    <a:pt x="72" y="38"/>
                  </a:cubicBezTo>
                  <a:cubicBezTo>
                    <a:pt x="72" y="39"/>
                    <a:pt x="73" y="40"/>
                    <a:pt x="74" y="40"/>
                  </a:cubicBezTo>
                  <a:cubicBezTo>
                    <a:pt x="75" y="40"/>
                    <a:pt x="76" y="39"/>
                    <a:pt x="76" y="38"/>
                  </a:cubicBezTo>
                  <a:cubicBezTo>
                    <a:pt x="76" y="22"/>
                    <a:pt x="76" y="22"/>
                    <a:pt x="76" y="22"/>
                  </a:cubicBezTo>
                  <a:cubicBezTo>
                    <a:pt x="76" y="2"/>
                    <a:pt x="76" y="2"/>
                    <a:pt x="76" y="2"/>
                  </a:cubicBezTo>
                  <a:cubicBezTo>
                    <a:pt x="76" y="1"/>
                    <a:pt x="75" y="0"/>
                    <a:pt x="74" y="0"/>
                  </a:cubicBezTo>
                  <a:cubicBezTo>
                    <a:pt x="2" y="0"/>
                    <a:pt x="2" y="0"/>
                    <a:pt x="2" y="0"/>
                  </a:cubicBezTo>
                  <a:cubicBezTo>
                    <a:pt x="1" y="0"/>
                    <a:pt x="0" y="1"/>
                    <a:pt x="0" y="2"/>
                  </a:cubicBezTo>
                  <a:cubicBezTo>
                    <a:pt x="0" y="22"/>
                    <a:pt x="0" y="22"/>
                    <a:pt x="0" y="22"/>
                  </a:cubicBezTo>
                  <a:cubicBezTo>
                    <a:pt x="0" y="42"/>
                    <a:pt x="0" y="42"/>
                    <a:pt x="0" y="42"/>
                  </a:cubicBezTo>
                  <a:cubicBezTo>
                    <a:pt x="0" y="62"/>
                    <a:pt x="0" y="62"/>
                    <a:pt x="0" y="62"/>
                  </a:cubicBezTo>
                  <a:cubicBezTo>
                    <a:pt x="0" y="63"/>
                    <a:pt x="1" y="64"/>
                    <a:pt x="2" y="64"/>
                  </a:cubicBezTo>
                  <a:cubicBezTo>
                    <a:pt x="36" y="64"/>
                    <a:pt x="36" y="64"/>
                    <a:pt x="36" y="64"/>
                  </a:cubicBezTo>
                  <a:cubicBezTo>
                    <a:pt x="36" y="76"/>
                    <a:pt x="36" y="76"/>
                    <a:pt x="36" y="76"/>
                  </a:cubicBezTo>
                  <a:cubicBezTo>
                    <a:pt x="22" y="76"/>
                    <a:pt x="22" y="76"/>
                    <a:pt x="22" y="76"/>
                  </a:cubicBezTo>
                  <a:cubicBezTo>
                    <a:pt x="21" y="76"/>
                    <a:pt x="20" y="77"/>
                    <a:pt x="20" y="78"/>
                  </a:cubicBezTo>
                  <a:cubicBezTo>
                    <a:pt x="20" y="79"/>
                    <a:pt x="21" y="80"/>
                    <a:pt x="22" y="80"/>
                  </a:cubicBezTo>
                  <a:cubicBezTo>
                    <a:pt x="46" y="80"/>
                    <a:pt x="46" y="80"/>
                    <a:pt x="46" y="80"/>
                  </a:cubicBezTo>
                  <a:cubicBezTo>
                    <a:pt x="47" y="80"/>
                    <a:pt x="48" y="79"/>
                    <a:pt x="48" y="78"/>
                  </a:cubicBezTo>
                  <a:cubicBezTo>
                    <a:pt x="48" y="77"/>
                    <a:pt x="47" y="76"/>
                    <a:pt x="46" y="76"/>
                  </a:cubicBezTo>
                  <a:cubicBezTo>
                    <a:pt x="40" y="76"/>
                    <a:pt x="40" y="76"/>
                    <a:pt x="40" y="76"/>
                  </a:cubicBezTo>
                  <a:cubicBezTo>
                    <a:pt x="40" y="64"/>
                    <a:pt x="40" y="64"/>
                    <a:pt x="40" y="64"/>
                  </a:cubicBezTo>
                  <a:lnTo>
                    <a:pt x="46" y="64"/>
                  </a:lnTo>
                  <a:close/>
                  <a:moveTo>
                    <a:pt x="72" y="4"/>
                  </a:moveTo>
                  <a:cubicBezTo>
                    <a:pt x="72" y="20"/>
                    <a:pt x="72" y="20"/>
                    <a:pt x="72" y="20"/>
                  </a:cubicBezTo>
                  <a:cubicBezTo>
                    <a:pt x="4" y="20"/>
                    <a:pt x="4" y="20"/>
                    <a:pt x="4" y="20"/>
                  </a:cubicBezTo>
                  <a:cubicBezTo>
                    <a:pt x="4" y="4"/>
                    <a:pt x="4" y="4"/>
                    <a:pt x="4" y="4"/>
                  </a:cubicBezTo>
                  <a:lnTo>
                    <a:pt x="72" y="4"/>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93" name="Freeform 22">
              <a:extLst>
                <a:ext uri="{FF2B5EF4-FFF2-40B4-BE49-F238E27FC236}">
                  <a16:creationId xmlns:a16="http://schemas.microsoft.com/office/drawing/2014/main" id="{3CBCC2CE-D59B-9286-5A55-F23231DCE41A}"/>
                </a:ext>
              </a:extLst>
            </p:cNvPr>
            <p:cNvSpPr>
              <a:spLocks noEditPoints="1"/>
            </p:cNvSpPr>
            <p:nvPr/>
          </p:nvSpPr>
          <p:spPr bwMode="auto">
            <a:xfrm>
              <a:off x="6154584" y="3499483"/>
              <a:ext cx="29905" cy="28942"/>
            </a:xfrm>
            <a:custGeom>
              <a:avLst/>
              <a:gdLst>
                <a:gd name="T0" fmla="*/ 0 w 8"/>
                <a:gd name="T1" fmla="*/ 4 h 8"/>
                <a:gd name="T2" fmla="*/ 4 w 8"/>
                <a:gd name="T3" fmla="*/ 8 h 8"/>
                <a:gd name="T4" fmla="*/ 8 w 8"/>
                <a:gd name="T5" fmla="*/ 4 h 8"/>
                <a:gd name="T6" fmla="*/ 4 w 8"/>
                <a:gd name="T7" fmla="*/ 0 h 8"/>
                <a:gd name="T8" fmla="*/ 0 w 8"/>
                <a:gd name="T9" fmla="*/ 4 h 8"/>
                <a:gd name="T10" fmla="*/ 4 w 8"/>
                <a:gd name="T11" fmla="*/ 4 h 8"/>
                <a:gd name="T12" fmla="*/ 4 w 8"/>
                <a:gd name="T13" fmla="*/ 4 h 8"/>
                <a:gd name="T14" fmla="*/ 6 w 8"/>
                <a:gd name="T15" fmla="*/ 4 h 8"/>
                <a:gd name="T16" fmla="*/ 4 w 8"/>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4"/>
                  </a:moveTo>
                  <a:cubicBezTo>
                    <a:pt x="0" y="6"/>
                    <a:pt x="2" y="8"/>
                    <a:pt x="4" y="8"/>
                  </a:cubicBezTo>
                  <a:cubicBezTo>
                    <a:pt x="6" y="8"/>
                    <a:pt x="8" y="6"/>
                    <a:pt x="8" y="4"/>
                  </a:cubicBezTo>
                  <a:cubicBezTo>
                    <a:pt x="8" y="2"/>
                    <a:pt x="6" y="0"/>
                    <a:pt x="4" y="0"/>
                  </a:cubicBezTo>
                  <a:cubicBezTo>
                    <a:pt x="2" y="0"/>
                    <a:pt x="0" y="2"/>
                    <a:pt x="0" y="4"/>
                  </a:cubicBezTo>
                  <a:close/>
                  <a:moveTo>
                    <a:pt x="4" y="4"/>
                  </a:moveTo>
                  <a:cubicBezTo>
                    <a:pt x="4" y="4"/>
                    <a:pt x="4" y="4"/>
                    <a:pt x="4" y="4"/>
                  </a:cubicBezTo>
                  <a:cubicBezTo>
                    <a:pt x="6" y="4"/>
                    <a:pt x="6" y="4"/>
                    <a:pt x="6" y="4"/>
                  </a:cubicBezTo>
                  <a:lnTo>
                    <a:pt x="4" y="4"/>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94" name="Freeform 23">
              <a:extLst>
                <a:ext uri="{FF2B5EF4-FFF2-40B4-BE49-F238E27FC236}">
                  <a16:creationId xmlns:a16="http://schemas.microsoft.com/office/drawing/2014/main" id="{B7205284-AF98-1D06-84AD-56A1F0A5911A}"/>
                </a:ext>
              </a:extLst>
            </p:cNvPr>
            <p:cNvSpPr>
              <a:spLocks noEditPoints="1"/>
            </p:cNvSpPr>
            <p:nvPr/>
          </p:nvSpPr>
          <p:spPr bwMode="auto">
            <a:xfrm>
              <a:off x="6055809" y="3492467"/>
              <a:ext cx="45310" cy="42975"/>
            </a:xfrm>
            <a:custGeom>
              <a:avLst/>
              <a:gdLst>
                <a:gd name="T0" fmla="*/ 0 w 12"/>
                <a:gd name="T1" fmla="*/ 6 h 12"/>
                <a:gd name="T2" fmla="*/ 6 w 12"/>
                <a:gd name="T3" fmla="*/ 12 h 12"/>
                <a:gd name="T4" fmla="*/ 12 w 12"/>
                <a:gd name="T5" fmla="*/ 6 h 12"/>
                <a:gd name="T6" fmla="*/ 6 w 12"/>
                <a:gd name="T7" fmla="*/ 0 h 12"/>
                <a:gd name="T8" fmla="*/ 0 w 12"/>
                <a:gd name="T9" fmla="*/ 6 h 12"/>
                <a:gd name="T10" fmla="*/ 8 w 12"/>
                <a:gd name="T11" fmla="*/ 6 h 12"/>
                <a:gd name="T12" fmla="*/ 6 w 12"/>
                <a:gd name="T13" fmla="*/ 8 h 12"/>
                <a:gd name="T14" fmla="*/ 4 w 12"/>
                <a:gd name="T15" fmla="*/ 6 h 12"/>
                <a:gd name="T16" fmla="*/ 6 w 12"/>
                <a:gd name="T17" fmla="*/ 4 h 12"/>
                <a:gd name="T18" fmla="*/ 8 w 12"/>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0" y="6"/>
                  </a:moveTo>
                  <a:cubicBezTo>
                    <a:pt x="0" y="9"/>
                    <a:pt x="3" y="12"/>
                    <a:pt x="6" y="12"/>
                  </a:cubicBezTo>
                  <a:cubicBezTo>
                    <a:pt x="9" y="12"/>
                    <a:pt x="12" y="9"/>
                    <a:pt x="12" y="6"/>
                  </a:cubicBezTo>
                  <a:cubicBezTo>
                    <a:pt x="12" y="3"/>
                    <a:pt x="9" y="0"/>
                    <a:pt x="6" y="0"/>
                  </a:cubicBezTo>
                  <a:cubicBezTo>
                    <a:pt x="3" y="0"/>
                    <a:pt x="0" y="3"/>
                    <a:pt x="0" y="6"/>
                  </a:cubicBezTo>
                  <a:close/>
                  <a:moveTo>
                    <a:pt x="8" y="6"/>
                  </a:moveTo>
                  <a:cubicBezTo>
                    <a:pt x="8" y="7"/>
                    <a:pt x="7" y="8"/>
                    <a:pt x="6" y="8"/>
                  </a:cubicBezTo>
                  <a:cubicBezTo>
                    <a:pt x="5" y="8"/>
                    <a:pt x="4" y="7"/>
                    <a:pt x="4" y="6"/>
                  </a:cubicBezTo>
                  <a:cubicBezTo>
                    <a:pt x="4" y="5"/>
                    <a:pt x="5" y="4"/>
                    <a:pt x="6" y="4"/>
                  </a:cubicBezTo>
                  <a:cubicBezTo>
                    <a:pt x="7" y="4"/>
                    <a:pt x="8" y="5"/>
                    <a:pt x="8" y="6"/>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95" name="Oval 24">
              <a:extLst>
                <a:ext uri="{FF2B5EF4-FFF2-40B4-BE49-F238E27FC236}">
                  <a16:creationId xmlns:a16="http://schemas.microsoft.com/office/drawing/2014/main" id="{F2C39FF1-A495-F95A-E652-EFF3DD98753F}"/>
                </a:ext>
              </a:extLst>
            </p:cNvPr>
            <p:cNvSpPr>
              <a:spLocks noChangeArrowheads="1"/>
            </p:cNvSpPr>
            <p:nvPr/>
          </p:nvSpPr>
          <p:spPr bwMode="auto">
            <a:xfrm>
              <a:off x="6041309" y="3600342"/>
              <a:ext cx="14499" cy="14033"/>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sp>
          <p:nvSpPr>
            <p:cNvPr id="196" name="Oval 25">
              <a:extLst>
                <a:ext uri="{FF2B5EF4-FFF2-40B4-BE49-F238E27FC236}">
                  <a16:creationId xmlns:a16="http://schemas.microsoft.com/office/drawing/2014/main" id="{8D638B91-62CD-4885-26BD-BB2CEF798AD7}"/>
                </a:ext>
              </a:extLst>
            </p:cNvPr>
            <p:cNvSpPr>
              <a:spLocks noChangeArrowheads="1"/>
            </p:cNvSpPr>
            <p:nvPr/>
          </p:nvSpPr>
          <p:spPr bwMode="auto">
            <a:xfrm>
              <a:off x="6071214" y="3600342"/>
              <a:ext cx="15405" cy="14033"/>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Graphik" panose="020B0503030202060203" pitchFamily="34" charset="0"/>
                <a:cs typeface="+mn-cs"/>
              </a:endParaRPr>
            </a:p>
          </p:txBody>
        </p:sp>
      </p:grpSp>
      <p:sp>
        <p:nvSpPr>
          <p:cNvPr id="181" name="TextBox 180">
            <a:extLst>
              <a:ext uri="{FF2B5EF4-FFF2-40B4-BE49-F238E27FC236}">
                <a16:creationId xmlns:a16="http://schemas.microsoft.com/office/drawing/2014/main" id="{1356075D-B739-877F-8F46-B84A4249FC5C}"/>
              </a:ext>
            </a:extLst>
          </p:cNvPr>
          <p:cNvSpPr txBox="1"/>
          <p:nvPr/>
        </p:nvSpPr>
        <p:spPr>
          <a:xfrm>
            <a:off x="3590787" y="4469931"/>
            <a:ext cx="1279092" cy="236113"/>
          </a:xfrm>
          <a:prstGeom prst="rect">
            <a:avLst/>
          </a:prstGeom>
          <a:ln>
            <a:noFill/>
          </a:ln>
        </p:spPr>
        <p:txBody>
          <a:bodyPr vert="horz" wrap="square" lIns="0" tIns="0" rIns="0" bIns="0" rtlCol="0" anchor="ctr">
            <a:noAutofit/>
          </a:bodyPr>
          <a:lstStyle/>
          <a:p>
            <a:pPr defTabSz="685783" fontAlgn="auto">
              <a:spcBef>
                <a:spcPts val="0"/>
              </a:spcBef>
              <a:spcAft>
                <a:spcPts val="225"/>
              </a:spcAft>
              <a:defRPr/>
            </a:pPr>
            <a:r>
              <a:rPr lang="en-US" sz="900" b="1">
                <a:solidFill>
                  <a:srgbClr val="000000">
                    <a:lumMod val="100000"/>
                  </a:srgbClr>
                </a:solidFill>
                <a:latin typeface="Graphik" panose="020B0503030202060203" pitchFamily="34" charset="0"/>
                <a:cs typeface="+mn-cs"/>
              </a:rPr>
              <a:t>Regulatory &amp;  </a:t>
            </a:r>
          </a:p>
          <a:p>
            <a:pPr defTabSz="685783" fontAlgn="auto">
              <a:spcBef>
                <a:spcPts val="0"/>
              </a:spcBef>
              <a:spcAft>
                <a:spcPts val="225"/>
              </a:spcAft>
              <a:defRPr/>
            </a:pPr>
            <a:r>
              <a:rPr lang="en-US" sz="900" b="1">
                <a:solidFill>
                  <a:srgbClr val="000000">
                    <a:lumMod val="100000"/>
                  </a:srgbClr>
                </a:solidFill>
                <a:latin typeface="Graphik" panose="020B0503030202060203" pitchFamily="34" charset="0"/>
                <a:cs typeface="+mn-cs"/>
              </a:rPr>
              <a:t>Security</a:t>
            </a:r>
          </a:p>
        </p:txBody>
      </p:sp>
      <p:grpSp>
        <p:nvGrpSpPr>
          <p:cNvPr id="197" name="Group 14">
            <a:extLst>
              <a:ext uri="{FF2B5EF4-FFF2-40B4-BE49-F238E27FC236}">
                <a16:creationId xmlns:a16="http://schemas.microsoft.com/office/drawing/2014/main" id="{9D1450B2-CE72-7EC1-7FE3-64B143512BDD}"/>
              </a:ext>
            </a:extLst>
          </p:cNvPr>
          <p:cNvGrpSpPr>
            <a:grpSpLocks noChangeAspect="1"/>
          </p:cNvGrpSpPr>
          <p:nvPr/>
        </p:nvGrpSpPr>
        <p:grpSpPr bwMode="auto">
          <a:xfrm>
            <a:off x="3212046" y="3944359"/>
            <a:ext cx="314543" cy="319565"/>
            <a:chOff x="2585" y="663"/>
            <a:chExt cx="441" cy="430"/>
          </a:xfrm>
          <a:solidFill>
            <a:schemeClr val="accent2"/>
          </a:solidFill>
        </p:grpSpPr>
        <p:sp>
          <p:nvSpPr>
            <p:cNvPr id="198" name="Freeform 15">
              <a:extLst>
                <a:ext uri="{FF2B5EF4-FFF2-40B4-BE49-F238E27FC236}">
                  <a16:creationId xmlns:a16="http://schemas.microsoft.com/office/drawing/2014/main" id="{7CFF94B1-7BA5-7611-163B-65980C72EDE4}"/>
                </a:ext>
              </a:extLst>
            </p:cNvPr>
            <p:cNvSpPr>
              <a:spLocks/>
            </p:cNvSpPr>
            <p:nvPr/>
          </p:nvSpPr>
          <p:spPr bwMode="auto">
            <a:xfrm>
              <a:off x="2585" y="781"/>
              <a:ext cx="110" cy="79"/>
            </a:xfrm>
            <a:custGeom>
              <a:avLst/>
              <a:gdLst>
                <a:gd name="T0" fmla="*/ 72 w 72"/>
                <a:gd name="T1" fmla="*/ 53 h 53"/>
                <a:gd name="T2" fmla="*/ 6 w 72"/>
                <a:gd name="T3" fmla="*/ 53 h 53"/>
                <a:gd name="T4" fmla="*/ 0 w 72"/>
                <a:gd name="T5" fmla="*/ 47 h 53"/>
                <a:gd name="T6" fmla="*/ 0 w 72"/>
                <a:gd name="T7" fmla="*/ 41 h 53"/>
                <a:gd name="T8" fmla="*/ 16 w 72"/>
                <a:gd name="T9" fmla="*/ 20 h 53"/>
                <a:gd name="T10" fmla="*/ 42 w 72"/>
                <a:gd name="T11" fmla="*/ 12 h 53"/>
                <a:gd name="T12" fmla="*/ 42 w 72"/>
                <a:gd name="T13" fmla="*/ 0 h 53"/>
                <a:gd name="T14" fmla="*/ 54 w 72"/>
                <a:gd name="T15" fmla="*/ 0 h 53"/>
                <a:gd name="T16" fmla="*/ 54 w 72"/>
                <a:gd name="T17" fmla="*/ 17 h 53"/>
                <a:gd name="T18" fmla="*/ 49 w 72"/>
                <a:gd name="T19" fmla="*/ 22 h 53"/>
                <a:gd name="T20" fmla="*/ 19 w 72"/>
                <a:gd name="T21" fmla="*/ 31 h 53"/>
                <a:gd name="T22" fmla="*/ 12 w 72"/>
                <a:gd name="T23" fmla="*/ 41 h 53"/>
                <a:gd name="T24" fmla="*/ 72 w 72"/>
                <a:gd name="T25" fmla="*/ 41 h 53"/>
                <a:gd name="T26" fmla="*/ 72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72" y="53"/>
                  </a:moveTo>
                  <a:cubicBezTo>
                    <a:pt x="6" y="53"/>
                    <a:pt x="6" y="53"/>
                    <a:pt x="6" y="53"/>
                  </a:cubicBezTo>
                  <a:cubicBezTo>
                    <a:pt x="2" y="53"/>
                    <a:pt x="0" y="50"/>
                    <a:pt x="0" y="47"/>
                  </a:cubicBezTo>
                  <a:cubicBezTo>
                    <a:pt x="0" y="41"/>
                    <a:pt x="0" y="41"/>
                    <a:pt x="0" y="41"/>
                  </a:cubicBezTo>
                  <a:cubicBezTo>
                    <a:pt x="0" y="31"/>
                    <a:pt x="7" y="22"/>
                    <a:pt x="16" y="20"/>
                  </a:cubicBezTo>
                  <a:cubicBezTo>
                    <a:pt x="42" y="12"/>
                    <a:pt x="42" y="12"/>
                    <a:pt x="42" y="12"/>
                  </a:cubicBezTo>
                  <a:cubicBezTo>
                    <a:pt x="42" y="0"/>
                    <a:pt x="42" y="0"/>
                    <a:pt x="42" y="0"/>
                  </a:cubicBezTo>
                  <a:cubicBezTo>
                    <a:pt x="54" y="0"/>
                    <a:pt x="54" y="0"/>
                    <a:pt x="54" y="0"/>
                  </a:cubicBezTo>
                  <a:cubicBezTo>
                    <a:pt x="54" y="17"/>
                    <a:pt x="54" y="17"/>
                    <a:pt x="54" y="17"/>
                  </a:cubicBezTo>
                  <a:cubicBezTo>
                    <a:pt x="54" y="19"/>
                    <a:pt x="52" y="22"/>
                    <a:pt x="49" y="22"/>
                  </a:cubicBezTo>
                  <a:cubicBezTo>
                    <a:pt x="19" y="31"/>
                    <a:pt x="19" y="31"/>
                    <a:pt x="19" y="31"/>
                  </a:cubicBezTo>
                  <a:cubicBezTo>
                    <a:pt x="15" y="32"/>
                    <a:pt x="12" y="37"/>
                    <a:pt x="12" y="41"/>
                  </a:cubicBezTo>
                  <a:cubicBezTo>
                    <a:pt x="72" y="41"/>
                    <a:pt x="72" y="41"/>
                    <a:pt x="72" y="41"/>
                  </a:cubicBezTo>
                  <a:lnTo>
                    <a:pt x="72" y="5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199" name="Freeform 16">
              <a:extLst>
                <a:ext uri="{FF2B5EF4-FFF2-40B4-BE49-F238E27FC236}">
                  <a16:creationId xmlns:a16="http://schemas.microsoft.com/office/drawing/2014/main" id="{684349FD-6611-67A6-D2FA-342A75AF0D69}"/>
                </a:ext>
              </a:extLst>
            </p:cNvPr>
            <p:cNvSpPr>
              <a:spLocks/>
            </p:cNvSpPr>
            <p:nvPr/>
          </p:nvSpPr>
          <p:spPr bwMode="auto">
            <a:xfrm>
              <a:off x="2677" y="781"/>
              <a:ext cx="110" cy="79"/>
            </a:xfrm>
            <a:custGeom>
              <a:avLst/>
              <a:gdLst>
                <a:gd name="T0" fmla="*/ 66 w 72"/>
                <a:gd name="T1" fmla="*/ 53 h 53"/>
                <a:gd name="T2" fmla="*/ 0 w 72"/>
                <a:gd name="T3" fmla="*/ 53 h 53"/>
                <a:gd name="T4" fmla="*/ 0 w 72"/>
                <a:gd name="T5" fmla="*/ 41 h 53"/>
                <a:gd name="T6" fmla="*/ 60 w 72"/>
                <a:gd name="T7" fmla="*/ 41 h 53"/>
                <a:gd name="T8" fmla="*/ 52 w 72"/>
                <a:gd name="T9" fmla="*/ 31 h 53"/>
                <a:gd name="T10" fmla="*/ 22 w 72"/>
                <a:gd name="T11" fmla="*/ 22 h 53"/>
                <a:gd name="T12" fmla="*/ 18 w 72"/>
                <a:gd name="T13" fmla="*/ 17 h 53"/>
                <a:gd name="T14" fmla="*/ 18 w 72"/>
                <a:gd name="T15" fmla="*/ 0 h 53"/>
                <a:gd name="T16" fmla="*/ 30 w 72"/>
                <a:gd name="T17" fmla="*/ 0 h 53"/>
                <a:gd name="T18" fmla="*/ 30 w 72"/>
                <a:gd name="T19" fmla="*/ 12 h 53"/>
                <a:gd name="T20" fmla="*/ 56 w 72"/>
                <a:gd name="T21" fmla="*/ 20 h 53"/>
                <a:gd name="T22" fmla="*/ 72 w 72"/>
                <a:gd name="T23" fmla="*/ 41 h 53"/>
                <a:gd name="T24" fmla="*/ 72 w 72"/>
                <a:gd name="T25" fmla="*/ 47 h 53"/>
                <a:gd name="T26" fmla="*/ 66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66" y="53"/>
                  </a:moveTo>
                  <a:cubicBezTo>
                    <a:pt x="0" y="53"/>
                    <a:pt x="0" y="53"/>
                    <a:pt x="0" y="53"/>
                  </a:cubicBezTo>
                  <a:cubicBezTo>
                    <a:pt x="0" y="41"/>
                    <a:pt x="0" y="41"/>
                    <a:pt x="0" y="41"/>
                  </a:cubicBezTo>
                  <a:cubicBezTo>
                    <a:pt x="60" y="41"/>
                    <a:pt x="60" y="41"/>
                    <a:pt x="60" y="41"/>
                  </a:cubicBezTo>
                  <a:cubicBezTo>
                    <a:pt x="60" y="37"/>
                    <a:pt x="56" y="32"/>
                    <a:pt x="52" y="31"/>
                  </a:cubicBezTo>
                  <a:cubicBezTo>
                    <a:pt x="22" y="22"/>
                    <a:pt x="22" y="22"/>
                    <a:pt x="22" y="22"/>
                  </a:cubicBezTo>
                  <a:cubicBezTo>
                    <a:pt x="19" y="22"/>
                    <a:pt x="18" y="19"/>
                    <a:pt x="18" y="17"/>
                  </a:cubicBezTo>
                  <a:cubicBezTo>
                    <a:pt x="18" y="0"/>
                    <a:pt x="18" y="0"/>
                    <a:pt x="18" y="0"/>
                  </a:cubicBezTo>
                  <a:cubicBezTo>
                    <a:pt x="30" y="0"/>
                    <a:pt x="30" y="0"/>
                    <a:pt x="30" y="0"/>
                  </a:cubicBezTo>
                  <a:cubicBezTo>
                    <a:pt x="30" y="12"/>
                    <a:pt x="30" y="12"/>
                    <a:pt x="30" y="12"/>
                  </a:cubicBezTo>
                  <a:cubicBezTo>
                    <a:pt x="56" y="20"/>
                    <a:pt x="56" y="20"/>
                    <a:pt x="56" y="20"/>
                  </a:cubicBezTo>
                  <a:cubicBezTo>
                    <a:pt x="65" y="22"/>
                    <a:pt x="72" y="31"/>
                    <a:pt x="72" y="41"/>
                  </a:cubicBezTo>
                  <a:cubicBezTo>
                    <a:pt x="72" y="47"/>
                    <a:pt x="72" y="47"/>
                    <a:pt x="72" y="47"/>
                  </a:cubicBezTo>
                  <a:cubicBezTo>
                    <a:pt x="72" y="50"/>
                    <a:pt x="69" y="53"/>
                    <a:pt x="66" y="5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00" name="Freeform 17">
              <a:extLst>
                <a:ext uri="{FF2B5EF4-FFF2-40B4-BE49-F238E27FC236}">
                  <a16:creationId xmlns:a16="http://schemas.microsoft.com/office/drawing/2014/main" id="{DC391E8E-D960-60E2-0C35-B07574972C36}"/>
                </a:ext>
              </a:extLst>
            </p:cNvPr>
            <p:cNvSpPr>
              <a:spLocks noEditPoints="1"/>
            </p:cNvSpPr>
            <p:nvPr/>
          </p:nvSpPr>
          <p:spPr bwMode="auto">
            <a:xfrm>
              <a:off x="2622" y="663"/>
              <a:ext cx="128" cy="134"/>
            </a:xfrm>
            <a:custGeom>
              <a:avLst/>
              <a:gdLst>
                <a:gd name="T0" fmla="*/ 42 w 84"/>
                <a:gd name="T1" fmla="*/ 90 h 90"/>
                <a:gd name="T2" fmla="*/ 0 w 84"/>
                <a:gd name="T3" fmla="*/ 45 h 90"/>
                <a:gd name="T4" fmla="*/ 42 w 84"/>
                <a:gd name="T5" fmla="*/ 0 h 90"/>
                <a:gd name="T6" fmla="*/ 84 w 84"/>
                <a:gd name="T7" fmla="*/ 45 h 90"/>
                <a:gd name="T8" fmla="*/ 42 w 84"/>
                <a:gd name="T9" fmla="*/ 90 h 90"/>
                <a:gd name="T10" fmla="*/ 42 w 84"/>
                <a:gd name="T11" fmla="*/ 12 h 90"/>
                <a:gd name="T12" fmla="*/ 12 w 84"/>
                <a:gd name="T13" fmla="*/ 45 h 90"/>
                <a:gd name="T14" fmla="*/ 42 w 84"/>
                <a:gd name="T15" fmla="*/ 78 h 90"/>
                <a:gd name="T16" fmla="*/ 72 w 84"/>
                <a:gd name="T17" fmla="*/ 45 h 90"/>
                <a:gd name="T18" fmla="*/ 42 w 84"/>
                <a:gd name="T1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90">
                  <a:moveTo>
                    <a:pt x="42" y="90"/>
                  </a:moveTo>
                  <a:cubicBezTo>
                    <a:pt x="18" y="90"/>
                    <a:pt x="0" y="70"/>
                    <a:pt x="0" y="45"/>
                  </a:cubicBezTo>
                  <a:cubicBezTo>
                    <a:pt x="0" y="20"/>
                    <a:pt x="18" y="0"/>
                    <a:pt x="42" y="0"/>
                  </a:cubicBezTo>
                  <a:cubicBezTo>
                    <a:pt x="65" y="0"/>
                    <a:pt x="84" y="20"/>
                    <a:pt x="84" y="45"/>
                  </a:cubicBezTo>
                  <a:cubicBezTo>
                    <a:pt x="84" y="70"/>
                    <a:pt x="65" y="90"/>
                    <a:pt x="42" y="90"/>
                  </a:cubicBezTo>
                  <a:close/>
                  <a:moveTo>
                    <a:pt x="42" y="12"/>
                  </a:moveTo>
                  <a:cubicBezTo>
                    <a:pt x="25" y="12"/>
                    <a:pt x="12" y="27"/>
                    <a:pt x="12" y="45"/>
                  </a:cubicBezTo>
                  <a:cubicBezTo>
                    <a:pt x="12" y="63"/>
                    <a:pt x="25" y="78"/>
                    <a:pt x="42" y="78"/>
                  </a:cubicBezTo>
                  <a:cubicBezTo>
                    <a:pt x="58" y="78"/>
                    <a:pt x="72" y="63"/>
                    <a:pt x="72" y="45"/>
                  </a:cubicBezTo>
                  <a:cubicBezTo>
                    <a:pt x="72" y="27"/>
                    <a:pt x="58" y="12"/>
                    <a:pt x="42"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01" name="Freeform 18">
              <a:extLst>
                <a:ext uri="{FF2B5EF4-FFF2-40B4-BE49-F238E27FC236}">
                  <a16:creationId xmlns:a16="http://schemas.microsoft.com/office/drawing/2014/main" id="{C1767311-7A12-3074-7589-AA00209D13A2}"/>
                </a:ext>
              </a:extLst>
            </p:cNvPr>
            <p:cNvSpPr>
              <a:spLocks/>
            </p:cNvSpPr>
            <p:nvPr/>
          </p:nvSpPr>
          <p:spPr bwMode="auto">
            <a:xfrm>
              <a:off x="2627" y="700"/>
              <a:ext cx="120" cy="38"/>
            </a:xfrm>
            <a:custGeom>
              <a:avLst/>
              <a:gdLst>
                <a:gd name="T0" fmla="*/ 63 w 79"/>
                <a:gd name="T1" fmla="*/ 23 h 25"/>
                <a:gd name="T2" fmla="*/ 59 w 79"/>
                <a:gd name="T3" fmla="*/ 23 h 25"/>
                <a:gd name="T4" fmla="*/ 44 w 79"/>
                <a:gd name="T5" fmla="*/ 15 h 25"/>
                <a:gd name="T6" fmla="*/ 0 w 79"/>
                <a:gd name="T7" fmla="*/ 17 h 25"/>
                <a:gd name="T8" fmla="*/ 7 w 79"/>
                <a:gd name="T9" fmla="*/ 7 h 25"/>
                <a:gd name="T10" fmla="*/ 40 w 79"/>
                <a:gd name="T11" fmla="*/ 2 h 25"/>
                <a:gd name="T12" fmla="*/ 46 w 79"/>
                <a:gd name="T13" fmla="*/ 1 h 25"/>
                <a:gd name="T14" fmla="*/ 50 w 79"/>
                <a:gd name="T15" fmla="*/ 4 h 25"/>
                <a:gd name="T16" fmla="*/ 60 w 79"/>
                <a:gd name="T17" fmla="*/ 11 h 25"/>
                <a:gd name="T18" fmla="*/ 70 w 79"/>
                <a:gd name="T19" fmla="*/ 9 h 25"/>
                <a:gd name="T20" fmla="*/ 79 w 79"/>
                <a:gd name="T21" fmla="*/ 17 h 25"/>
                <a:gd name="T22" fmla="*/ 63 w 79"/>
                <a:gd name="T2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25">
                  <a:moveTo>
                    <a:pt x="63" y="23"/>
                  </a:moveTo>
                  <a:cubicBezTo>
                    <a:pt x="62" y="23"/>
                    <a:pt x="60" y="23"/>
                    <a:pt x="59" y="23"/>
                  </a:cubicBezTo>
                  <a:cubicBezTo>
                    <a:pt x="53" y="22"/>
                    <a:pt x="48" y="19"/>
                    <a:pt x="44" y="15"/>
                  </a:cubicBezTo>
                  <a:cubicBezTo>
                    <a:pt x="30" y="25"/>
                    <a:pt x="11" y="24"/>
                    <a:pt x="0" y="17"/>
                  </a:cubicBezTo>
                  <a:cubicBezTo>
                    <a:pt x="7" y="7"/>
                    <a:pt x="7" y="7"/>
                    <a:pt x="7" y="7"/>
                  </a:cubicBezTo>
                  <a:cubicBezTo>
                    <a:pt x="14" y="12"/>
                    <a:pt x="30" y="13"/>
                    <a:pt x="40" y="2"/>
                  </a:cubicBezTo>
                  <a:cubicBezTo>
                    <a:pt x="42" y="1"/>
                    <a:pt x="44" y="0"/>
                    <a:pt x="46" y="1"/>
                  </a:cubicBezTo>
                  <a:cubicBezTo>
                    <a:pt x="47" y="1"/>
                    <a:pt x="49" y="2"/>
                    <a:pt x="50" y="4"/>
                  </a:cubicBezTo>
                  <a:cubicBezTo>
                    <a:pt x="53" y="9"/>
                    <a:pt x="58" y="10"/>
                    <a:pt x="60" y="11"/>
                  </a:cubicBezTo>
                  <a:cubicBezTo>
                    <a:pt x="65" y="11"/>
                    <a:pt x="69" y="10"/>
                    <a:pt x="70" y="9"/>
                  </a:cubicBezTo>
                  <a:cubicBezTo>
                    <a:pt x="79" y="17"/>
                    <a:pt x="79" y="17"/>
                    <a:pt x="79" y="17"/>
                  </a:cubicBezTo>
                  <a:cubicBezTo>
                    <a:pt x="75" y="21"/>
                    <a:pt x="69" y="23"/>
                    <a:pt x="63" y="2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02" name="Freeform 19">
              <a:extLst>
                <a:ext uri="{FF2B5EF4-FFF2-40B4-BE49-F238E27FC236}">
                  <a16:creationId xmlns:a16="http://schemas.microsoft.com/office/drawing/2014/main" id="{C8DD34ED-23FB-DA84-CCD3-A1FF55AEFC38}"/>
                </a:ext>
              </a:extLst>
            </p:cNvPr>
            <p:cNvSpPr>
              <a:spLocks/>
            </p:cNvSpPr>
            <p:nvPr/>
          </p:nvSpPr>
          <p:spPr bwMode="auto">
            <a:xfrm>
              <a:off x="2824" y="781"/>
              <a:ext cx="110" cy="79"/>
            </a:xfrm>
            <a:custGeom>
              <a:avLst/>
              <a:gdLst>
                <a:gd name="T0" fmla="*/ 72 w 72"/>
                <a:gd name="T1" fmla="*/ 53 h 53"/>
                <a:gd name="T2" fmla="*/ 6 w 72"/>
                <a:gd name="T3" fmla="*/ 53 h 53"/>
                <a:gd name="T4" fmla="*/ 0 w 72"/>
                <a:gd name="T5" fmla="*/ 47 h 53"/>
                <a:gd name="T6" fmla="*/ 0 w 72"/>
                <a:gd name="T7" fmla="*/ 41 h 53"/>
                <a:gd name="T8" fmla="*/ 16 w 72"/>
                <a:gd name="T9" fmla="*/ 20 h 53"/>
                <a:gd name="T10" fmla="*/ 42 w 72"/>
                <a:gd name="T11" fmla="*/ 12 h 53"/>
                <a:gd name="T12" fmla="*/ 42 w 72"/>
                <a:gd name="T13" fmla="*/ 0 h 53"/>
                <a:gd name="T14" fmla="*/ 54 w 72"/>
                <a:gd name="T15" fmla="*/ 0 h 53"/>
                <a:gd name="T16" fmla="*/ 54 w 72"/>
                <a:gd name="T17" fmla="*/ 17 h 53"/>
                <a:gd name="T18" fmla="*/ 49 w 72"/>
                <a:gd name="T19" fmla="*/ 22 h 53"/>
                <a:gd name="T20" fmla="*/ 19 w 72"/>
                <a:gd name="T21" fmla="*/ 31 h 53"/>
                <a:gd name="T22" fmla="*/ 12 w 72"/>
                <a:gd name="T23" fmla="*/ 41 h 53"/>
                <a:gd name="T24" fmla="*/ 72 w 72"/>
                <a:gd name="T25" fmla="*/ 41 h 53"/>
                <a:gd name="T26" fmla="*/ 72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72" y="53"/>
                  </a:moveTo>
                  <a:cubicBezTo>
                    <a:pt x="6" y="53"/>
                    <a:pt x="6" y="53"/>
                    <a:pt x="6" y="53"/>
                  </a:cubicBezTo>
                  <a:cubicBezTo>
                    <a:pt x="2" y="53"/>
                    <a:pt x="0" y="50"/>
                    <a:pt x="0" y="47"/>
                  </a:cubicBezTo>
                  <a:cubicBezTo>
                    <a:pt x="0" y="41"/>
                    <a:pt x="0" y="41"/>
                    <a:pt x="0" y="41"/>
                  </a:cubicBezTo>
                  <a:cubicBezTo>
                    <a:pt x="0" y="31"/>
                    <a:pt x="7" y="22"/>
                    <a:pt x="16" y="20"/>
                  </a:cubicBezTo>
                  <a:cubicBezTo>
                    <a:pt x="42" y="12"/>
                    <a:pt x="42" y="12"/>
                    <a:pt x="42" y="12"/>
                  </a:cubicBezTo>
                  <a:cubicBezTo>
                    <a:pt x="42" y="0"/>
                    <a:pt x="42" y="0"/>
                    <a:pt x="42" y="0"/>
                  </a:cubicBezTo>
                  <a:cubicBezTo>
                    <a:pt x="54" y="0"/>
                    <a:pt x="54" y="0"/>
                    <a:pt x="54" y="0"/>
                  </a:cubicBezTo>
                  <a:cubicBezTo>
                    <a:pt x="54" y="17"/>
                    <a:pt x="54" y="17"/>
                    <a:pt x="54" y="17"/>
                  </a:cubicBezTo>
                  <a:cubicBezTo>
                    <a:pt x="54" y="19"/>
                    <a:pt x="52" y="22"/>
                    <a:pt x="49" y="22"/>
                  </a:cubicBezTo>
                  <a:cubicBezTo>
                    <a:pt x="19" y="31"/>
                    <a:pt x="19" y="31"/>
                    <a:pt x="19" y="31"/>
                  </a:cubicBezTo>
                  <a:cubicBezTo>
                    <a:pt x="15" y="32"/>
                    <a:pt x="12" y="37"/>
                    <a:pt x="12" y="41"/>
                  </a:cubicBezTo>
                  <a:cubicBezTo>
                    <a:pt x="72" y="41"/>
                    <a:pt x="72" y="41"/>
                    <a:pt x="72" y="41"/>
                  </a:cubicBezTo>
                  <a:lnTo>
                    <a:pt x="72" y="5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03" name="Freeform 20">
              <a:extLst>
                <a:ext uri="{FF2B5EF4-FFF2-40B4-BE49-F238E27FC236}">
                  <a16:creationId xmlns:a16="http://schemas.microsoft.com/office/drawing/2014/main" id="{FCED3C49-7214-6DE4-77F8-46A55E3286C5}"/>
                </a:ext>
              </a:extLst>
            </p:cNvPr>
            <p:cNvSpPr>
              <a:spLocks/>
            </p:cNvSpPr>
            <p:nvPr/>
          </p:nvSpPr>
          <p:spPr bwMode="auto">
            <a:xfrm>
              <a:off x="2916" y="781"/>
              <a:ext cx="110" cy="79"/>
            </a:xfrm>
            <a:custGeom>
              <a:avLst/>
              <a:gdLst>
                <a:gd name="T0" fmla="*/ 66 w 72"/>
                <a:gd name="T1" fmla="*/ 53 h 53"/>
                <a:gd name="T2" fmla="*/ 0 w 72"/>
                <a:gd name="T3" fmla="*/ 53 h 53"/>
                <a:gd name="T4" fmla="*/ 0 w 72"/>
                <a:gd name="T5" fmla="*/ 41 h 53"/>
                <a:gd name="T6" fmla="*/ 60 w 72"/>
                <a:gd name="T7" fmla="*/ 41 h 53"/>
                <a:gd name="T8" fmla="*/ 52 w 72"/>
                <a:gd name="T9" fmla="*/ 31 h 53"/>
                <a:gd name="T10" fmla="*/ 22 w 72"/>
                <a:gd name="T11" fmla="*/ 22 h 53"/>
                <a:gd name="T12" fmla="*/ 18 w 72"/>
                <a:gd name="T13" fmla="*/ 17 h 53"/>
                <a:gd name="T14" fmla="*/ 18 w 72"/>
                <a:gd name="T15" fmla="*/ 0 h 53"/>
                <a:gd name="T16" fmla="*/ 30 w 72"/>
                <a:gd name="T17" fmla="*/ 0 h 53"/>
                <a:gd name="T18" fmla="*/ 30 w 72"/>
                <a:gd name="T19" fmla="*/ 12 h 53"/>
                <a:gd name="T20" fmla="*/ 56 w 72"/>
                <a:gd name="T21" fmla="*/ 20 h 53"/>
                <a:gd name="T22" fmla="*/ 72 w 72"/>
                <a:gd name="T23" fmla="*/ 41 h 53"/>
                <a:gd name="T24" fmla="*/ 72 w 72"/>
                <a:gd name="T25" fmla="*/ 47 h 53"/>
                <a:gd name="T26" fmla="*/ 66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66" y="53"/>
                  </a:moveTo>
                  <a:cubicBezTo>
                    <a:pt x="0" y="53"/>
                    <a:pt x="0" y="53"/>
                    <a:pt x="0" y="53"/>
                  </a:cubicBezTo>
                  <a:cubicBezTo>
                    <a:pt x="0" y="41"/>
                    <a:pt x="0" y="41"/>
                    <a:pt x="0" y="41"/>
                  </a:cubicBezTo>
                  <a:cubicBezTo>
                    <a:pt x="60" y="41"/>
                    <a:pt x="60" y="41"/>
                    <a:pt x="60" y="41"/>
                  </a:cubicBezTo>
                  <a:cubicBezTo>
                    <a:pt x="60" y="37"/>
                    <a:pt x="56" y="32"/>
                    <a:pt x="52" y="31"/>
                  </a:cubicBezTo>
                  <a:cubicBezTo>
                    <a:pt x="22" y="22"/>
                    <a:pt x="22" y="22"/>
                    <a:pt x="22" y="22"/>
                  </a:cubicBezTo>
                  <a:cubicBezTo>
                    <a:pt x="19" y="22"/>
                    <a:pt x="18" y="19"/>
                    <a:pt x="18" y="17"/>
                  </a:cubicBezTo>
                  <a:cubicBezTo>
                    <a:pt x="18" y="0"/>
                    <a:pt x="18" y="0"/>
                    <a:pt x="18" y="0"/>
                  </a:cubicBezTo>
                  <a:cubicBezTo>
                    <a:pt x="30" y="0"/>
                    <a:pt x="30" y="0"/>
                    <a:pt x="30" y="0"/>
                  </a:cubicBezTo>
                  <a:cubicBezTo>
                    <a:pt x="30" y="12"/>
                    <a:pt x="30" y="12"/>
                    <a:pt x="30" y="12"/>
                  </a:cubicBezTo>
                  <a:cubicBezTo>
                    <a:pt x="56" y="20"/>
                    <a:pt x="56" y="20"/>
                    <a:pt x="56" y="20"/>
                  </a:cubicBezTo>
                  <a:cubicBezTo>
                    <a:pt x="65" y="22"/>
                    <a:pt x="72" y="31"/>
                    <a:pt x="72" y="41"/>
                  </a:cubicBezTo>
                  <a:cubicBezTo>
                    <a:pt x="72" y="47"/>
                    <a:pt x="72" y="47"/>
                    <a:pt x="72" y="47"/>
                  </a:cubicBezTo>
                  <a:cubicBezTo>
                    <a:pt x="72" y="50"/>
                    <a:pt x="69" y="53"/>
                    <a:pt x="66" y="5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04" name="Freeform 21">
              <a:extLst>
                <a:ext uri="{FF2B5EF4-FFF2-40B4-BE49-F238E27FC236}">
                  <a16:creationId xmlns:a16="http://schemas.microsoft.com/office/drawing/2014/main" id="{F53FA080-0C4D-083D-B8AA-8326AB55992B}"/>
                </a:ext>
              </a:extLst>
            </p:cNvPr>
            <p:cNvSpPr>
              <a:spLocks noEditPoints="1"/>
            </p:cNvSpPr>
            <p:nvPr/>
          </p:nvSpPr>
          <p:spPr bwMode="auto">
            <a:xfrm>
              <a:off x="2861" y="663"/>
              <a:ext cx="128" cy="134"/>
            </a:xfrm>
            <a:custGeom>
              <a:avLst/>
              <a:gdLst>
                <a:gd name="T0" fmla="*/ 42 w 84"/>
                <a:gd name="T1" fmla="*/ 90 h 90"/>
                <a:gd name="T2" fmla="*/ 0 w 84"/>
                <a:gd name="T3" fmla="*/ 45 h 90"/>
                <a:gd name="T4" fmla="*/ 42 w 84"/>
                <a:gd name="T5" fmla="*/ 0 h 90"/>
                <a:gd name="T6" fmla="*/ 84 w 84"/>
                <a:gd name="T7" fmla="*/ 45 h 90"/>
                <a:gd name="T8" fmla="*/ 42 w 84"/>
                <a:gd name="T9" fmla="*/ 90 h 90"/>
                <a:gd name="T10" fmla="*/ 42 w 84"/>
                <a:gd name="T11" fmla="*/ 12 h 90"/>
                <a:gd name="T12" fmla="*/ 12 w 84"/>
                <a:gd name="T13" fmla="*/ 45 h 90"/>
                <a:gd name="T14" fmla="*/ 42 w 84"/>
                <a:gd name="T15" fmla="*/ 78 h 90"/>
                <a:gd name="T16" fmla="*/ 72 w 84"/>
                <a:gd name="T17" fmla="*/ 45 h 90"/>
                <a:gd name="T18" fmla="*/ 42 w 84"/>
                <a:gd name="T1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90">
                  <a:moveTo>
                    <a:pt x="42" y="90"/>
                  </a:moveTo>
                  <a:cubicBezTo>
                    <a:pt x="18" y="90"/>
                    <a:pt x="0" y="70"/>
                    <a:pt x="0" y="45"/>
                  </a:cubicBezTo>
                  <a:cubicBezTo>
                    <a:pt x="0" y="20"/>
                    <a:pt x="18" y="0"/>
                    <a:pt x="42" y="0"/>
                  </a:cubicBezTo>
                  <a:cubicBezTo>
                    <a:pt x="65" y="0"/>
                    <a:pt x="84" y="20"/>
                    <a:pt x="84" y="45"/>
                  </a:cubicBezTo>
                  <a:cubicBezTo>
                    <a:pt x="84" y="70"/>
                    <a:pt x="65" y="90"/>
                    <a:pt x="42" y="90"/>
                  </a:cubicBezTo>
                  <a:close/>
                  <a:moveTo>
                    <a:pt x="42" y="12"/>
                  </a:moveTo>
                  <a:cubicBezTo>
                    <a:pt x="25" y="12"/>
                    <a:pt x="12" y="27"/>
                    <a:pt x="12" y="45"/>
                  </a:cubicBezTo>
                  <a:cubicBezTo>
                    <a:pt x="12" y="63"/>
                    <a:pt x="25" y="78"/>
                    <a:pt x="42" y="78"/>
                  </a:cubicBezTo>
                  <a:cubicBezTo>
                    <a:pt x="58" y="78"/>
                    <a:pt x="72" y="63"/>
                    <a:pt x="72" y="45"/>
                  </a:cubicBezTo>
                  <a:cubicBezTo>
                    <a:pt x="72" y="27"/>
                    <a:pt x="58" y="12"/>
                    <a:pt x="42"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05" name="Freeform 22">
              <a:extLst>
                <a:ext uri="{FF2B5EF4-FFF2-40B4-BE49-F238E27FC236}">
                  <a16:creationId xmlns:a16="http://schemas.microsoft.com/office/drawing/2014/main" id="{FE964D7C-678B-4DC8-B8B6-396AE68F39F0}"/>
                </a:ext>
              </a:extLst>
            </p:cNvPr>
            <p:cNvSpPr>
              <a:spLocks/>
            </p:cNvSpPr>
            <p:nvPr/>
          </p:nvSpPr>
          <p:spPr bwMode="auto">
            <a:xfrm>
              <a:off x="2865" y="700"/>
              <a:ext cx="120" cy="38"/>
            </a:xfrm>
            <a:custGeom>
              <a:avLst/>
              <a:gdLst>
                <a:gd name="T0" fmla="*/ 63 w 78"/>
                <a:gd name="T1" fmla="*/ 23 h 25"/>
                <a:gd name="T2" fmla="*/ 59 w 78"/>
                <a:gd name="T3" fmla="*/ 23 h 25"/>
                <a:gd name="T4" fmla="*/ 44 w 78"/>
                <a:gd name="T5" fmla="*/ 15 h 25"/>
                <a:gd name="T6" fmla="*/ 0 w 78"/>
                <a:gd name="T7" fmla="*/ 17 h 25"/>
                <a:gd name="T8" fmla="*/ 7 w 78"/>
                <a:gd name="T9" fmla="*/ 7 h 25"/>
                <a:gd name="T10" fmla="*/ 40 w 78"/>
                <a:gd name="T11" fmla="*/ 2 h 25"/>
                <a:gd name="T12" fmla="*/ 46 w 78"/>
                <a:gd name="T13" fmla="*/ 1 h 25"/>
                <a:gd name="T14" fmla="*/ 50 w 78"/>
                <a:gd name="T15" fmla="*/ 4 h 25"/>
                <a:gd name="T16" fmla="*/ 60 w 78"/>
                <a:gd name="T17" fmla="*/ 11 h 25"/>
                <a:gd name="T18" fmla="*/ 70 w 78"/>
                <a:gd name="T19" fmla="*/ 9 h 25"/>
                <a:gd name="T20" fmla="*/ 78 w 78"/>
                <a:gd name="T21" fmla="*/ 17 h 25"/>
                <a:gd name="T22" fmla="*/ 63 w 78"/>
                <a:gd name="T2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25">
                  <a:moveTo>
                    <a:pt x="63" y="23"/>
                  </a:moveTo>
                  <a:cubicBezTo>
                    <a:pt x="61" y="23"/>
                    <a:pt x="60" y="23"/>
                    <a:pt x="59" y="23"/>
                  </a:cubicBezTo>
                  <a:cubicBezTo>
                    <a:pt x="53" y="22"/>
                    <a:pt x="48" y="19"/>
                    <a:pt x="44" y="15"/>
                  </a:cubicBezTo>
                  <a:cubicBezTo>
                    <a:pt x="30" y="25"/>
                    <a:pt x="11" y="24"/>
                    <a:pt x="0" y="17"/>
                  </a:cubicBezTo>
                  <a:cubicBezTo>
                    <a:pt x="7" y="7"/>
                    <a:pt x="7" y="7"/>
                    <a:pt x="7" y="7"/>
                  </a:cubicBezTo>
                  <a:cubicBezTo>
                    <a:pt x="14" y="12"/>
                    <a:pt x="30" y="13"/>
                    <a:pt x="40" y="2"/>
                  </a:cubicBezTo>
                  <a:cubicBezTo>
                    <a:pt x="42" y="1"/>
                    <a:pt x="44" y="0"/>
                    <a:pt x="46" y="1"/>
                  </a:cubicBezTo>
                  <a:cubicBezTo>
                    <a:pt x="47" y="1"/>
                    <a:pt x="49" y="2"/>
                    <a:pt x="50" y="4"/>
                  </a:cubicBezTo>
                  <a:cubicBezTo>
                    <a:pt x="53" y="9"/>
                    <a:pt x="58" y="10"/>
                    <a:pt x="60" y="11"/>
                  </a:cubicBezTo>
                  <a:cubicBezTo>
                    <a:pt x="65" y="11"/>
                    <a:pt x="68" y="10"/>
                    <a:pt x="70" y="9"/>
                  </a:cubicBezTo>
                  <a:cubicBezTo>
                    <a:pt x="78" y="17"/>
                    <a:pt x="78" y="17"/>
                    <a:pt x="78" y="17"/>
                  </a:cubicBezTo>
                  <a:cubicBezTo>
                    <a:pt x="75" y="21"/>
                    <a:pt x="69" y="23"/>
                    <a:pt x="63" y="2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06" name="Freeform 23">
              <a:extLst>
                <a:ext uri="{FF2B5EF4-FFF2-40B4-BE49-F238E27FC236}">
                  <a16:creationId xmlns:a16="http://schemas.microsoft.com/office/drawing/2014/main" id="{D17C5065-3C3D-E6FA-80B6-BC3F2DB557FF}"/>
                </a:ext>
              </a:extLst>
            </p:cNvPr>
            <p:cNvSpPr>
              <a:spLocks/>
            </p:cNvSpPr>
            <p:nvPr/>
          </p:nvSpPr>
          <p:spPr bwMode="auto">
            <a:xfrm>
              <a:off x="2705" y="1014"/>
              <a:ext cx="110" cy="79"/>
            </a:xfrm>
            <a:custGeom>
              <a:avLst/>
              <a:gdLst>
                <a:gd name="T0" fmla="*/ 72 w 72"/>
                <a:gd name="T1" fmla="*/ 53 h 53"/>
                <a:gd name="T2" fmla="*/ 6 w 72"/>
                <a:gd name="T3" fmla="*/ 53 h 53"/>
                <a:gd name="T4" fmla="*/ 0 w 72"/>
                <a:gd name="T5" fmla="*/ 47 h 53"/>
                <a:gd name="T6" fmla="*/ 0 w 72"/>
                <a:gd name="T7" fmla="*/ 41 h 53"/>
                <a:gd name="T8" fmla="*/ 16 w 72"/>
                <a:gd name="T9" fmla="*/ 20 h 53"/>
                <a:gd name="T10" fmla="*/ 42 w 72"/>
                <a:gd name="T11" fmla="*/ 12 h 53"/>
                <a:gd name="T12" fmla="*/ 42 w 72"/>
                <a:gd name="T13" fmla="*/ 0 h 53"/>
                <a:gd name="T14" fmla="*/ 54 w 72"/>
                <a:gd name="T15" fmla="*/ 0 h 53"/>
                <a:gd name="T16" fmla="*/ 54 w 72"/>
                <a:gd name="T17" fmla="*/ 17 h 53"/>
                <a:gd name="T18" fmla="*/ 49 w 72"/>
                <a:gd name="T19" fmla="*/ 22 h 53"/>
                <a:gd name="T20" fmla="*/ 19 w 72"/>
                <a:gd name="T21" fmla="*/ 31 h 53"/>
                <a:gd name="T22" fmla="*/ 12 w 72"/>
                <a:gd name="T23" fmla="*/ 41 h 53"/>
                <a:gd name="T24" fmla="*/ 72 w 72"/>
                <a:gd name="T25" fmla="*/ 41 h 53"/>
                <a:gd name="T26" fmla="*/ 72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72" y="53"/>
                  </a:moveTo>
                  <a:cubicBezTo>
                    <a:pt x="6" y="53"/>
                    <a:pt x="6" y="53"/>
                    <a:pt x="6" y="53"/>
                  </a:cubicBezTo>
                  <a:cubicBezTo>
                    <a:pt x="2" y="53"/>
                    <a:pt x="0" y="50"/>
                    <a:pt x="0" y="47"/>
                  </a:cubicBezTo>
                  <a:cubicBezTo>
                    <a:pt x="0" y="41"/>
                    <a:pt x="0" y="41"/>
                    <a:pt x="0" y="41"/>
                  </a:cubicBezTo>
                  <a:cubicBezTo>
                    <a:pt x="0" y="31"/>
                    <a:pt x="7" y="22"/>
                    <a:pt x="16" y="20"/>
                  </a:cubicBezTo>
                  <a:cubicBezTo>
                    <a:pt x="42" y="12"/>
                    <a:pt x="42" y="12"/>
                    <a:pt x="42" y="12"/>
                  </a:cubicBezTo>
                  <a:cubicBezTo>
                    <a:pt x="42" y="0"/>
                    <a:pt x="42" y="0"/>
                    <a:pt x="42" y="0"/>
                  </a:cubicBezTo>
                  <a:cubicBezTo>
                    <a:pt x="54" y="0"/>
                    <a:pt x="54" y="0"/>
                    <a:pt x="54" y="0"/>
                  </a:cubicBezTo>
                  <a:cubicBezTo>
                    <a:pt x="54" y="17"/>
                    <a:pt x="54" y="17"/>
                    <a:pt x="54" y="17"/>
                  </a:cubicBezTo>
                  <a:cubicBezTo>
                    <a:pt x="54" y="19"/>
                    <a:pt x="52" y="22"/>
                    <a:pt x="49" y="22"/>
                  </a:cubicBezTo>
                  <a:cubicBezTo>
                    <a:pt x="19" y="31"/>
                    <a:pt x="19" y="31"/>
                    <a:pt x="19" y="31"/>
                  </a:cubicBezTo>
                  <a:cubicBezTo>
                    <a:pt x="15" y="32"/>
                    <a:pt x="12" y="37"/>
                    <a:pt x="12" y="41"/>
                  </a:cubicBezTo>
                  <a:cubicBezTo>
                    <a:pt x="72" y="41"/>
                    <a:pt x="72" y="41"/>
                    <a:pt x="72" y="41"/>
                  </a:cubicBezTo>
                  <a:lnTo>
                    <a:pt x="72" y="5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07" name="Freeform 24">
              <a:extLst>
                <a:ext uri="{FF2B5EF4-FFF2-40B4-BE49-F238E27FC236}">
                  <a16:creationId xmlns:a16="http://schemas.microsoft.com/office/drawing/2014/main" id="{A42498AF-73DA-477C-E1F8-6C2CDEDC71A0}"/>
                </a:ext>
              </a:extLst>
            </p:cNvPr>
            <p:cNvSpPr>
              <a:spLocks/>
            </p:cNvSpPr>
            <p:nvPr/>
          </p:nvSpPr>
          <p:spPr bwMode="auto">
            <a:xfrm>
              <a:off x="2796" y="1014"/>
              <a:ext cx="111" cy="79"/>
            </a:xfrm>
            <a:custGeom>
              <a:avLst/>
              <a:gdLst>
                <a:gd name="T0" fmla="*/ 66 w 72"/>
                <a:gd name="T1" fmla="*/ 53 h 53"/>
                <a:gd name="T2" fmla="*/ 0 w 72"/>
                <a:gd name="T3" fmla="*/ 53 h 53"/>
                <a:gd name="T4" fmla="*/ 0 w 72"/>
                <a:gd name="T5" fmla="*/ 41 h 53"/>
                <a:gd name="T6" fmla="*/ 60 w 72"/>
                <a:gd name="T7" fmla="*/ 41 h 53"/>
                <a:gd name="T8" fmla="*/ 52 w 72"/>
                <a:gd name="T9" fmla="*/ 31 h 53"/>
                <a:gd name="T10" fmla="*/ 22 w 72"/>
                <a:gd name="T11" fmla="*/ 22 h 53"/>
                <a:gd name="T12" fmla="*/ 18 w 72"/>
                <a:gd name="T13" fmla="*/ 17 h 53"/>
                <a:gd name="T14" fmla="*/ 18 w 72"/>
                <a:gd name="T15" fmla="*/ 0 h 53"/>
                <a:gd name="T16" fmla="*/ 30 w 72"/>
                <a:gd name="T17" fmla="*/ 0 h 53"/>
                <a:gd name="T18" fmla="*/ 30 w 72"/>
                <a:gd name="T19" fmla="*/ 12 h 53"/>
                <a:gd name="T20" fmla="*/ 56 w 72"/>
                <a:gd name="T21" fmla="*/ 20 h 53"/>
                <a:gd name="T22" fmla="*/ 72 w 72"/>
                <a:gd name="T23" fmla="*/ 41 h 53"/>
                <a:gd name="T24" fmla="*/ 72 w 72"/>
                <a:gd name="T25" fmla="*/ 47 h 53"/>
                <a:gd name="T26" fmla="*/ 66 w 72"/>
                <a:gd name="T2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3">
                  <a:moveTo>
                    <a:pt x="66" y="53"/>
                  </a:moveTo>
                  <a:cubicBezTo>
                    <a:pt x="0" y="53"/>
                    <a:pt x="0" y="53"/>
                    <a:pt x="0" y="53"/>
                  </a:cubicBezTo>
                  <a:cubicBezTo>
                    <a:pt x="0" y="41"/>
                    <a:pt x="0" y="41"/>
                    <a:pt x="0" y="41"/>
                  </a:cubicBezTo>
                  <a:cubicBezTo>
                    <a:pt x="60" y="41"/>
                    <a:pt x="60" y="41"/>
                    <a:pt x="60" y="41"/>
                  </a:cubicBezTo>
                  <a:cubicBezTo>
                    <a:pt x="60" y="37"/>
                    <a:pt x="56" y="32"/>
                    <a:pt x="52" y="31"/>
                  </a:cubicBezTo>
                  <a:cubicBezTo>
                    <a:pt x="22" y="22"/>
                    <a:pt x="22" y="22"/>
                    <a:pt x="22" y="22"/>
                  </a:cubicBezTo>
                  <a:cubicBezTo>
                    <a:pt x="19" y="22"/>
                    <a:pt x="18" y="19"/>
                    <a:pt x="18" y="17"/>
                  </a:cubicBezTo>
                  <a:cubicBezTo>
                    <a:pt x="18" y="0"/>
                    <a:pt x="18" y="0"/>
                    <a:pt x="18" y="0"/>
                  </a:cubicBezTo>
                  <a:cubicBezTo>
                    <a:pt x="30" y="0"/>
                    <a:pt x="30" y="0"/>
                    <a:pt x="30" y="0"/>
                  </a:cubicBezTo>
                  <a:cubicBezTo>
                    <a:pt x="30" y="12"/>
                    <a:pt x="30" y="12"/>
                    <a:pt x="30" y="12"/>
                  </a:cubicBezTo>
                  <a:cubicBezTo>
                    <a:pt x="56" y="20"/>
                    <a:pt x="56" y="20"/>
                    <a:pt x="56" y="20"/>
                  </a:cubicBezTo>
                  <a:cubicBezTo>
                    <a:pt x="65" y="22"/>
                    <a:pt x="72" y="31"/>
                    <a:pt x="72" y="41"/>
                  </a:cubicBezTo>
                  <a:cubicBezTo>
                    <a:pt x="72" y="47"/>
                    <a:pt x="72" y="47"/>
                    <a:pt x="72" y="47"/>
                  </a:cubicBezTo>
                  <a:cubicBezTo>
                    <a:pt x="72" y="50"/>
                    <a:pt x="69" y="53"/>
                    <a:pt x="66" y="5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08" name="Freeform 25">
              <a:extLst>
                <a:ext uri="{FF2B5EF4-FFF2-40B4-BE49-F238E27FC236}">
                  <a16:creationId xmlns:a16="http://schemas.microsoft.com/office/drawing/2014/main" id="{3F98E8A0-CCC5-49E2-0677-21CE5AE559DF}"/>
                </a:ext>
              </a:extLst>
            </p:cNvPr>
            <p:cNvSpPr>
              <a:spLocks noEditPoints="1"/>
            </p:cNvSpPr>
            <p:nvPr/>
          </p:nvSpPr>
          <p:spPr bwMode="auto">
            <a:xfrm>
              <a:off x="2741" y="896"/>
              <a:ext cx="129" cy="134"/>
            </a:xfrm>
            <a:custGeom>
              <a:avLst/>
              <a:gdLst>
                <a:gd name="T0" fmla="*/ 42 w 84"/>
                <a:gd name="T1" fmla="*/ 90 h 90"/>
                <a:gd name="T2" fmla="*/ 0 w 84"/>
                <a:gd name="T3" fmla="*/ 45 h 90"/>
                <a:gd name="T4" fmla="*/ 42 w 84"/>
                <a:gd name="T5" fmla="*/ 0 h 90"/>
                <a:gd name="T6" fmla="*/ 84 w 84"/>
                <a:gd name="T7" fmla="*/ 45 h 90"/>
                <a:gd name="T8" fmla="*/ 42 w 84"/>
                <a:gd name="T9" fmla="*/ 90 h 90"/>
                <a:gd name="T10" fmla="*/ 42 w 84"/>
                <a:gd name="T11" fmla="*/ 12 h 90"/>
                <a:gd name="T12" fmla="*/ 12 w 84"/>
                <a:gd name="T13" fmla="*/ 45 h 90"/>
                <a:gd name="T14" fmla="*/ 42 w 84"/>
                <a:gd name="T15" fmla="*/ 78 h 90"/>
                <a:gd name="T16" fmla="*/ 72 w 84"/>
                <a:gd name="T17" fmla="*/ 45 h 90"/>
                <a:gd name="T18" fmla="*/ 42 w 84"/>
                <a:gd name="T1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90">
                  <a:moveTo>
                    <a:pt x="42" y="90"/>
                  </a:moveTo>
                  <a:cubicBezTo>
                    <a:pt x="18" y="90"/>
                    <a:pt x="0" y="70"/>
                    <a:pt x="0" y="45"/>
                  </a:cubicBezTo>
                  <a:cubicBezTo>
                    <a:pt x="0" y="20"/>
                    <a:pt x="18" y="0"/>
                    <a:pt x="42" y="0"/>
                  </a:cubicBezTo>
                  <a:cubicBezTo>
                    <a:pt x="65" y="0"/>
                    <a:pt x="84" y="20"/>
                    <a:pt x="84" y="45"/>
                  </a:cubicBezTo>
                  <a:cubicBezTo>
                    <a:pt x="84" y="70"/>
                    <a:pt x="65" y="90"/>
                    <a:pt x="42" y="90"/>
                  </a:cubicBezTo>
                  <a:close/>
                  <a:moveTo>
                    <a:pt x="42" y="12"/>
                  </a:moveTo>
                  <a:cubicBezTo>
                    <a:pt x="25" y="12"/>
                    <a:pt x="12" y="27"/>
                    <a:pt x="12" y="45"/>
                  </a:cubicBezTo>
                  <a:cubicBezTo>
                    <a:pt x="12" y="63"/>
                    <a:pt x="25" y="78"/>
                    <a:pt x="42" y="78"/>
                  </a:cubicBezTo>
                  <a:cubicBezTo>
                    <a:pt x="58" y="78"/>
                    <a:pt x="72" y="63"/>
                    <a:pt x="72" y="45"/>
                  </a:cubicBezTo>
                  <a:cubicBezTo>
                    <a:pt x="72" y="27"/>
                    <a:pt x="58" y="12"/>
                    <a:pt x="42"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09" name="Freeform 26">
              <a:extLst>
                <a:ext uri="{FF2B5EF4-FFF2-40B4-BE49-F238E27FC236}">
                  <a16:creationId xmlns:a16="http://schemas.microsoft.com/office/drawing/2014/main" id="{EBAA79FD-CD3C-009B-E6F5-24421EB3FFD5}"/>
                </a:ext>
              </a:extLst>
            </p:cNvPr>
            <p:cNvSpPr>
              <a:spLocks/>
            </p:cNvSpPr>
            <p:nvPr/>
          </p:nvSpPr>
          <p:spPr bwMode="auto">
            <a:xfrm>
              <a:off x="2746" y="933"/>
              <a:ext cx="119" cy="38"/>
            </a:xfrm>
            <a:custGeom>
              <a:avLst/>
              <a:gdLst>
                <a:gd name="T0" fmla="*/ 62 w 78"/>
                <a:gd name="T1" fmla="*/ 23 h 25"/>
                <a:gd name="T2" fmla="*/ 58 w 78"/>
                <a:gd name="T3" fmla="*/ 22 h 25"/>
                <a:gd name="T4" fmla="*/ 44 w 78"/>
                <a:gd name="T5" fmla="*/ 15 h 25"/>
                <a:gd name="T6" fmla="*/ 0 w 78"/>
                <a:gd name="T7" fmla="*/ 17 h 25"/>
                <a:gd name="T8" fmla="*/ 7 w 78"/>
                <a:gd name="T9" fmla="*/ 7 h 25"/>
                <a:gd name="T10" fmla="*/ 40 w 78"/>
                <a:gd name="T11" fmla="*/ 2 h 25"/>
                <a:gd name="T12" fmla="*/ 46 w 78"/>
                <a:gd name="T13" fmla="*/ 1 h 25"/>
                <a:gd name="T14" fmla="*/ 50 w 78"/>
                <a:gd name="T15" fmla="*/ 4 h 25"/>
                <a:gd name="T16" fmla="*/ 60 w 78"/>
                <a:gd name="T17" fmla="*/ 10 h 25"/>
                <a:gd name="T18" fmla="*/ 70 w 78"/>
                <a:gd name="T19" fmla="*/ 8 h 25"/>
                <a:gd name="T20" fmla="*/ 78 w 78"/>
                <a:gd name="T21" fmla="*/ 17 h 25"/>
                <a:gd name="T22" fmla="*/ 62 w 78"/>
                <a:gd name="T2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25">
                  <a:moveTo>
                    <a:pt x="62" y="23"/>
                  </a:moveTo>
                  <a:cubicBezTo>
                    <a:pt x="61" y="23"/>
                    <a:pt x="60" y="23"/>
                    <a:pt x="58" y="22"/>
                  </a:cubicBezTo>
                  <a:cubicBezTo>
                    <a:pt x="53" y="21"/>
                    <a:pt x="47" y="19"/>
                    <a:pt x="44" y="15"/>
                  </a:cubicBezTo>
                  <a:cubicBezTo>
                    <a:pt x="30" y="25"/>
                    <a:pt x="11" y="24"/>
                    <a:pt x="0" y="17"/>
                  </a:cubicBezTo>
                  <a:cubicBezTo>
                    <a:pt x="7" y="7"/>
                    <a:pt x="7" y="7"/>
                    <a:pt x="7" y="7"/>
                  </a:cubicBezTo>
                  <a:cubicBezTo>
                    <a:pt x="14" y="12"/>
                    <a:pt x="30" y="13"/>
                    <a:pt x="40" y="2"/>
                  </a:cubicBezTo>
                  <a:cubicBezTo>
                    <a:pt x="42" y="1"/>
                    <a:pt x="44" y="0"/>
                    <a:pt x="46" y="1"/>
                  </a:cubicBezTo>
                  <a:cubicBezTo>
                    <a:pt x="47" y="1"/>
                    <a:pt x="49" y="2"/>
                    <a:pt x="50" y="4"/>
                  </a:cubicBezTo>
                  <a:cubicBezTo>
                    <a:pt x="53" y="9"/>
                    <a:pt x="57" y="10"/>
                    <a:pt x="60" y="10"/>
                  </a:cubicBezTo>
                  <a:cubicBezTo>
                    <a:pt x="64" y="11"/>
                    <a:pt x="68" y="10"/>
                    <a:pt x="70" y="8"/>
                  </a:cubicBezTo>
                  <a:cubicBezTo>
                    <a:pt x="78" y="17"/>
                    <a:pt x="78" y="17"/>
                    <a:pt x="78" y="17"/>
                  </a:cubicBezTo>
                  <a:cubicBezTo>
                    <a:pt x="75" y="21"/>
                    <a:pt x="69" y="23"/>
                    <a:pt x="62" y="2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10" name="Freeform 27">
              <a:extLst>
                <a:ext uri="{FF2B5EF4-FFF2-40B4-BE49-F238E27FC236}">
                  <a16:creationId xmlns:a16="http://schemas.microsoft.com/office/drawing/2014/main" id="{29EA8B05-5D0D-EF62-F6DB-04B2A9DEF6C7}"/>
                </a:ext>
              </a:extLst>
            </p:cNvPr>
            <p:cNvSpPr>
              <a:spLocks/>
            </p:cNvSpPr>
            <p:nvPr/>
          </p:nvSpPr>
          <p:spPr bwMode="auto">
            <a:xfrm>
              <a:off x="2648" y="877"/>
              <a:ext cx="66" cy="64"/>
            </a:xfrm>
            <a:custGeom>
              <a:avLst/>
              <a:gdLst>
                <a:gd name="T0" fmla="*/ 37 w 43"/>
                <a:gd name="T1" fmla="*/ 43 h 43"/>
                <a:gd name="T2" fmla="*/ 32 w 43"/>
                <a:gd name="T3" fmla="*/ 41 h 43"/>
                <a:gd name="T4" fmla="*/ 2 w 43"/>
                <a:gd name="T5" fmla="*/ 11 h 43"/>
                <a:gd name="T6" fmla="*/ 2 w 43"/>
                <a:gd name="T7" fmla="*/ 2 h 43"/>
                <a:gd name="T8" fmla="*/ 11 w 43"/>
                <a:gd name="T9" fmla="*/ 2 h 43"/>
                <a:gd name="T10" fmla="*/ 41 w 43"/>
                <a:gd name="T11" fmla="*/ 32 h 43"/>
                <a:gd name="T12" fmla="*/ 41 w 43"/>
                <a:gd name="T13" fmla="*/ 41 h 43"/>
                <a:gd name="T14" fmla="*/ 37 w 4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3">
                  <a:moveTo>
                    <a:pt x="37" y="43"/>
                  </a:moveTo>
                  <a:cubicBezTo>
                    <a:pt x="35" y="43"/>
                    <a:pt x="34" y="42"/>
                    <a:pt x="32" y="41"/>
                  </a:cubicBezTo>
                  <a:cubicBezTo>
                    <a:pt x="2" y="11"/>
                    <a:pt x="2" y="11"/>
                    <a:pt x="2" y="11"/>
                  </a:cubicBezTo>
                  <a:cubicBezTo>
                    <a:pt x="0" y="9"/>
                    <a:pt x="0" y="5"/>
                    <a:pt x="2" y="2"/>
                  </a:cubicBezTo>
                  <a:cubicBezTo>
                    <a:pt x="5" y="0"/>
                    <a:pt x="9" y="0"/>
                    <a:pt x="11" y="2"/>
                  </a:cubicBezTo>
                  <a:cubicBezTo>
                    <a:pt x="41" y="32"/>
                    <a:pt x="41" y="32"/>
                    <a:pt x="41" y="32"/>
                  </a:cubicBezTo>
                  <a:cubicBezTo>
                    <a:pt x="43" y="35"/>
                    <a:pt x="43" y="39"/>
                    <a:pt x="41" y="41"/>
                  </a:cubicBezTo>
                  <a:cubicBezTo>
                    <a:pt x="40" y="42"/>
                    <a:pt x="38" y="43"/>
                    <a:pt x="37" y="4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sp>
          <p:nvSpPr>
            <p:cNvPr id="211" name="Freeform 28">
              <a:extLst>
                <a:ext uri="{FF2B5EF4-FFF2-40B4-BE49-F238E27FC236}">
                  <a16:creationId xmlns:a16="http://schemas.microsoft.com/office/drawing/2014/main" id="{FF1B4A64-43D0-F3F2-C141-1F77945B162A}"/>
                </a:ext>
              </a:extLst>
            </p:cNvPr>
            <p:cNvSpPr>
              <a:spLocks/>
            </p:cNvSpPr>
            <p:nvPr/>
          </p:nvSpPr>
          <p:spPr bwMode="auto">
            <a:xfrm>
              <a:off x="2896" y="877"/>
              <a:ext cx="66" cy="64"/>
            </a:xfrm>
            <a:custGeom>
              <a:avLst/>
              <a:gdLst>
                <a:gd name="T0" fmla="*/ 7 w 43"/>
                <a:gd name="T1" fmla="*/ 43 h 43"/>
                <a:gd name="T2" fmla="*/ 2 w 43"/>
                <a:gd name="T3" fmla="*/ 41 h 43"/>
                <a:gd name="T4" fmla="*/ 2 w 43"/>
                <a:gd name="T5" fmla="*/ 32 h 43"/>
                <a:gd name="T6" fmla="*/ 32 w 43"/>
                <a:gd name="T7" fmla="*/ 2 h 43"/>
                <a:gd name="T8" fmla="*/ 41 w 43"/>
                <a:gd name="T9" fmla="*/ 2 h 43"/>
                <a:gd name="T10" fmla="*/ 41 w 43"/>
                <a:gd name="T11" fmla="*/ 11 h 43"/>
                <a:gd name="T12" fmla="*/ 11 w 43"/>
                <a:gd name="T13" fmla="*/ 41 h 43"/>
                <a:gd name="T14" fmla="*/ 7 w 4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3">
                  <a:moveTo>
                    <a:pt x="7" y="43"/>
                  </a:moveTo>
                  <a:cubicBezTo>
                    <a:pt x="5" y="43"/>
                    <a:pt x="4" y="42"/>
                    <a:pt x="2" y="41"/>
                  </a:cubicBezTo>
                  <a:cubicBezTo>
                    <a:pt x="0" y="39"/>
                    <a:pt x="0" y="35"/>
                    <a:pt x="2" y="32"/>
                  </a:cubicBezTo>
                  <a:cubicBezTo>
                    <a:pt x="32" y="2"/>
                    <a:pt x="32" y="2"/>
                    <a:pt x="32" y="2"/>
                  </a:cubicBezTo>
                  <a:cubicBezTo>
                    <a:pt x="35" y="0"/>
                    <a:pt x="39" y="0"/>
                    <a:pt x="41" y="2"/>
                  </a:cubicBezTo>
                  <a:cubicBezTo>
                    <a:pt x="43" y="5"/>
                    <a:pt x="43" y="9"/>
                    <a:pt x="41" y="11"/>
                  </a:cubicBezTo>
                  <a:cubicBezTo>
                    <a:pt x="11" y="41"/>
                    <a:pt x="11" y="41"/>
                    <a:pt x="11" y="41"/>
                  </a:cubicBezTo>
                  <a:cubicBezTo>
                    <a:pt x="10" y="42"/>
                    <a:pt x="8" y="43"/>
                    <a:pt x="7" y="4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A100FF">
                    <a:lumMod val="50000"/>
                  </a:srgbClr>
                </a:solidFill>
                <a:latin typeface="Graphik"/>
                <a:cs typeface="+mn-cs"/>
              </a:endParaRPr>
            </a:p>
          </p:txBody>
        </p:sp>
      </p:grpSp>
      <p:grpSp>
        <p:nvGrpSpPr>
          <p:cNvPr id="212" name="Group 75">
            <a:extLst>
              <a:ext uri="{FF2B5EF4-FFF2-40B4-BE49-F238E27FC236}">
                <a16:creationId xmlns:a16="http://schemas.microsoft.com/office/drawing/2014/main" id="{37941EE9-1484-36EF-8FDB-61EFB2982511}"/>
              </a:ext>
            </a:extLst>
          </p:cNvPr>
          <p:cNvGrpSpPr>
            <a:grpSpLocks noChangeAspect="1"/>
          </p:cNvGrpSpPr>
          <p:nvPr/>
        </p:nvGrpSpPr>
        <p:grpSpPr bwMode="auto">
          <a:xfrm>
            <a:off x="3193751" y="2450767"/>
            <a:ext cx="324052" cy="277000"/>
            <a:chOff x="529" y="1904"/>
            <a:chExt cx="427" cy="365"/>
          </a:xfrm>
          <a:solidFill>
            <a:schemeClr val="accent2"/>
          </a:solidFill>
        </p:grpSpPr>
        <p:sp>
          <p:nvSpPr>
            <p:cNvPr id="213" name="Freeform 76">
              <a:extLst>
                <a:ext uri="{FF2B5EF4-FFF2-40B4-BE49-F238E27FC236}">
                  <a16:creationId xmlns:a16="http://schemas.microsoft.com/office/drawing/2014/main" id="{DEA5623B-FD04-D6A1-E46D-1783B5604712}"/>
                </a:ext>
              </a:extLst>
            </p:cNvPr>
            <p:cNvSpPr>
              <a:spLocks/>
            </p:cNvSpPr>
            <p:nvPr/>
          </p:nvSpPr>
          <p:spPr bwMode="auto">
            <a:xfrm>
              <a:off x="529" y="1904"/>
              <a:ext cx="427" cy="365"/>
            </a:xfrm>
            <a:custGeom>
              <a:avLst/>
              <a:gdLst>
                <a:gd name="T0" fmla="*/ 282 w 288"/>
                <a:gd name="T1" fmla="*/ 252 h 252"/>
                <a:gd name="T2" fmla="*/ 6 w 288"/>
                <a:gd name="T3" fmla="*/ 252 h 252"/>
                <a:gd name="T4" fmla="*/ 0 w 288"/>
                <a:gd name="T5" fmla="*/ 246 h 252"/>
                <a:gd name="T6" fmla="*/ 0 w 288"/>
                <a:gd name="T7" fmla="*/ 6 h 252"/>
                <a:gd name="T8" fmla="*/ 6 w 288"/>
                <a:gd name="T9" fmla="*/ 0 h 252"/>
                <a:gd name="T10" fmla="*/ 12 w 288"/>
                <a:gd name="T11" fmla="*/ 6 h 252"/>
                <a:gd name="T12" fmla="*/ 12 w 288"/>
                <a:gd name="T13" fmla="*/ 240 h 252"/>
                <a:gd name="T14" fmla="*/ 282 w 288"/>
                <a:gd name="T15" fmla="*/ 240 h 252"/>
                <a:gd name="T16" fmla="*/ 288 w 288"/>
                <a:gd name="T17" fmla="*/ 246 h 252"/>
                <a:gd name="T18" fmla="*/ 282 w 288"/>
                <a:gd name="T19"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52">
                  <a:moveTo>
                    <a:pt x="282" y="252"/>
                  </a:moveTo>
                  <a:cubicBezTo>
                    <a:pt x="6" y="252"/>
                    <a:pt x="6" y="252"/>
                    <a:pt x="6" y="252"/>
                  </a:cubicBezTo>
                  <a:cubicBezTo>
                    <a:pt x="3" y="252"/>
                    <a:pt x="0" y="250"/>
                    <a:pt x="0" y="246"/>
                  </a:cubicBezTo>
                  <a:cubicBezTo>
                    <a:pt x="0" y="6"/>
                    <a:pt x="0" y="6"/>
                    <a:pt x="0" y="6"/>
                  </a:cubicBezTo>
                  <a:cubicBezTo>
                    <a:pt x="0" y="3"/>
                    <a:pt x="3" y="0"/>
                    <a:pt x="6" y="0"/>
                  </a:cubicBezTo>
                  <a:cubicBezTo>
                    <a:pt x="9" y="0"/>
                    <a:pt x="12" y="3"/>
                    <a:pt x="12" y="6"/>
                  </a:cubicBezTo>
                  <a:cubicBezTo>
                    <a:pt x="12" y="240"/>
                    <a:pt x="12" y="240"/>
                    <a:pt x="12" y="240"/>
                  </a:cubicBezTo>
                  <a:cubicBezTo>
                    <a:pt x="282" y="240"/>
                    <a:pt x="282" y="240"/>
                    <a:pt x="282" y="240"/>
                  </a:cubicBezTo>
                  <a:cubicBezTo>
                    <a:pt x="285" y="240"/>
                    <a:pt x="288" y="243"/>
                    <a:pt x="288" y="246"/>
                  </a:cubicBezTo>
                  <a:cubicBezTo>
                    <a:pt x="288" y="250"/>
                    <a:pt x="285" y="252"/>
                    <a:pt x="282"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96968C"/>
                </a:solidFill>
                <a:latin typeface="Graphik"/>
              </a:endParaRPr>
            </a:p>
          </p:txBody>
        </p:sp>
        <p:sp>
          <p:nvSpPr>
            <p:cNvPr id="214" name="Freeform 77">
              <a:extLst>
                <a:ext uri="{FF2B5EF4-FFF2-40B4-BE49-F238E27FC236}">
                  <a16:creationId xmlns:a16="http://schemas.microsoft.com/office/drawing/2014/main" id="{18860E45-FA5A-FF7A-FC9B-3FD6E60F9F45}"/>
                </a:ext>
              </a:extLst>
            </p:cNvPr>
            <p:cNvSpPr>
              <a:spLocks/>
            </p:cNvSpPr>
            <p:nvPr/>
          </p:nvSpPr>
          <p:spPr bwMode="auto">
            <a:xfrm>
              <a:off x="748" y="2139"/>
              <a:ext cx="74" cy="78"/>
            </a:xfrm>
            <a:custGeom>
              <a:avLst/>
              <a:gdLst>
                <a:gd name="T0" fmla="*/ 44 w 50"/>
                <a:gd name="T1" fmla="*/ 54 h 54"/>
                <a:gd name="T2" fmla="*/ 3 w 50"/>
                <a:gd name="T3" fmla="*/ 20 h 54"/>
                <a:gd name="T4" fmla="*/ 0 w 50"/>
                <a:gd name="T5" fmla="*/ 8 h 54"/>
                <a:gd name="T6" fmla="*/ 5 w 50"/>
                <a:gd name="T7" fmla="*/ 1 h 54"/>
                <a:gd name="T8" fmla="*/ 12 w 50"/>
                <a:gd name="T9" fmla="*/ 6 h 54"/>
                <a:gd name="T10" fmla="*/ 14 w 50"/>
                <a:gd name="T11" fmla="*/ 18 h 54"/>
                <a:gd name="T12" fmla="*/ 44 w 50"/>
                <a:gd name="T13" fmla="*/ 42 h 54"/>
                <a:gd name="T14" fmla="*/ 50 w 50"/>
                <a:gd name="T15" fmla="*/ 48 h 54"/>
                <a:gd name="T16" fmla="*/ 44 w 50"/>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4">
                  <a:moveTo>
                    <a:pt x="44" y="54"/>
                  </a:moveTo>
                  <a:cubicBezTo>
                    <a:pt x="24" y="54"/>
                    <a:pt x="6" y="40"/>
                    <a:pt x="3" y="20"/>
                  </a:cubicBezTo>
                  <a:cubicBezTo>
                    <a:pt x="0" y="8"/>
                    <a:pt x="0" y="8"/>
                    <a:pt x="0" y="8"/>
                  </a:cubicBezTo>
                  <a:cubicBezTo>
                    <a:pt x="0" y="5"/>
                    <a:pt x="2" y="1"/>
                    <a:pt x="5" y="1"/>
                  </a:cubicBezTo>
                  <a:cubicBezTo>
                    <a:pt x="8" y="0"/>
                    <a:pt x="12" y="2"/>
                    <a:pt x="12" y="6"/>
                  </a:cubicBezTo>
                  <a:cubicBezTo>
                    <a:pt x="14" y="18"/>
                    <a:pt x="14" y="18"/>
                    <a:pt x="14" y="18"/>
                  </a:cubicBezTo>
                  <a:cubicBezTo>
                    <a:pt x="17" y="32"/>
                    <a:pt x="29" y="42"/>
                    <a:pt x="44" y="42"/>
                  </a:cubicBezTo>
                  <a:cubicBezTo>
                    <a:pt x="47" y="42"/>
                    <a:pt x="50" y="45"/>
                    <a:pt x="50" y="48"/>
                  </a:cubicBezTo>
                  <a:cubicBezTo>
                    <a:pt x="50" y="52"/>
                    <a:pt x="47" y="54"/>
                    <a:pt x="44"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96968C"/>
                </a:solidFill>
                <a:latin typeface="Graphik"/>
              </a:endParaRPr>
            </a:p>
          </p:txBody>
        </p:sp>
        <p:sp>
          <p:nvSpPr>
            <p:cNvPr id="215" name="Freeform 78">
              <a:extLst>
                <a:ext uri="{FF2B5EF4-FFF2-40B4-BE49-F238E27FC236}">
                  <a16:creationId xmlns:a16="http://schemas.microsoft.com/office/drawing/2014/main" id="{9EAB782E-BF94-E687-C077-2B1B87722A9B}"/>
                </a:ext>
              </a:extLst>
            </p:cNvPr>
            <p:cNvSpPr>
              <a:spLocks/>
            </p:cNvSpPr>
            <p:nvPr/>
          </p:nvSpPr>
          <p:spPr bwMode="auto">
            <a:xfrm>
              <a:off x="574" y="2008"/>
              <a:ext cx="160" cy="209"/>
            </a:xfrm>
            <a:custGeom>
              <a:avLst/>
              <a:gdLst>
                <a:gd name="T0" fmla="*/ 6 w 108"/>
                <a:gd name="T1" fmla="*/ 144 h 144"/>
                <a:gd name="T2" fmla="*/ 0 w 108"/>
                <a:gd name="T3" fmla="*/ 138 h 144"/>
                <a:gd name="T4" fmla="*/ 6 w 108"/>
                <a:gd name="T5" fmla="*/ 132 h 144"/>
                <a:gd name="T6" fmla="*/ 35 w 108"/>
                <a:gd name="T7" fmla="*/ 108 h 144"/>
                <a:gd name="T8" fmla="*/ 50 w 108"/>
                <a:gd name="T9" fmla="*/ 29 h 144"/>
                <a:gd name="T10" fmla="*/ 84 w 108"/>
                <a:gd name="T11" fmla="*/ 0 h 144"/>
                <a:gd name="T12" fmla="*/ 105 w 108"/>
                <a:gd name="T13" fmla="*/ 7 h 144"/>
                <a:gd name="T14" fmla="*/ 106 w 108"/>
                <a:gd name="T15" fmla="*/ 16 h 144"/>
                <a:gd name="T16" fmla="*/ 98 w 108"/>
                <a:gd name="T17" fmla="*/ 17 h 144"/>
                <a:gd name="T18" fmla="*/ 84 w 108"/>
                <a:gd name="T19" fmla="*/ 12 h 144"/>
                <a:gd name="T20" fmla="*/ 61 w 108"/>
                <a:gd name="T21" fmla="*/ 31 h 144"/>
                <a:gd name="T22" fmla="*/ 47 w 108"/>
                <a:gd name="T23" fmla="*/ 110 h 144"/>
                <a:gd name="T24" fmla="*/ 6 w 108"/>
                <a:gd name="T2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4">
                  <a:moveTo>
                    <a:pt x="6" y="144"/>
                  </a:moveTo>
                  <a:cubicBezTo>
                    <a:pt x="3" y="144"/>
                    <a:pt x="0" y="142"/>
                    <a:pt x="0" y="138"/>
                  </a:cubicBezTo>
                  <a:cubicBezTo>
                    <a:pt x="0" y="135"/>
                    <a:pt x="3" y="132"/>
                    <a:pt x="6" y="132"/>
                  </a:cubicBezTo>
                  <a:cubicBezTo>
                    <a:pt x="20" y="132"/>
                    <a:pt x="33" y="122"/>
                    <a:pt x="35" y="108"/>
                  </a:cubicBezTo>
                  <a:cubicBezTo>
                    <a:pt x="50" y="29"/>
                    <a:pt x="50" y="29"/>
                    <a:pt x="50" y="29"/>
                  </a:cubicBezTo>
                  <a:cubicBezTo>
                    <a:pt x="53" y="12"/>
                    <a:pt x="67" y="0"/>
                    <a:pt x="84" y="0"/>
                  </a:cubicBezTo>
                  <a:cubicBezTo>
                    <a:pt x="91" y="0"/>
                    <a:pt x="99" y="3"/>
                    <a:pt x="105" y="7"/>
                  </a:cubicBezTo>
                  <a:cubicBezTo>
                    <a:pt x="107" y="9"/>
                    <a:pt x="108" y="13"/>
                    <a:pt x="106" y="16"/>
                  </a:cubicBezTo>
                  <a:cubicBezTo>
                    <a:pt x="104" y="18"/>
                    <a:pt x="100" y="19"/>
                    <a:pt x="98" y="17"/>
                  </a:cubicBezTo>
                  <a:cubicBezTo>
                    <a:pt x="94" y="14"/>
                    <a:pt x="89" y="12"/>
                    <a:pt x="84" y="12"/>
                  </a:cubicBezTo>
                  <a:cubicBezTo>
                    <a:pt x="73" y="12"/>
                    <a:pt x="63" y="20"/>
                    <a:pt x="61" y="31"/>
                  </a:cubicBezTo>
                  <a:cubicBezTo>
                    <a:pt x="47" y="110"/>
                    <a:pt x="47" y="110"/>
                    <a:pt x="47" y="110"/>
                  </a:cubicBezTo>
                  <a:cubicBezTo>
                    <a:pt x="43" y="130"/>
                    <a:pt x="26"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96968C"/>
                </a:solidFill>
                <a:latin typeface="Graphik"/>
              </a:endParaRPr>
            </a:p>
          </p:txBody>
        </p:sp>
        <p:sp>
          <p:nvSpPr>
            <p:cNvPr id="216" name="Freeform 79">
              <a:extLst>
                <a:ext uri="{FF2B5EF4-FFF2-40B4-BE49-F238E27FC236}">
                  <a16:creationId xmlns:a16="http://schemas.microsoft.com/office/drawing/2014/main" id="{3A530F11-A102-512F-A800-F699E375A372}"/>
                </a:ext>
              </a:extLst>
            </p:cNvPr>
            <p:cNvSpPr>
              <a:spLocks/>
            </p:cNvSpPr>
            <p:nvPr/>
          </p:nvSpPr>
          <p:spPr bwMode="auto">
            <a:xfrm>
              <a:off x="663" y="2008"/>
              <a:ext cx="248" cy="209"/>
            </a:xfrm>
            <a:custGeom>
              <a:avLst/>
              <a:gdLst>
                <a:gd name="T0" fmla="*/ 162 w 168"/>
                <a:gd name="T1" fmla="*/ 144 h 144"/>
                <a:gd name="T2" fmla="*/ 121 w 168"/>
                <a:gd name="T3" fmla="*/ 110 h 144"/>
                <a:gd name="T4" fmla="*/ 106 w 168"/>
                <a:gd name="T5" fmla="*/ 31 h 144"/>
                <a:gd name="T6" fmla="*/ 84 w 168"/>
                <a:gd name="T7" fmla="*/ 12 h 144"/>
                <a:gd name="T8" fmla="*/ 61 w 168"/>
                <a:gd name="T9" fmla="*/ 31 h 144"/>
                <a:gd name="T10" fmla="*/ 47 w 168"/>
                <a:gd name="T11" fmla="*/ 110 h 144"/>
                <a:gd name="T12" fmla="*/ 6 w 168"/>
                <a:gd name="T13" fmla="*/ 144 h 144"/>
                <a:gd name="T14" fmla="*/ 0 w 168"/>
                <a:gd name="T15" fmla="*/ 138 h 144"/>
                <a:gd name="T16" fmla="*/ 6 w 168"/>
                <a:gd name="T17" fmla="*/ 132 h 144"/>
                <a:gd name="T18" fmla="*/ 35 w 168"/>
                <a:gd name="T19" fmla="*/ 108 h 144"/>
                <a:gd name="T20" fmla="*/ 50 w 168"/>
                <a:gd name="T21" fmla="*/ 29 h 144"/>
                <a:gd name="T22" fmla="*/ 84 w 168"/>
                <a:gd name="T23" fmla="*/ 0 h 144"/>
                <a:gd name="T24" fmla="*/ 118 w 168"/>
                <a:gd name="T25" fmla="*/ 29 h 144"/>
                <a:gd name="T26" fmla="*/ 132 w 168"/>
                <a:gd name="T27" fmla="*/ 108 h 144"/>
                <a:gd name="T28" fmla="*/ 162 w 168"/>
                <a:gd name="T29" fmla="*/ 132 h 144"/>
                <a:gd name="T30" fmla="*/ 168 w 168"/>
                <a:gd name="T31" fmla="*/ 138 h 144"/>
                <a:gd name="T32" fmla="*/ 162 w 168"/>
                <a:gd name="T3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8" h="144">
                  <a:moveTo>
                    <a:pt x="162" y="144"/>
                  </a:moveTo>
                  <a:cubicBezTo>
                    <a:pt x="142" y="144"/>
                    <a:pt x="124" y="130"/>
                    <a:pt x="121" y="110"/>
                  </a:cubicBezTo>
                  <a:cubicBezTo>
                    <a:pt x="106" y="31"/>
                    <a:pt x="106" y="31"/>
                    <a:pt x="106" y="31"/>
                  </a:cubicBezTo>
                  <a:cubicBezTo>
                    <a:pt x="104" y="20"/>
                    <a:pt x="95" y="12"/>
                    <a:pt x="84" y="12"/>
                  </a:cubicBezTo>
                  <a:cubicBezTo>
                    <a:pt x="73" y="12"/>
                    <a:pt x="63" y="20"/>
                    <a:pt x="61" y="31"/>
                  </a:cubicBezTo>
                  <a:cubicBezTo>
                    <a:pt x="47" y="110"/>
                    <a:pt x="47" y="110"/>
                    <a:pt x="47" y="110"/>
                  </a:cubicBezTo>
                  <a:cubicBezTo>
                    <a:pt x="43" y="130"/>
                    <a:pt x="26" y="144"/>
                    <a:pt x="6" y="144"/>
                  </a:cubicBezTo>
                  <a:cubicBezTo>
                    <a:pt x="3" y="144"/>
                    <a:pt x="0" y="142"/>
                    <a:pt x="0" y="138"/>
                  </a:cubicBezTo>
                  <a:cubicBezTo>
                    <a:pt x="0" y="135"/>
                    <a:pt x="3" y="132"/>
                    <a:pt x="6" y="132"/>
                  </a:cubicBezTo>
                  <a:cubicBezTo>
                    <a:pt x="20" y="132"/>
                    <a:pt x="33" y="122"/>
                    <a:pt x="35" y="108"/>
                  </a:cubicBezTo>
                  <a:cubicBezTo>
                    <a:pt x="50" y="29"/>
                    <a:pt x="50" y="29"/>
                    <a:pt x="50" y="29"/>
                  </a:cubicBezTo>
                  <a:cubicBezTo>
                    <a:pt x="53" y="12"/>
                    <a:pt x="67" y="0"/>
                    <a:pt x="84" y="0"/>
                  </a:cubicBezTo>
                  <a:cubicBezTo>
                    <a:pt x="101" y="0"/>
                    <a:pt x="115" y="12"/>
                    <a:pt x="118" y="29"/>
                  </a:cubicBezTo>
                  <a:cubicBezTo>
                    <a:pt x="132" y="108"/>
                    <a:pt x="132" y="108"/>
                    <a:pt x="132" y="108"/>
                  </a:cubicBezTo>
                  <a:cubicBezTo>
                    <a:pt x="135" y="122"/>
                    <a:pt x="147" y="132"/>
                    <a:pt x="162" y="132"/>
                  </a:cubicBezTo>
                  <a:cubicBezTo>
                    <a:pt x="165" y="132"/>
                    <a:pt x="168" y="135"/>
                    <a:pt x="168" y="138"/>
                  </a:cubicBezTo>
                  <a:cubicBezTo>
                    <a:pt x="168" y="142"/>
                    <a:pt x="165" y="144"/>
                    <a:pt x="162"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96968C"/>
                </a:solidFill>
                <a:latin typeface="Graphik"/>
              </a:endParaRPr>
            </a:p>
          </p:txBody>
        </p:sp>
      </p:grpSp>
      <p:pic>
        <p:nvPicPr>
          <p:cNvPr id="17411" name="Picture 3" descr="See the source image">
            <a:extLst>
              <a:ext uri="{FF2B5EF4-FFF2-40B4-BE49-F238E27FC236}">
                <a16:creationId xmlns:a16="http://schemas.microsoft.com/office/drawing/2014/main" id="{C78159F4-2BA5-DC93-1324-A6F6C3CACAD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601981" y="2571750"/>
            <a:ext cx="285751" cy="285751"/>
          </a:xfrm>
          <a:prstGeom prst="rect">
            <a:avLst/>
          </a:prstGeom>
          <a:noFill/>
          <a:extLst>
            <a:ext uri="{909E8E84-426E-40DD-AFC4-6F175D3DCCD1}">
              <a14:hiddenFill xmlns:a14="http://schemas.microsoft.com/office/drawing/2010/main">
                <a:solidFill>
                  <a:srgbClr val="FFFFFF"/>
                </a:solidFill>
              </a14:hiddenFill>
            </a:ext>
          </a:extLst>
        </p:spPr>
      </p:pic>
      <p:pic>
        <p:nvPicPr>
          <p:cNvPr id="17413" name="Picture 5" descr="See the source image">
            <a:extLst>
              <a:ext uri="{FF2B5EF4-FFF2-40B4-BE49-F238E27FC236}">
                <a16:creationId xmlns:a16="http://schemas.microsoft.com/office/drawing/2014/main" id="{1A2D53F1-8F8D-AC3F-E20D-83D27318110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184371" y="4300142"/>
            <a:ext cx="673879" cy="336378"/>
          </a:xfrm>
          <a:prstGeom prst="rect">
            <a:avLst/>
          </a:prstGeom>
          <a:noFill/>
          <a:extLst>
            <a:ext uri="{909E8E84-426E-40DD-AFC4-6F175D3DCCD1}">
              <a14:hiddenFill xmlns:a14="http://schemas.microsoft.com/office/drawing/2010/main">
                <a:solidFill>
                  <a:srgbClr val="FFFFFF"/>
                </a:solidFill>
              </a14:hiddenFill>
            </a:ext>
          </a:extLst>
        </p:spPr>
      </p:pic>
      <p:pic>
        <p:nvPicPr>
          <p:cNvPr id="17415" name="Picture 7" descr="See the source image">
            <a:extLst>
              <a:ext uri="{FF2B5EF4-FFF2-40B4-BE49-F238E27FC236}">
                <a16:creationId xmlns:a16="http://schemas.microsoft.com/office/drawing/2014/main" id="{02E6C1C0-6F89-4A86-209D-DCD646E43D85}"/>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788117" y="3136180"/>
            <a:ext cx="1015879" cy="677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4410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9" name="Object 98" hidden="1">
            <a:extLst>
              <a:ext uri="{FF2B5EF4-FFF2-40B4-BE49-F238E27FC236}">
                <a16:creationId xmlns:a16="http://schemas.microsoft.com/office/drawing/2014/main" id="{6234F736-330F-4999-930B-9DB0E91C596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99" name="Object 98" hidden="1">
                        <a:extLst>
                          <a:ext uri="{FF2B5EF4-FFF2-40B4-BE49-F238E27FC236}">
                            <a16:creationId xmlns:a16="http://schemas.microsoft.com/office/drawing/2014/main" id="{6234F736-330F-4999-930B-9DB0E91C596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51" name="Picture 28" descr="Kafka is establishing its toehold | ZDNet">
            <a:extLst>
              <a:ext uri="{FF2B5EF4-FFF2-40B4-BE49-F238E27FC236}">
                <a16:creationId xmlns:a16="http://schemas.microsoft.com/office/drawing/2014/main" id="{57E62C11-F06F-406E-B409-43274D16F55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340250" y="4226637"/>
            <a:ext cx="404273" cy="40427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32" descr="OpenCV Launching Kickstarter Campaign for New AI Courses | by Synced |  SyncedReview | Medium">
            <a:extLst>
              <a:ext uri="{FF2B5EF4-FFF2-40B4-BE49-F238E27FC236}">
                <a16:creationId xmlns:a16="http://schemas.microsoft.com/office/drawing/2014/main" id="{73132BA9-E1F6-49B8-A3F3-BA9CBBB95ED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544843" y="4405397"/>
            <a:ext cx="828693" cy="26922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0" descr="GitHub - tensorflow/docs: TensorFlow documentation">
            <a:extLst>
              <a:ext uri="{FF2B5EF4-FFF2-40B4-BE49-F238E27FC236}">
                <a16:creationId xmlns:a16="http://schemas.microsoft.com/office/drawing/2014/main" id="{1051279A-9315-4F4E-9B50-1B5F1CA1CA8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659755" y="4594463"/>
            <a:ext cx="612123" cy="20509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0" descr="Siemens: Nahtloses Kundenerlebnis durch einheitliches Stammdaten-Management  | Pega">
            <a:extLst>
              <a:ext uri="{FF2B5EF4-FFF2-40B4-BE49-F238E27FC236}">
                <a16:creationId xmlns:a16="http://schemas.microsoft.com/office/drawing/2014/main" id="{34D482B9-4240-408C-961C-BBDE6320F55E}"/>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942997" y="4027904"/>
            <a:ext cx="528888" cy="29617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2" descr="MySQL – Wikipedia">
            <a:extLst>
              <a:ext uri="{FF2B5EF4-FFF2-40B4-BE49-F238E27FC236}">
                <a16:creationId xmlns:a16="http://schemas.microsoft.com/office/drawing/2014/main" id="{2A4C32CC-D074-4708-861C-F5FE0D80BD78}"/>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090212" y="4111003"/>
            <a:ext cx="287210" cy="19892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4" descr="InfluxDB - Wikipedia">
            <a:extLst>
              <a:ext uri="{FF2B5EF4-FFF2-40B4-BE49-F238E27FC236}">
                <a16:creationId xmlns:a16="http://schemas.microsoft.com/office/drawing/2014/main" id="{214A4BC3-22F8-4D75-8A75-23D547B5ADCD}"/>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l="12406" t="34911" r="17736" b="38767"/>
          <a:stretch/>
        </p:blipFill>
        <p:spPr bwMode="auto">
          <a:xfrm>
            <a:off x="4705342" y="4360714"/>
            <a:ext cx="513258" cy="7199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4">
            <a:extLst>
              <a:ext uri="{FF2B5EF4-FFF2-40B4-BE49-F238E27FC236}">
                <a16:creationId xmlns:a16="http://schemas.microsoft.com/office/drawing/2014/main" id="{0E19185F-1AC8-4063-A962-18F19D91A885}"/>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776700" y="4123976"/>
            <a:ext cx="195776" cy="158822"/>
          </a:xfrm>
          <a:prstGeom prst="rect">
            <a:avLst/>
          </a:prstGeom>
          <a:noFill/>
          <a:extLst>
            <a:ext uri="{909E8E84-426E-40DD-AFC4-6F175D3DCCD1}">
              <a14:hiddenFill xmlns:a14="http://schemas.microsoft.com/office/drawing/2010/main">
                <a:solidFill>
                  <a:srgbClr val="FFFFFF"/>
                </a:solidFill>
              </a14:hiddenFill>
            </a:ext>
          </a:extLst>
        </p:spPr>
      </p:pic>
      <p:sp>
        <p:nvSpPr>
          <p:cNvPr id="58" name="Title 1">
            <a:extLst>
              <a:ext uri="{FF2B5EF4-FFF2-40B4-BE49-F238E27FC236}">
                <a16:creationId xmlns:a16="http://schemas.microsoft.com/office/drawing/2014/main" id="{9672B22A-8EA9-4B2E-B200-5F1E77627047}"/>
              </a:ext>
            </a:extLst>
          </p:cNvPr>
          <p:cNvSpPr>
            <a:spLocks noGrp="1"/>
          </p:cNvSpPr>
          <p:nvPr>
            <p:ph type="title"/>
          </p:nvPr>
        </p:nvSpPr>
        <p:spPr>
          <a:xfrm>
            <a:off x="285750" y="274979"/>
            <a:ext cx="8572500" cy="742950"/>
          </a:xfrm>
        </p:spPr>
        <p:txBody>
          <a:bodyPr vert="horz"/>
          <a:lstStyle/>
          <a:p>
            <a:r>
              <a:rPr lang="de-DE" dirty="0"/>
              <a:t>IT/OT Engineering</a:t>
            </a:r>
          </a:p>
        </p:txBody>
      </p:sp>
      <p:sp>
        <p:nvSpPr>
          <p:cNvPr id="59" name="Content Placeholder 2">
            <a:extLst>
              <a:ext uri="{FF2B5EF4-FFF2-40B4-BE49-F238E27FC236}">
                <a16:creationId xmlns:a16="http://schemas.microsoft.com/office/drawing/2014/main" id="{972DF287-AF5E-4F39-85A4-7810EB1F9FB7}"/>
              </a:ext>
            </a:extLst>
          </p:cNvPr>
          <p:cNvSpPr>
            <a:spLocks noGrp="1"/>
          </p:cNvSpPr>
          <p:nvPr>
            <p:ph sz="quarter" idx="10"/>
          </p:nvPr>
        </p:nvSpPr>
        <p:spPr>
          <a:xfrm>
            <a:off x="285751" y="697152"/>
            <a:ext cx="5213444" cy="237929"/>
          </a:xfrm>
        </p:spPr>
        <p:txBody>
          <a:bodyPr/>
          <a:lstStyle/>
          <a:p>
            <a:r>
              <a:rPr lang="en-US" sz="1200" b="1">
                <a:solidFill>
                  <a:schemeClr val="accent1"/>
                </a:solidFill>
              </a:rPr>
              <a:t>We create software that connects the digital and the physical world…</a:t>
            </a:r>
            <a:br>
              <a:rPr lang="en-US" sz="1200" b="1">
                <a:solidFill>
                  <a:schemeClr val="accent1"/>
                </a:solidFill>
              </a:rPr>
            </a:br>
            <a:r>
              <a:rPr lang="en-US" sz="750"/>
              <a:t>…by building practical solutions that create value for our clients at the intersection of OT and IT, we bring deep technology expertise, apply innovative technologies and methods and collaborate closely within Accenture and the partner ecosystem.</a:t>
            </a:r>
          </a:p>
          <a:p>
            <a:endParaRPr lang="en-US" sz="1200"/>
          </a:p>
        </p:txBody>
      </p:sp>
      <p:sp>
        <p:nvSpPr>
          <p:cNvPr id="60" name="Rectangle 59">
            <a:extLst>
              <a:ext uri="{FF2B5EF4-FFF2-40B4-BE49-F238E27FC236}">
                <a16:creationId xmlns:a16="http://schemas.microsoft.com/office/drawing/2014/main" id="{BA8F4AB2-DCF8-416A-B6D4-FACD244D1ABA}"/>
              </a:ext>
            </a:extLst>
          </p:cNvPr>
          <p:cNvSpPr/>
          <p:nvPr/>
        </p:nvSpPr>
        <p:spPr>
          <a:xfrm>
            <a:off x="2958536" y="1466132"/>
            <a:ext cx="2550162" cy="669414"/>
          </a:xfrm>
          <a:prstGeom prst="rect">
            <a:avLst/>
          </a:prstGeom>
        </p:spPr>
        <p:txBody>
          <a:bodyPr wrap="square">
            <a:spAutoFit/>
          </a:bodyPr>
          <a:lstStyle/>
          <a:p>
            <a:pPr marL="0" lvl="2">
              <a:spcBef>
                <a:spcPts val="450"/>
              </a:spcBef>
            </a:pPr>
            <a:r>
              <a:rPr lang="en-US" sz="1050" b="1" dirty="0">
                <a:solidFill>
                  <a:schemeClr val="accent1"/>
                </a:solidFill>
              </a:rPr>
              <a:t>Technology Advisory &amp; Architecture</a:t>
            </a:r>
            <a:br>
              <a:rPr lang="en-US" sz="1050" b="1" dirty="0">
                <a:solidFill>
                  <a:schemeClr val="accent1"/>
                </a:solidFill>
              </a:rPr>
            </a:br>
            <a:r>
              <a:rPr lang="en-US" sz="900" dirty="0"/>
              <a:t>use case refinement, sprint 0 enablement, architecture definition, platform, software and hardware partner selection</a:t>
            </a:r>
            <a:endParaRPr lang="en-US" sz="825" dirty="0"/>
          </a:p>
        </p:txBody>
      </p:sp>
      <p:sp>
        <p:nvSpPr>
          <p:cNvPr id="61" name="Rectangle 60">
            <a:extLst>
              <a:ext uri="{FF2B5EF4-FFF2-40B4-BE49-F238E27FC236}">
                <a16:creationId xmlns:a16="http://schemas.microsoft.com/office/drawing/2014/main" id="{AD611BED-9245-45E9-89AF-5485B395D06B}"/>
              </a:ext>
            </a:extLst>
          </p:cNvPr>
          <p:cNvSpPr/>
          <p:nvPr/>
        </p:nvSpPr>
        <p:spPr>
          <a:xfrm>
            <a:off x="3294059" y="2210624"/>
            <a:ext cx="2027289" cy="669414"/>
          </a:xfrm>
          <a:prstGeom prst="rect">
            <a:avLst/>
          </a:prstGeom>
        </p:spPr>
        <p:txBody>
          <a:bodyPr wrap="square">
            <a:spAutoFit/>
          </a:bodyPr>
          <a:lstStyle/>
          <a:p>
            <a:pPr marL="0" lvl="2">
              <a:spcBef>
                <a:spcPts val="450"/>
              </a:spcBef>
              <a:spcAft>
                <a:spcPts val="0"/>
              </a:spcAft>
            </a:pPr>
            <a:r>
              <a:rPr lang="en-US" sz="1050" b="1">
                <a:solidFill>
                  <a:schemeClr val="accent1"/>
                </a:solidFill>
              </a:rPr>
              <a:t>Prototype &amp; Pilot</a:t>
            </a:r>
            <a:br>
              <a:rPr lang="en-US" sz="1050" b="1">
                <a:solidFill>
                  <a:schemeClr val="accent1"/>
                </a:solidFill>
              </a:rPr>
            </a:br>
            <a:r>
              <a:rPr lang="en-US" sz="900">
                <a:solidFill>
                  <a:srgbClr val="000000"/>
                </a:solidFill>
              </a:rPr>
              <a:t>technical feasibility study, functional prototypes, pilots, MVP development</a:t>
            </a:r>
            <a:endParaRPr lang="en-US" sz="1050"/>
          </a:p>
        </p:txBody>
      </p:sp>
      <p:sp>
        <p:nvSpPr>
          <p:cNvPr id="62" name="Rectangle 61">
            <a:extLst>
              <a:ext uri="{FF2B5EF4-FFF2-40B4-BE49-F238E27FC236}">
                <a16:creationId xmlns:a16="http://schemas.microsoft.com/office/drawing/2014/main" id="{C573BA7F-BAEB-41DE-8DB4-520A0383463B}"/>
              </a:ext>
            </a:extLst>
          </p:cNvPr>
          <p:cNvSpPr/>
          <p:nvPr/>
        </p:nvSpPr>
        <p:spPr>
          <a:xfrm>
            <a:off x="3557507" y="2819460"/>
            <a:ext cx="2254475" cy="807913"/>
          </a:xfrm>
          <a:prstGeom prst="rect">
            <a:avLst/>
          </a:prstGeom>
        </p:spPr>
        <p:txBody>
          <a:bodyPr wrap="square">
            <a:spAutoFit/>
          </a:bodyPr>
          <a:lstStyle/>
          <a:p>
            <a:pPr marL="0" lvl="2">
              <a:spcBef>
                <a:spcPts val="450"/>
              </a:spcBef>
            </a:pPr>
            <a:r>
              <a:rPr lang="en-US" sz="1050" b="1" dirty="0">
                <a:solidFill>
                  <a:schemeClr val="accent1"/>
                </a:solidFill>
              </a:rPr>
              <a:t>Deliver, Integrate &amp; Scale</a:t>
            </a:r>
            <a:br>
              <a:rPr lang="en-US" sz="1050" b="1" dirty="0">
                <a:solidFill>
                  <a:schemeClr val="accent1"/>
                </a:solidFill>
              </a:rPr>
            </a:br>
            <a:r>
              <a:rPr lang="en-US" sz="900" dirty="0">
                <a:solidFill>
                  <a:srgbClr val="000000"/>
                </a:solidFill>
              </a:rPr>
              <a:t>system integration, scaled software development, global rollout support of integrated solutions, hyper care &amp; DevOps</a:t>
            </a:r>
            <a:endParaRPr lang="en-US" sz="1050" b="1" dirty="0">
              <a:solidFill>
                <a:schemeClr val="accent1"/>
              </a:solidFill>
            </a:endParaRPr>
          </a:p>
        </p:txBody>
      </p:sp>
      <p:sp>
        <p:nvSpPr>
          <p:cNvPr id="63" name="Rectangle 62">
            <a:extLst>
              <a:ext uri="{FF2B5EF4-FFF2-40B4-BE49-F238E27FC236}">
                <a16:creationId xmlns:a16="http://schemas.microsoft.com/office/drawing/2014/main" id="{62CF5773-A761-4857-83AB-5277EC24EAA4}"/>
              </a:ext>
            </a:extLst>
          </p:cNvPr>
          <p:cNvSpPr/>
          <p:nvPr/>
        </p:nvSpPr>
        <p:spPr>
          <a:xfrm>
            <a:off x="285751" y="1600971"/>
            <a:ext cx="1804940" cy="1779974"/>
          </a:xfrm>
          <a:prstGeom prst="rect">
            <a:avLst/>
          </a:prstGeom>
        </p:spPr>
        <p:txBody>
          <a:bodyPr wrap="square">
            <a:spAutoFit/>
          </a:bodyPr>
          <a:lstStyle/>
          <a:p>
            <a:pPr marL="0" lvl="2">
              <a:spcBef>
                <a:spcPts val="225"/>
              </a:spcBef>
              <a:spcAft>
                <a:spcPts val="0"/>
              </a:spcAft>
            </a:pPr>
            <a:r>
              <a:rPr lang="en-US" sz="900"/>
              <a:t>We are software and system engineers; we are tech experts with an understanding of the business domain and the overall IT and system architecture.</a:t>
            </a:r>
          </a:p>
          <a:p>
            <a:pPr marL="0" lvl="2">
              <a:spcBef>
                <a:spcPts val="225"/>
              </a:spcBef>
              <a:spcAft>
                <a:spcPts val="0"/>
              </a:spcAft>
            </a:pPr>
            <a:r>
              <a:rPr lang="en-US" sz="900"/>
              <a:t>We have our hands in the code and have expert knowledge on latest technologies around cloud, software engineering, IoT, data processing and connectivity.</a:t>
            </a:r>
          </a:p>
        </p:txBody>
      </p:sp>
      <p:sp>
        <p:nvSpPr>
          <p:cNvPr id="64" name="TextBox 63">
            <a:extLst>
              <a:ext uri="{FF2B5EF4-FFF2-40B4-BE49-F238E27FC236}">
                <a16:creationId xmlns:a16="http://schemas.microsoft.com/office/drawing/2014/main" id="{565028AB-2D61-4669-AC04-868B236D931A}"/>
              </a:ext>
            </a:extLst>
          </p:cNvPr>
          <p:cNvSpPr txBox="1"/>
          <p:nvPr/>
        </p:nvSpPr>
        <p:spPr>
          <a:xfrm>
            <a:off x="2273730" y="1294803"/>
            <a:ext cx="1911197" cy="236206"/>
          </a:xfrm>
          <a:prstGeom prst="rect">
            <a:avLst/>
          </a:prstGeom>
          <a:noFill/>
        </p:spPr>
        <p:txBody>
          <a:bodyPr wrap="square" lIns="0" tIns="0" rIns="0" bIns="0" rtlCol="0">
            <a:noAutofit/>
          </a:bodyPr>
          <a:lstStyle/>
          <a:p>
            <a:pPr defTabSz="171450">
              <a:spcAft>
                <a:spcPts val="900"/>
              </a:spcAft>
            </a:pPr>
            <a:r>
              <a:rPr lang="de-DE" b="1" noProof="0" err="1"/>
              <a:t>What</a:t>
            </a:r>
            <a:r>
              <a:rPr lang="de-DE" b="1" noProof="0"/>
              <a:t> </a:t>
            </a:r>
            <a:r>
              <a:rPr lang="de-DE" b="1" noProof="0" err="1"/>
              <a:t>we</a:t>
            </a:r>
            <a:r>
              <a:rPr lang="de-DE" b="1" noProof="0"/>
              <a:t> do</a:t>
            </a:r>
          </a:p>
        </p:txBody>
      </p:sp>
      <p:sp>
        <p:nvSpPr>
          <p:cNvPr id="65" name="TextBox 64">
            <a:extLst>
              <a:ext uri="{FF2B5EF4-FFF2-40B4-BE49-F238E27FC236}">
                <a16:creationId xmlns:a16="http://schemas.microsoft.com/office/drawing/2014/main" id="{D045775D-6442-49B3-A7A2-9EA4A45D8315}"/>
              </a:ext>
            </a:extLst>
          </p:cNvPr>
          <p:cNvSpPr txBox="1"/>
          <p:nvPr/>
        </p:nvSpPr>
        <p:spPr>
          <a:xfrm>
            <a:off x="285750" y="1292650"/>
            <a:ext cx="1911197" cy="236206"/>
          </a:xfrm>
          <a:prstGeom prst="rect">
            <a:avLst/>
          </a:prstGeom>
          <a:noFill/>
        </p:spPr>
        <p:txBody>
          <a:bodyPr wrap="square" lIns="0" tIns="0" rIns="0" bIns="0" rtlCol="0">
            <a:noAutofit/>
          </a:bodyPr>
          <a:lstStyle/>
          <a:p>
            <a:pPr defTabSz="171450">
              <a:spcAft>
                <a:spcPts val="900"/>
              </a:spcAft>
            </a:pPr>
            <a:r>
              <a:rPr lang="de-DE" b="1" noProof="0"/>
              <a:t>Who </a:t>
            </a:r>
            <a:r>
              <a:rPr lang="de-DE" b="1" noProof="0" err="1"/>
              <a:t>we</a:t>
            </a:r>
            <a:r>
              <a:rPr lang="de-DE" b="1" noProof="0"/>
              <a:t> </a:t>
            </a:r>
            <a:r>
              <a:rPr lang="de-DE" b="1" noProof="0" err="1"/>
              <a:t>are</a:t>
            </a:r>
            <a:endParaRPr lang="de-DE" b="1" noProof="0"/>
          </a:p>
        </p:txBody>
      </p:sp>
      <p:sp>
        <p:nvSpPr>
          <p:cNvPr id="66" name="TextBox 65">
            <a:extLst>
              <a:ext uri="{FF2B5EF4-FFF2-40B4-BE49-F238E27FC236}">
                <a16:creationId xmlns:a16="http://schemas.microsoft.com/office/drawing/2014/main" id="{1AB5190B-5647-434C-BF16-C905E04E20C4}"/>
              </a:ext>
            </a:extLst>
          </p:cNvPr>
          <p:cNvSpPr txBox="1"/>
          <p:nvPr/>
        </p:nvSpPr>
        <p:spPr>
          <a:xfrm>
            <a:off x="285750" y="3271572"/>
            <a:ext cx="1911197" cy="236206"/>
          </a:xfrm>
          <a:prstGeom prst="rect">
            <a:avLst/>
          </a:prstGeom>
          <a:noFill/>
        </p:spPr>
        <p:txBody>
          <a:bodyPr wrap="square" lIns="0" tIns="0" rIns="0" bIns="0" rtlCol="0">
            <a:noAutofit/>
          </a:bodyPr>
          <a:lstStyle/>
          <a:p>
            <a:pPr defTabSz="171450">
              <a:spcAft>
                <a:spcPts val="900"/>
              </a:spcAft>
            </a:pPr>
            <a:r>
              <a:rPr lang="de-DE" b="1" noProof="0"/>
              <a:t>Technology Areas</a:t>
            </a:r>
          </a:p>
        </p:txBody>
      </p:sp>
      <p:sp>
        <p:nvSpPr>
          <p:cNvPr id="67" name="Rectangle 66">
            <a:extLst>
              <a:ext uri="{FF2B5EF4-FFF2-40B4-BE49-F238E27FC236}">
                <a16:creationId xmlns:a16="http://schemas.microsoft.com/office/drawing/2014/main" id="{B8F1D8DF-CBCA-4F9B-9A0D-39B2AB7A4FF9}"/>
              </a:ext>
            </a:extLst>
          </p:cNvPr>
          <p:cNvSpPr/>
          <p:nvPr/>
        </p:nvSpPr>
        <p:spPr>
          <a:xfrm>
            <a:off x="1729790" y="3645960"/>
            <a:ext cx="1562100" cy="60086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marL="0" lvl="2" algn="ctr">
              <a:spcBef>
                <a:spcPts val="225"/>
              </a:spcBef>
              <a:spcAft>
                <a:spcPts val="0"/>
              </a:spcAft>
            </a:pPr>
            <a:r>
              <a:rPr lang="en-US" sz="1200" b="1">
                <a:solidFill>
                  <a:srgbClr val="A100FF"/>
                </a:solidFill>
              </a:rPr>
              <a:t>Cloud &amp; Edge </a:t>
            </a:r>
            <a:br>
              <a:rPr lang="en-US" sz="1200" b="1">
                <a:solidFill>
                  <a:srgbClr val="A100FF"/>
                </a:solidFill>
              </a:rPr>
            </a:br>
            <a:r>
              <a:rPr lang="en-US" sz="1200" b="1">
                <a:solidFill>
                  <a:srgbClr val="A100FF"/>
                </a:solidFill>
              </a:rPr>
              <a:t>Systems </a:t>
            </a:r>
            <a:br>
              <a:rPr lang="en-US" sz="1200" b="1">
                <a:solidFill>
                  <a:srgbClr val="A100FF"/>
                </a:solidFill>
              </a:rPr>
            </a:br>
            <a:endParaRPr lang="en-US" sz="825">
              <a:solidFill>
                <a:schemeClr val="tx1"/>
              </a:solidFill>
            </a:endParaRPr>
          </a:p>
        </p:txBody>
      </p:sp>
      <p:sp>
        <p:nvSpPr>
          <p:cNvPr id="68" name="Rectangle 67">
            <a:extLst>
              <a:ext uri="{FF2B5EF4-FFF2-40B4-BE49-F238E27FC236}">
                <a16:creationId xmlns:a16="http://schemas.microsoft.com/office/drawing/2014/main" id="{8B175175-F1A8-4755-9B7A-DFD5151327EA}"/>
              </a:ext>
            </a:extLst>
          </p:cNvPr>
          <p:cNvSpPr/>
          <p:nvPr/>
        </p:nvSpPr>
        <p:spPr>
          <a:xfrm>
            <a:off x="160628" y="3627446"/>
            <a:ext cx="1562100" cy="60086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marL="0" lvl="2" algn="ctr">
              <a:spcBef>
                <a:spcPts val="225"/>
              </a:spcBef>
              <a:spcAft>
                <a:spcPts val="0"/>
              </a:spcAft>
            </a:pPr>
            <a:r>
              <a:rPr lang="en-US" sz="1200" b="1">
                <a:solidFill>
                  <a:srgbClr val="A100FF"/>
                </a:solidFill>
              </a:rPr>
              <a:t>Custom Software</a:t>
            </a:r>
            <a:br>
              <a:rPr lang="en-US" sz="1200" b="1">
                <a:solidFill>
                  <a:srgbClr val="A100FF"/>
                </a:solidFill>
              </a:rPr>
            </a:br>
            <a:r>
              <a:rPr lang="en-US" sz="1200" b="1">
                <a:solidFill>
                  <a:srgbClr val="A100FF"/>
                </a:solidFill>
              </a:rPr>
              <a:t>Development</a:t>
            </a:r>
            <a:br>
              <a:rPr lang="en-US" sz="1200" b="1">
                <a:solidFill>
                  <a:srgbClr val="A100FF"/>
                </a:solidFill>
              </a:rPr>
            </a:br>
            <a:endParaRPr lang="en-US" sz="825">
              <a:solidFill>
                <a:schemeClr val="tx1"/>
              </a:solidFill>
            </a:endParaRPr>
          </a:p>
        </p:txBody>
      </p:sp>
      <p:sp>
        <p:nvSpPr>
          <p:cNvPr id="69" name="Rectangle 68">
            <a:extLst>
              <a:ext uri="{FF2B5EF4-FFF2-40B4-BE49-F238E27FC236}">
                <a16:creationId xmlns:a16="http://schemas.microsoft.com/office/drawing/2014/main" id="{A92EF734-37DF-43FC-857D-3BA3F6B16AC7}"/>
              </a:ext>
            </a:extLst>
          </p:cNvPr>
          <p:cNvSpPr/>
          <p:nvPr/>
        </p:nvSpPr>
        <p:spPr>
          <a:xfrm>
            <a:off x="2545512" y="3762316"/>
            <a:ext cx="2471789" cy="689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marL="0" lvl="2" algn="ctr">
              <a:spcBef>
                <a:spcPts val="225"/>
              </a:spcBef>
            </a:pPr>
            <a:r>
              <a:rPr lang="en-US" sz="1200" b="1">
                <a:solidFill>
                  <a:srgbClr val="A100FF"/>
                </a:solidFill>
              </a:rPr>
              <a:t>OT </a:t>
            </a:r>
            <a:br>
              <a:rPr lang="en-US" sz="1200" b="1">
                <a:solidFill>
                  <a:srgbClr val="A100FF"/>
                </a:solidFill>
              </a:rPr>
            </a:br>
            <a:r>
              <a:rPr lang="en-US" sz="1200" b="1">
                <a:solidFill>
                  <a:srgbClr val="A100FF"/>
                </a:solidFill>
              </a:rPr>
              <a:t>Integration</a:t>
            </a:r>
          </a:p>
          <a:p>
            <a:pPr marL="0" lvl="2" algn="ctr">
              <a:spcBef>
                <a:spcPts val="225"/>
              </a:spcBef>
            </a:pPr>
            <a:endParaRPr lang="en-US" sz="1200" b="1">
              <a:solidFill>
                <a:srgbClr val="A100FF"/>
              </a:solidFill>
            </a:endParaRPr>
          </a:p>
          <a:p>
            <a:pPr marL="0" lvl="2" algn="ctr">
              <a:spcBef>
                <a:spcPts val="225"/>
              </a:spcBef>
            </a:pPr>
            <a:br>
              <a:rPr lang="en-US" sz="1200" b="1">
                <a:solidFill>
                  <a:srgbClr val="A100FF"/>
                </a:solidFill>
              </a:rPr>
            </a:br>
            <a:endParaRPr lang="en-US" sz="825" b="1">
              <a:solidFill>
                <a:schemeClr val="tx2">
                  <a:lumMod val="75000"/>
                </a:schemeClr>
              </a:solidFill>
            </a:endParaRPr>
          </a:p>
        </p:txBody>
      </p:sp>
      <p:sp>
        <p:nvSpPr>
          <p:cNvPr id="70" name="Rectangle 69">
            <a:extLst>
              <a:ext uri="{FF2B5EF4-FFF2-40B4-BE49-F238E27FC236}">
                <a16:creationId xmlns:a16="http://schemas.microsoft.com/office/drawing/2014/main" id="{B7B2447C-ED5F-4FD7-8E9F-4D5F4810A8CC}"/>
              </a:ext>
            </a:extLst>
          </p:cNvPr>
          <p:cNvSpPr/>
          <p:nvPr/>
        </p:nvSpPr>
        <p:spPr>
          <a:xfrm>
            <a:off x="4162007" y="3674499"/>
            <a:ext cx="2017641" cy="32909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68580" bIns="68580" rtlCol="0" anchor="ctr"/>
          <a:lstStyle/>
          <a:p>
            <a:pPr marL="0" lvl="2" algn="ctr">
              <a:spcBef>
                <a:spcPts val="225"/>
              </a:spcBef>
            </a:pPr>
            <a:r>
              <a:rPr lang="en-US" sz="1200" b="1">
                <a:solidFill>
                  <a:srgbClr val="A100FF"/>
                </a:solidFill>
              </a:rPr>
              <a:t>Data Management &amp; </a:t>
            </a:r>
            <a:br>
              <a:rPr lang="en-US" sz="1200" b="1">
                <a:solidFill>
                  <a:srgbClr val="A100FF"/>
                </a:solidFill>
              </a:rPr>
            </a:br>
            <a:r>
              <a:rPr lang="en-US" sz="1200" b="1">
                <a:solidFill>
                  <a:srgbClr val="A100FF"/>
                </a:solidFill>
              </a:rPr>
              <a:t>Processing</a:t>
            </a:r>
            <a:endParaRPr lang="en-US" sz="825">
              <a:solidFill>
                <a:schemeClr val="tx1"/>
              </a:solidFill>
            </a:endParaRPr>
          </a:p>
        </p:txBody>
      </p:sp>
      <p:grpSp>
        <p:nvGrpSpPr>
          <p:cNvPr id="71" name="Gruppieren 113">
            <a:extLst>
              <a:ext uri="{FF2B5EF4-FFF2-40B4-BE49-F238E27FC236}">
                <a16:creationId xmlns:a16="http://schemas.microsoft.com/office/drawing/2014/main" id="{8E05FEB5-97A6-465D-8021-23F73FC012FF}"/>
              </a:ext>
            </a:extLst>
          </p:cNvPr>
          <p:cNvGrpSpPr/>
          <p:nvPr/>
        </p:nvGrpSpPr>
        <p:grpSpPr>
          <a:xfrm>
            <a:off x="2676623" y="2181163"/>
            <a:ext cx="515678" cy="556610"/>
            <a:chOff x="13709505" y="4228862"/>
            <a:chExt cx="1448677" cy="1573444"/>
          </a:xfrm>
        </p:grpSpPr>
        <p:sp>
          <p:nvSpPr>
            <p:cNvPr id="72" name="Hexagon 15">
              <a:extLst>
                <a:ext uri="{FF2B5EF4-FFF2-40B4-BE49-F238E27FC236}">
                  <a16:creationId xmlns:a16="http://schemas.microsoft.com/office/drawing/2014/main" id="{37C495FA-8553-41A6-8DC6-73D72F37D978}"/>
                </a:ext>
              </a:extLst>
            </p:cNvPr>
            <p:cNvSpPr/>
            <p:nvPr/>
          </p:nvSpPr>
          <p:spPr>
            <a:xfrm rot="5400000">
              <a:off x="13647122" y="4291245"/>
              <a:ext cx="1573444" cy="1448677"/>
            </a:xfrm>
            <a:prstGeom prst="hexag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73" name="Shape 2630">
              <a:extLst>
                <a:ext uri="{FF2B5EF4-FFF2-40B4-BE49-F238E27FC236}">
                  <a16:creationId xmlns:a16="http://schemas.microsoft.com/office/drawing/2014/main" id="{DD9EC30D-FAB0-48A4-9445-5E4509BBE353}"/>
                </a:ext>
              </a:extLst>
            </p:cNvPr>
            <p:cNvSpPr/>
            <p:nvPr/>
          </p:nvSpPr>
          <p:spPr>
            <a:xfrm>
              <a:off x="14074817" y="4684990"/>
              <a:ext cx="713907" cy="668838"/>
            </a:xfrm>
            <a:custGeom>
              <a:avLst/>
              <a:gdLst/>
              <a:ahLst/>
              <a:cxnLst>
                <a:cxn ang="0">
                  <a:pos x="wd2" y="hd2"/>
                </a:cxn>
                <a:cxn ang="5400000">
                  <a:pos x="wd2" y="hd2"/>
                </a:cxn>
                <a:cxn ang="10800000">
                  <a:pos x="wd2" y="hd2"/>
                </a:cxn>
                <a:cxn ang="16200000">
                  <a:pos x="wd2" y="hd2"/>
                </a:cxn>
              </a:cxnLst>
              <a:rect l="0" t="0" r="r" b="b"/>
              <a:pathLst>
                <a:path w="21086" h="21600" extrusionOk="0">
                  <a:moveTo>
                    <a:pt x="11502" y="10309"/>
                  </a:moveTo>
                  <a:cubicBezTo>
                    <a:pt x="11767" y="10309"/>
                    <a:pt x="11981" y="10090"/>
                    <a:pt x="11981" y="9818"/>
                  </a:cubicBezTo>
                  <a:cubicBezTo>
                    <a:pt x="11981" y="9547"/>
                    <a:pt x="11767" y="9327"/>
                    <a:pt x="11502" y="9327"/>
                  </a:cubicBezTo>
                  <a:cubicBezTo>
                    <a:pt x="11237" y="9327"/>
                    <a:pt x="11022" y="9547"/>
                    <a:pt x="11022" y="9818"/>
                  </a:cubicBezTo>
                  <a:cubicBezTo>
                    <a:pt x="11022" y="10090"/>
                    <a:pt x="11237" y="10309"/>
                    <a:pt x="11502" y="10309"/>
                  </a:cubicBezTo>
                  <a:moveTo>
                    <a:pt x="15818" y="4909"/>
                  </a:moveTo>
                  <a:cubicBezTo>
                    <a:pt x="16083" y="4909"/>
                    <a:pt x="16297" y="5129"/>
                    <a:pt x="16297" y="5400"/>
                  </a:cubicBezTo>
                  <a:cubicBezTo>
                    <a:pt x="16297" y="5672"/>
                    <a:pt x="16083" y="5891"/>
                    <a:pt x="15818" y="5891"/>
                  </a:cubicBezTo>
                  <a:cubicBezTo>
                    <a:pt x="15553" y="5891"/>
                    <a:pt x="15338" y="5672"/>
                    <a:pt x="15338" y="5400"/>
                  </a:cubicBezTo>
                  <a:cubicBezTo>
                    <a:pt x="15338" y="5129"/>
                    <a:pt x="15553" y="4909"/>
                    <a:pt x="15818" y="4909"/>
                  </a:cubicBezTo>
                  <a:moveTo>
                    <a:pt x="15818" y="6873"/>
                  </a:moveTo>
                  <a:cubicBezTo>
                    <a:pt x="16612" y="6873"/>
                    <a:pt x="17256" y="6213"/>
                    <a:pt x="17256" y="5400"/>
                  </a:cubicBezTo>
                  <a:cubicBezTo>
                    <a:pt x="17256" y="4587"/>
                    <a:pt x="16612" y="3928"/>
                    <a:pt x="15818" y="3928"/>
                  </a:cubicBezTo>
                  <a:cubicBezTo>
                    <a:pt x="15023" y="3928"/>
                    <a:pt x="14379" y="4587"/>
                    <a:pt x="14379" y="5400"/>
                  </a:cubicBezTo>
                  <a:cubicBezTo>
                    <a:pt x="14379" y="6213"/>
                    <a:pt x="15023" y="6873"/>
                    <a:pt x="15818" y="6873"/>
                  </a:cubicBezTo>
                  <a:moveTo>
                    <a:pt x="12941" y="11782"/>
                  </a:moveTo>
                  <a:cubicBezTo>
                    <a:pt x="13206" y="11782"/>
                    <a:pt x="13420" y="11562"/>
                    <a:pt x="13420" y="11291"/>
                  </a:cubicBezTo>
                  <a:cubicBezTo>
                    <a:pt x="13420" y="11020"/>
                    <a:pt x="13206" y="10800"/>
                    <a:pt x="12941" y="10800"/>
                  </a:cubicBezTo>
                  <a:cubicBezTo>
                    <a:pt x="12675" y="10800"/>
                    <a:pt x="12461" y="11020"/>
                    <a:pt x="12461" y="11291"/>
                  </a:cubicBezTo>
                  <a:cubicBezTo>
                    <a:pt x="12461" y="11562"/>
                    <a:pt x="12675" y="11782"/>
                    <a:pt x="12941" y="11782"/>
                  </a:cubicBezTo>
                  <a:moveTo>
                    <a:pt x="10063" y="7855"/>
                  </a:moveTo>
                  <a:cubicBezTo>
                    <a:pt x="9798" y="7855"/>
                    <a:pt x="9584" y="8074"/>
                    <a:pt x="9584" y="8346"/>
                  </a:cubicBezTo>
                  <a:cubicBezTo>
                    <a:pt x="9584" y="8617"/>
                    <a:pt x="9798" y="8836"/>
                    <a:pt x="10063" y="8836"/>
                  </a:cubicBezTo>
                  <a:cubicBezTo>
                    <a:pt x="10328" y="8836"/>
                    <a:pt x="10543" y="8617"/>
                    <a:pt x="10543" y="8346"/>
                  </a:cubicBezTo>
                  <a:cubicBezTo>
                    <a:pt x="10543" y="8074"/>
                    <a:pt x="10328" y="7855"/>
                    <a:pt x="10063" y="7855"/>
                  </a:cubicBezTo>
                  <a:moveTo>
                    <a:pt x="1718" y="19842"/>
                  </a:moveTo>
                  <a:lnTo>
                    <a:pt x="3451" y="15392"/>
                  </a:lnTo>
                  <a:cubicBezTo>
                    <a:pt x="3684" y="15834"/>
                    <a:pt x="3973" y="16253"/>
                    <a:pt x="4312" y="16642"/>
                  </a:cubicBezTo>
                  <a:cubicBezTo>
                    <a:pt x="4824" y="17230"/>
                    <a:pt x="5418" y="17711"/>
                    <a:pt x="6061" y="18068"/>
                  </a:cubicBezTo>
                  <a:cubicBezTo>
                    <a:pt x="6061" y="18068"/>
                    <a:pt x="1718" y="19842"/>
                    <a:pt x="1718" y="19842"/>
                  </a:cubicBezTo>
                  <a:close/>
                  <a:moveTo>
                    <a:pt x="3717" y="12060"/>
                  </a:moveTo>
                  <a:lnTo>
                    <a:pt x="0" y="21600"/>
                  </a:lnTo>
                  <a:lnTo>
                    <a:pt x="9319" y="17795"/>
                  </a:lnTo>
                  <a:cubicBezTo>
                    <a:pt x="9153" y="17815"/>
                    <a:pt x="8987" y="17824"/>
                    <a:pt x="8822" y="17824"/>
                  </a:cubicBezTo>
                  <a:cubicBezTo>
                    <a:pt x="5971" y="17824"/>
                    <a:pt x="3389" y="15002"/>
                    <a:pt x="3717" y="12060"/>
                  </a:cubicBezTo>
                  <a:moveTo>
                    <a:pt x="16115" y="10657"/>
                  </a:moveTo>
                  <a:cubicBezTo>
                    <a:pt x="15925" y="10851"/>
                    <a:pt x="15627" y="11171"/>
                    <a:pt x="15280" y="11542"/>
                  </a:cubicBezTo>
                  <a:cubicBezTo>
                    <a:pt x="14662" y="12204"/>
                    <a:pt x="13712" y="13221"/>
                    <a:pt x="13147" y="13753"/>
                  </a:cubicBezTo>
                  <a:lnTo>
                    <a:pt x="7665" y="8141"/>
                  </a:lnTo>
                  <a:cubicBezTo>
                    <a:pt x="8185" y="7563"/>
                    <a:pt x="9179" y="6590"/>
                    <a:pt x="9825" y="5958"/>
                  </a:cubicBezTo>
                  <a:cubicBezTo>
                    <a:pt x="10188" y="5603"/>
                    <a:pt x="10500" y="5298"/>
                    <a:pt x="10690" y="5103"/>
                  </a:cubicBezTo>
                  <a:cubicBezTo>
                    <a:pt x="13284" y="2447"/>
                    <a:pt x="18271" y="993"/>
                    <a:pt x="20136" y="982"/>
                  </a:cubicBezTo>
                  <a:cubicBezTo>
                    <a:pt x="20132" y="2572"/>
                    <a:pt x="18824" y="7884"/>
                    <a:pt x="16115" y="10657"/>
                  </a:cubicBezTo>
                  <a:moveTo>
                    <a:pt x="12477" y="14563"/>
                  </a:moveTo>
                  <a:cubicBezTo>
                    <a:pt x="12127" y="15873"/>
                    <a:pt x="11665" y="17072"/>
                    <a:pt x="11154" y="18035"/>
                  </a:cubicBezTo>
                  <a:cubicBezTo>
                    <a:pt x="10943" y="17454"/>
                    <a:pt x="10642" y="16798"/>
                    <a:pt x="10214" y="16110"/>
                  </a:cubicBezTo>
                  <a:cubicBezTo>
                    <a:pt x="10035" y="15823"/>
                    <a:pt x="9728" y="15656"/>
                    <a:pt x="9405" y="15656"/>
                  </a:cubicBezTo>
                  <a:cubicBezTo>
                    <a:pt x="9329" y="15656"/>
                    <a:pt x="9252" y="15665"/>
                    <a:pt x="9176" y="15684"/>
                  </a:cubicBezTo>
                  <a:cubicBezTo>
                    <a:pt x="8990" y="15731"/>
                    <a:pt x="8799" y="15755"/>
                    <a:pt x="8610" y="15755"/>
                  </a:cubicBezTo>
                  <a:cubicBezTo>
                    <a:pt x="7905" y="15755"/>
                    <a:pt x="7217" y="15432"/>
                    <a:pt x="6621" y="14822"/>
                  </a:cubicBezTo>
                  <a:cubicBezTo>
                    <a:pt x="5861" y="14044"/>
                    <a:pt x="5561" y="13114"/>
                    <a:pt x="5779" y="12206"/>
                  </a:cubicBezTo>
                  <a:cubicBezTo>
                    <a:pt x="5877" y="11797"/>
                    <a:pt x="5709" y="11370"/>
                    <a:pt x="5363" y="11144"/>
                  </a:cubicBezTo>
                  <a:cubicBezTo>
                    <a:pt x="4690" y="10706"/>
                    <a:pt x="4050" y="10398"/>
                    <a:pt x="3482" y="10183"/>
                  </a:cubicBezTo>
                  <a:cubicBezTo>
                    <a:pt x="4423" y="9658"/>
                    <a:pt x="5594" y="9186"/>
                    <a:pt x="6874" y="8827"/>
                  </a:cubicBezTo>
                  <a:cubicBezTo>
                    <a:pt x="6900" y="8820"/>
                    <a:pt x="6921" y="8803"/>
                    <a:pt x="6946" y="8793"/>
                  </a:cubicBezTo>
                  <a:lnTo>
                    <a:pt x="12510" y="14490"/>
                  </a:lnTo>
                  <a:cubicBezTo>
                    <a:pt x="12501" y="14515"/>
                    <a:pt x="12484" y="14536"/>
                    <a:pt x="12477" y="14563"/>
                  </a:cubicBezTo>
                  <a:moveTo>
                    <a:pt x="20922" y="167"/>
                  </a:moveTo>
                  <a:cubicBezTo>
                    <a:pt x="20813" y="55"/>
                    <a:pt x="20545" y="0"/>
                    <a:pt x="20157" y="0"/>
                  </a:cubicBezTo>
                  <a:cubicBezTo>
                    <a:pt x="18131" y="0"/>
                    <a:pt x="12842" y="1511"/>
                    <a:pt x="10012" y="4409"/>
                  </a:cubicBezTo>
                  <a:cubicBezTo>
                    <a:pt x="9345" y="5092"/>
                    <a:pt x="7134" y="7175"/>
                    <a:pt x="6621" y="7880"/>
                  </a:cubicBezTo>
                  <a:cubicBezTo>
                    <a:pt x="4961" y="8346"/>
                    <a:pt x="2544" y="9277"/>
                    <a:pt x="1196" y="10657"/>
                  </a:cubicBezTo>
                  <a:cubicBezTo>
                    <a:pt x="1196" y="10657"/>
                    <a:pt x="2841" y="10663"/>
                    <a:pt x="4848" y="11972"/>
                  </a:cubicBezTo>
                  <a:cubicBezTo>
                    <a:pt x="4556" y="13190"/>
                    <a:pt x="4926" y="14475"/>
                    <a:pt x="5943" y="15516"/>
                  </a:cubicBezTo>
                  <a:cubicBezTo>
                    <a:pt x="6735" y="16327"/>
                    <a:pt x="7672" y="16737"/>
                    <a:pt x="8610" y="16737"/>
                  </a:cubicBezTo>
                  <a:cubicBezTo>
                    <a:pt x="8876" y="16737"/>
                    <a:pt x="9142" y="16704"/>
                    <a:pt x="9405" y="16637"/>
                  </a:cubicBezTo>
                  <a:cubicBezTo>
                    <a:pt x="10683" y="18692"/>
                    <a:pt x="10690" y="20376"/>
                    <a:pt x="10690" y="20376"/>
                  </a:cubicBezTo>
                  <a:cubicBezTo>
                    <a:pt x="12038" y="18996"/>
                    <a:pt x="12948" y="16521"/>
                    <a:pt x="13402" y="14822"/>
                  </a:cubicBezTo>
                  <a:cubicBezTo>
                    <a:pt x="14091" y="14297"/>
                    <a:pt x="16126" y="12034"/>
                    <a:pt x="16793" y="11351"/>
                  </a:cubicBezTo>
                  <a:cubicBezTo>
                    <a:pt x="20164" y="7900"/>
                    <a:pt x="21600" y="861"/>
                    <a:pt x="20922" y="167"/>
                  </a:cubicBezTo>
                </a:path>
              </a:pathLst>
            </a:custGeom>
            <a:solidFill>
              <a:schemeClr val="accent1"/>
            </a:solidFill>
            <a:ln w="12700">
              <a:miter lim="400000"/>
            </a:ln>
          </p:spPr>
          <p:txBody>
            <a:bodyPr lIns="14287" tIns="14287" rIns="14287" bIns="14287" anchor="ctr"/>
            <a:lstStyle/>
            <a:p>
              <a:pPr algn="ctr" defTabSz="171435" hangingPunct="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750" kern="0">
                <a:solidFill>
                  <a:srgbClr val="FFFFFF"/>
                </a:solidFill>
                <a:effectLst>
                  <a:outerShdw blurRad="38100" dist="12700" dir="5400000" rotWithShape="0">
                    <a:srgbClr val="000000">
                      <a:alpha val="50000"/>
                    </a:srgbClr>
                  </a:outerShdw>
                </a:effectLst>
                <a:latin typeface="Arial"/>
                <a:ea typeface="Arial"/>
                <a:cs typeface="Arial"/>
                <a:sym typeface="Gill Sans"/>
              </a:endParaRPr>
            </a:p>
          </p:txBody>
        </p:sp>
      </p:grpSp>
      <p:grpSp>
        <p:nvGrpSpPr>
          <p:cNvPr id="74" name="Gruppieren 119">
            <a:extLst>
              <a:ext uri="{FF2B5EF4-FFF2-40B4-BE49-F238E27FC236}">
                <a16:creationId xmlns:a16="http://schemas.microsoft.com/office/drawing/2014/main" id="{8BF65C4A-F904-4CB8-86EB-C957E4E38991}"/>
              </a:ext>
            </a:extLst>
          </p:cNvPr>
          <p:cNvGrpSpPr/>
          <p:nvPr/>
        </p:nvGrpSpPr>
        <p:grpSpPr>
          <a:xfrm>
            <a:off x="2982120" y="2821096"/>
            <a:ext cx="515678" cy="556610"/>
            <a:chOff x="16541694" y="1000605"/>
            <a:chExt cx="1448677" cy="1573444"/>
          </a:xfrm>
        </p:grpSpPr>
        <p:sp>
          <p:nvSpPr>
            <p:cNvPr id="75" name="Hexagon 15">
              <a:extLst>
                <a:ext uri="{FF2B5EF4-FFF2-40B4-BE49-F238E27FC236}">
                  <a16:creationId xmlns:a16="http://schemas.microsoft.com/office/drawing/2014/main" id="{0D4E1110-6A30-4931-B0FE-2E965AB2D1F9}"/>
                </a:ext>
              </a:extLst>
            </p:cNvPr>
            <p:cNvSpPr/>
            <p:nvPr/>
          </p:nvSpPr>
          <p:spPr>
            <a:xfrm rot="5400000">
              <a:off x="16479311" y="1062988"/>
              <a:ext cx="1573444" cy="1448677"/>
            </a:xfrm>
            <a:prstGeom prst="hexag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76" name="Gruppieren 121">
              <a:extLst>
                <a:ext uri="{FF2B5EF4-FFF2-40B4-BE49-F238E27FC236}">
                  <a16:creationId xmlns:a16="http://schemas.microsoft.com/office/drawing/2014/main" id="{07AC7E0B-4B09-4ADE-820D-B3D447B047E7}"/>
                </a:ext>
              </a:extLst>
            </p:cNvPr>
            <p:cNvGrpSpPr>
              <a:grpSpLocks noChangeAspect="1"/>
            </p:cNvGrpSpPr>
            <p:nvPr/>
          </p:nvGrpSpPr>
          <p:grpSpPr>
            <a:xfrm>
              <a:off x="16935730" y="1477145"/>
              <a:ext cx="821328" cy="720000"/>
              <a:chOff x="14066526" y="5537535"/>
              <a:chExt cx="664273" cy="582320"/>
            </a:xfrm>
            <a:solidFill>
              <a:schemeClr val="accent1"/>
            </a:solidFill>
          </p:grpSpPr>
          <p:sp>
            <p:nvSpPr>
              <p:cNvPr id="77" name="Freeform 526">
                <a:extLst>
                  <a:ext uri="{FF2B5EF4-FFF2-40B4-BE49-F238E27FC236}">
                    <a16:creationId xmlns:a16="http://schemas.microsoft.com/office/drawing/2014/main" id="{09F00B38-F582-47E8-80B7-E94241E67C7C}"/>
                  </a:ext>
                </a:extLst>
              </p:cNvPr>
              <p:cNvSpPr>
                <a:spLocks noEditPoints="1"/>
              </p:cNvSpPr>
              <p:nvPr/>
            </p:nvSpPr>
            <p:spPr bwMode="auto">
              <a:xfrm>
                <a:off x="14066526" y="5537535"/>
                <a:ext cx="526552" cy="582320"/>
              </a:xfrm>
              <a:custGeom>
                <a:avLst/>
                <a:gdLst>
                  <a:gd name="T0" fmla="*/ 567 w 574"/>
                  <a:gd name="T1" fmla="*/ 112 h 624"/>
                  <a:gd name="T2" fmla="*/ 563 w 574"/>
                  <a:gd name="T3" fmla="*/ 111 h 624"/>
                  <a:gd name="T4" fmla="*/ 563 w 574"/>
                  <a:gd name="T5" fmla="*/ 110 h 624"/>
                  <a:gd name="T6" fmla="*/ 293 w 574"/>
                  <a:gd name="T7" fmla="*/ 2 h 624"/>
                  <a:gd name="T8" fmla="*/ 280 w 574"/>
                  <a:gd name="T9" fmla="*/ 3 h 624"/>
                  <a:gd name="T10" fmla="*/ 10 w 574"/>
                  <a:gd name="T11" fmla="*/ 144 h 624"/>
                  <a:gd name="T12" fmla="*/ 9 w 574"/>
                  <a:gd name="T13" fmla="*/ 144 h 624"/>
                  <a:gd name="T14" fmla="*/ 7 w 574"/>
                  <a:gd name="T15" fmla="*/ 146 h 624"/>
                  <a:gd name="T16" fmla="*/ 0 w 574"/>
                  <a:gd name="T17" fmla="*/ 158 h 624"/>
                  <a:gd name="T18" fmla="*/ 0 w 574"/>
                  <a:gd name="T19" fmla="*/ 510 h 624"/>
                  <a:gd name="T20" fmla="*/ 10 w 574"/>
                  <a:gd name="T21" fmla="*/ 524 h 624"/>
                  <a:gd name="T22" fmla="*/ 282 w 574"/>
                  <a:gd name="T23" fmla="*/ 623 h 624"/>
                  <a:gd name="T24" fmla="*/ 283 w 574"/>
                  <a:gd name="T25" fmla="*/ 623 h 624"/>
                  <a:gd name="T26" fmla="*/ 283 w 574"/>
                  <a:gd name="T27" fmla="*/ 623 h 624"/>
                  <a:gd name="T28" fmla="*/ 285 w 574"/>
                  <a:gd name="T29" fmla="*/ 623 h 624"/>
                  <a:gd name="T30" fmla="*/ 285 w 574"/>
                  <a:gd name="T31" fmla="*/ 623 h 624"/>
                  <a:gd name="T32" fmla="*/ 287 w 574"/>
                  <a:gd name="T33" fmla="*/ 624 h 624"/>
                  <a:gd name="T34" fmla="*/ 289 w 574"/>
                  <a:gd name="T35" fmla="*/ 623 h 624"/>
                  <a:gd name="T36" fmla="*/ 290 w 574"/>
                  <a:gd name="T37" fmla="*/ 623 h 624"/>
                  <a:gd name="T38" fmla="*/ 291 w 574"/>
                  <a:gd name="T39" fmla="*/ 623 h 624"/>
                  <a:gd name="T40" fmla="*/ 292 w 574"/>
                  <a:gd name="T41" fmla="*/ 623 h 624"/>
                  <a:gd name="T42" fmla="*/ 294 w 574"/>
                  <a:gd name="T43" fmla="*/ 622 h 624"/>
                  <a:gd name="T44" fmla="*/ 294 w 574"/>
                  <a:gd name="T45" fmla="*/ 622 h 624"/>
                  <a:gd name="T46" fmla="*/ 294 w 574"/>
                  <a:gd name="T47" fmla="*/ 622 h 624"/>
                  <a:gd name="T48" fmla="*/ 566 w 574"/>
                  <a:gd name="T49" fmla="*/ 490 h 624"/>
                  <a:gd name="T50" fmla="*/ 574 w 574"/>
                  <a:gd name="T51" fmla="*/ 477 h 624"/>
                  <a:gd name="T52" fmla="*/ 574 w 574"/>
                  <a:gd name="T53" fmla="*/ 125 h 624"/>
                  <a:gd name="T54" fmla="*/ 567 w 574"/>
                  <a:gd name="T55" fmla="*/ 112 h 624"/>
                  <a:gd name="T56" fmla="*/ 288 w 574"/>
                  <a:gd name="T57" fmla="*/ 33 h 624"/>
                  <a:gd name="T58" fmla="*/ 521 w 574"/>
                  <a:gd name="T59" fmla="*/ 126 h 624"/>
                  <a:gd name="T60" fmla="*/ 286 w 574"/>
                  <a:gd name="T61" fmla="*/ 240 h 624"/>
                  <a:gd name="T62" fmla="*/ 53 w 574"/>
                  <a:gd name="T63" fmla="*/ 156 h 624"/>
                  <a:gd name="T64" fmla="*/ 288 w 574"/>
                  <a:gd name="T65" fmla="*/ 33 h 624"/>
                  <a:gd name="T66" fmla="*/ 31 w 574"/>
                  <a:gd name="T67" fmla="*/ 180 h 624"/>
                  <a:gd name="T68" fmla="*/ 272 w 574"/>
                  <a:gd name="T69" fmla="*/ 267 h 624"/>
                  <a:gd name="T70" fmla="*/ 272 w 574"/>
                  <a:gd name="T71" fmla="*/ 586 h 624"/>
                  <a:gd name="T72" fmla="*/ 31 w 574"/>
                  <a:gd name="T73" fmla="*/ 499 h 624"/>
                  <a:gd name="T74" fmla="*/ 31 w 574"/>
                  <a:gd name="T75" fmla="*/ 180 h 624"/>
                  <a:gd name="T76" fmla="*/ 544 w 574"/>
                  <a:gd name="T77" fmla="*/ 467 h 624"/>
                  <a:gd name="T78" fmla="*/ 303 w 574"/>
                  <a:gd name="T79" fmla="*/ 584 h 624"/>
                  <a:gd name="T80" fmla="*/ 303 w 574"/>
                  <a:gd name="T81" fmla="*/ 266 h 624"/>
                  <a:gd name="T82" fmla="*/ 544 w 574"/>
                  <a:gd name="T83" fmla="*/ 149 h 624"/>
                  <a:gd name="T84" fmla="*/ 544 w 574"/>
                  <a:gd name="T85" fmla="*/ 467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4" h="624">
                    <a:moveTo>
                      <a:pt x="567" y="112"/>
                    </a:moveTo>
                    <a:cubicBezTo>
                      <a:pt x="566" y="111"/>
                      <a:pt x="565" y="111"/>
                      <a:pt x="563" y="111"/>
                    </a:cubicBezTo>
                    <a:cubicBezTo>
                      <a:pt x="563" y="110"/>
                      <a:pt x="563" y="110"/>
                      <a:pt x="563" y="110"/>
                    </a:cubicBezTo>
                    <a:cubicBezTo>
                      <a:pt x="293" y="2"/>
                      <a:pt x="293" y="2"/>
                      <a:pt x="293" y="2"/>
                    </a:cubicBezTo>
                    <a:cubicBezTo>
                      <a:pt x="289" y="0"/>
                      <a:pt x="284" y="0"/>
                      <a:pt x="280" y="3"/>
                    </a:cubicBezTo>
                    <a:cubicBezTo>
                      <a:pt x="10" y="144"/>
                      <a:pt x="10" y="144"/>
                      <a:pt x="10" y="144"/>
                    </a:cubicBezTo>
                    <a:cubicBezTo>
                      <a:pt x="9" y="144"/>
                      <a:pt x="9" y="144"/>
                      <a:pt x="9" y="144"/>
                    </a:cubicBezTo>
                    <a:cubicBezTo>
                      <a:pt x="8" y="145"/>
                      <a:pt x="8" y="145"/>
                      <a:pt x="7" y="146"/>
                    </a:cubicBezTo>
                    <a:cubicBezTo>
                      <a:pt x="3" y="148"/>
                      <a:pt x="0" y="153"/>
                      <a:pt x="0" y="158"/>
                    </a:cubicBezTo>
                    <a:cubicBezTo>
                      <a:pt x="0" y="510"/>
                      <a:pt x="0" y="510"/>
                      <a:pt x="0" y="510"/>
                    </a:cubicBezTo>
                    <a:cubicBezTo>
                      <a:pt x="0" y="516"/>
                      <a:pt x="4" y="522"/>
                      <a:pt x="10" y="524"/>
                    </a:cubicBezTo>
                    <a:cubicBezTo>
                      <a:pt x="282" y="623"/>
                      <a:pt x="282" y="623"/>
                      <a:pt x="282" y="623"/>
                    </a:cubicBezTo>
                    <a:cubicBezTo>
                      <a:pt x="282" y="623"/>
                      <a:pt x="283" y="623"/>
                      <a:pt x="283" y="623"/>
                    </a:cubicBezTo>
                    <a:cubicBezTo>
                      <a:pt x="283" y="623"/>
                      <a:pt x="283" y="623"/>
                      <a:pt x="283" y="623"/>
                    </a:cubicBezTo>
                    <a:cubicBezTo>
                      <a:pt x="284" y="623"/>
                      <a:pt x="284" y="623"/>
                      <a:pt x="285" y="623"/>
                    </a:cubicBezTo>
                    <a:cubicBezTo>
                      <a:pt x="285" y="623"/>
                      <a:pt x="285" y="623"/>
                      <a:pt x="285" y="623"/>
                    </a:cubicBezTo>
                    <a:cubicBezTo>
                      <a:pt x="286" y="623"/>
                      <a:pt x="287" y="624"/>
                      <a:pt x="287" y="624"/>
                    </a:cubicBezTo>
                    <a:cubicBezTo>
                      <a:pt x="288" y="624"/>
                      <a:pt x="289" y="623"/>
                      <a:pt x="289" y="623"/>
                    </a:cubicBezTo>
                    <a:cubicBezTo>
                      <a:pt x="290" y="623"/>
                      <a:pt x="290" y="623"/>
                      <a:pt x="290" y="623"/>
                    </a:cubicBezTo>
                    <a:cubicBezTo>
                      <a:pt x="290" y="623"/>
                      <a:pt x="291" y="623"/>
                      <a:pt x="291" y="623"/>
                    </a:cubicBezTo>
                    <a:cubicBezTo>
                      <a:pt x="292" y="623"/>
                      <a:pt x="292" y="623"/>
                      <a:pt x="292" y="623"/>
                    </a:cubicBezTo>
                    <a:cubicBezTo>
                      <a:pt x="293" y="623"/>
                      <a:pt x="293" y="622"/>
                      <a:pt x="294" y="622"/>
                    </a:cubicBezTo>
                    <a:cubicBezTo>
                      <a:pt x="294" y="622"/>
                      <a:pt x="294" y="622"/>
                      <a:pt x="294" y="622"/>
                    </a:cubicBezTo>
                    <a:cubicBezTo>
                      <a:pt x="294" y="622"/>
                      <a:pt x="294" y="622"/>
                      <a:pt x="294" y="622"/>
                    </a:cubicBezTo>
                    <a:cubicBezTo>
                      <a:pt x="566" y="490"/>
                      <a:pt x="566" y="490"/>
                      <a:pt x="566" y="490"/>
                    </a:cubicBezTo>
                    <a:cubicBezTo>
                      <a:pt x="571" y="488"/>
                      <a:pt x="574" y="482"/>
                      <a:pt x="574" y="477"/>
                    </a:cubicBezTo>
                    <a:cubicBezTo>
                      <a:pt x="574" y="125"/>
                      <a:pt x="574" y="125"/>
                      <a:pt x="574" y="125"/>
                    </a:cubicBezTo>
                    <a:cubicBezTo>
                      <a:pt x="574" y="120"/>
                      <a:pt x="571" y="115"/>
                      <a:pt x="567" y="112"/>
                    </a:cubicBezTo>
                    <a:close/>
                    <a:moveTo>
                      <a:pt x="288" y="33"/>
                    </a:moveTo>
                    <a:cubicBezTo>
                      <a:pt x="521" y="126"/>
                      <a:pt x="521" y="126"/>
                      <a:pt x="521" y="126"/>
                    </a:cubicBezTo>
                    <a:cubicBezTo>
                      <a:pt x="286" y="240"/>
                      <a:pt x="286" y="240"/>
                      <a:pt x="286" y="240"/>
                    </a:cubicBezTo>
                    <a:cubicBezTo>
                      <a:pt x="53" y="156"/>
                      <a:pt x="53" y="156"/>
                      <a:pt x="53" y="156"/>
                    </a:cubicBezTo>
                    <a:lnTo>
                      <a:pt x="288" y="33"/>
                    </a:lnTo>
                    <a:close/>
                    <a:moveTo>
                      <a:pt x="31" y="180"/>
                    </a:moveTo>
                    <a:cubicBezTo>
                      <a:pt x="272" y="267"/>
                      <a:pt x="272" y="267"/>
                      <a:pt x="272" y="267"/>
                    </a:cubicBezTo>
                    <a:cubicBezTo>
                      <a:pt x="272" y="586"/>
                      <a:pt x="272" y="586"/>
                      <a:pt x="272" y="586"/>
                    </a:cubicBezTo>
                    <a:cubicBezTo>
                      <a:pt x="31" y="499"/>
                      <a:pt x="31" y="499"/>
                      <a:pt x="31" y="499"/>
                    </a:cubicBezTo>
                    <a:cubicBezTo>
                      <a:pt x="31" y="180"/>
                      <a:pt x="31" y="180"/>
                      <a:pt x="31" y="180"/>
                    </a:cubicBezTo>
                    <a:close/>
                    <a:moveTo>
                      <a:pt x="544" y="467"/>
                    </a:moveTo>
                    <a:cubicBezTo>
                      <a:pt x="303" y="584"/>
                      <a:pt x="303" y="584"/>
                      <a:pt x="303" y="584"/>
                    </a:cubicBezTo>
                    <a:cubicBezTo>
                      <a:pt x="303" y="266"/>
                      <a:pt x="303" y="266"/>
                      <a:pt x="303" y="266"/>
                    </a:cubicBezTo>
                    <a:cubicBezTo>
                      <a:pt x="544" y="149"/>
                      <a:pt x="544" y="149"/>
                      <a:pt x="544" y="149"/>
                    </a:cubicBezTo>
                    <a:lnTo>
                      <a:pt x="544" y="4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86" tIns="17143" rIns="34286" bIns="17143" numCol="1" anchor="t" anchorCtr="0" compatLnSpc="1">
                <a:prstTxWarp prst="textNoShape">
                  <a:avLst/>
                </a:prstTxWarp>
              </a:bodyPr>
              <a:lstStyle/>
              <a:p>
                <a:endParaRPr lang="en-US" sz="450"/>
              </a:p>
            </p:txBody>
          </p:sp>
          <p:sp>
            <p:nvSpPr>
              <p:cNvPr id="78" name="Freeform 479">
                <a:extLst>
                  <a:ext uri="{FF2B5EF4-FFF2-40B4-BE49-F238E27FC236}">
                    <a16:creationId xmlns:a16="http://schemas.microsoft.com/office/drawing/2014/main" id="{CBD39CC0-CF99-47E9-8853-624F58DC9983}"/>
                  </a:ext>
                </a:extLst>
              </p:cNvPr>
              <p:cNvSpPr>
                <a:spLocks/>
              </p:cNvSpPr>
              <p:nvPr/>
            </p:nvSpPr>
            <p:spPr bwMode="auto">
              <a:xfrm>
                <a:off x="14417648" y="5785395"/>
                <a:ext cx="313151" cy="195405"/>
              </a:xfrm>
              <a:custGeom>
                <a:avLst/>
                <a:gdLst>
                  <a:gd name="T0" fmla="*/ 311 w 473"/>
                  <a:gd name="T1" fmla="*/ 260 h 294"/>
                  <a:gd name="T2" fmla="*/ 311 w 473"/>
                  <a:gd name="T3" fmla="*/ 288 h 294"/>
                  <a:gd name="T4" fmla="*/ 325 w 473"/>
                  <a:gd name="T5" fmla="*/ 294 h 294"/>
                  <a:gd name="T6" fmla="*/ 340 w 473"/>
                  <a:gd name="T7" fmla="*/ 288 h 294"/>
                  <a:gd name="T8" fmla="*/ 465 w 473"/>
                  <a:gd name="T9" fmla="*/ 163 h 294"/>
                  <a:gd name="T10" fmla="*/ 465 w 473"/>
                  <a:gd name="T11" fmla="*/ 134 h 294"/>
                  <a:gd name="T12" fmla="*/ 340 w 473"/>
                  <a:gd name="T13" fmla="*/ 8 h 294"/>
                  <a:gd name="T14" fmla="*/ 311 w 473"/>
                  <a:gd name="T15" fmla="*/ 8 h 294"/>
                  <a:gd name="T16" fmla="*/ 311 w 473"/>
                  <a:gd name="T17" fmla="*/ 37 h 294"/>
                  <a:gd name="T18" fmla="*/ 402 w 473"/>
                  <a:gd name="T19" fmla="*/ 128 h 294"/>
                  <a:gd name="T20" fmla="*/ 21 w 473"/>
                  <a:gd name="T21" fmla="*/ 128 h 294"/>
                  <a:gd name="T22" fmla="*/ 0 w 473"/>
                  <a:gd name="T23" fmla="*/ 148 h 294"/>
                  <a:gd name="T24" fmla="*/ 21 w 473"/>
                  <a:gd name="T25" fmla="*/ 169 h 294"/>
                  <a:gd name="T26" fmla="*/ 402 w 473"/>
                  <a:gd name="T27" fmla="*/ 169 h 294"/>
                  <a:gd name="T28" fmla="*/ 311 w 473"/>
                  <a:gd name="T29" fmla="*/ 26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3" h="294">
                    <a:moveTo>
                      <a:pt x="311" y="260"/>
                    </a:moveTo>
                    <a:cubicBezTo>
                      <a:pt x="303" y="268"/>
                      <a:pt x="303" y="280"/>
                      <a:pt x="311" y="288"/>
                    </a:cubicBezTo>
                    <a:cubicBezTo>
                      <a:pt x="315" y="292"/>
                      <a:pt x="320" y="294"/>
                      <a:pt x="325" y="294"/>
                    </a:cubicBezTo>
                    <a:cubicBezTo>
                      <a:pt x="330" y="294"/>
                      <a:pt x="336" y="292"/>
                      <a:pt x="340" y="288"/>
                    </a:cubicBezTo>
                    <a:cubicBezTo>
                      <a:pt x="465" y="163"/>
                      <a:pt x="465" y="163"/>
                      <a:pt x="465" y="163"/>
                    </a:cubicBezTo>
                    <a:cubicBezTo>
                      <a:pt x="473" y="155"/>
                      <a:pt x="473" y="142"/>
                      <a:pt x="465" y="134"/>
                    </a:cubicBezTo>
                    <a:cubicBezTo>
                      <a:pt x="340" y="8"/>
                      <a:pt x="340" y="8"/>
                      <a:pt x="340" y="8"/>
                    </a:cubicBezTo>
                    <a:cubicBezTo>
                      <a:pt x="332" y="0"/>
                      <a:pt x="319" y="0"/>
                      <a:pt x="311" y="8"/>
                    </a:cubicBezTo>
                    <a:cubicBezTo>
                      <a:pt x="303" y="16"/>
                      <a:pt x="303" y="29"/>
                      <a:pt x="311" y="37"/>
                    </a:cubicBezTo>
                    <a:cubicBezTo>
                      <a:pt x="402" y="128"/>
                      <a:pt x="402" y="128"/>
                      <a:pt x="402" y="128"/>
                    </a:cubicBezTo>
                    <a:cubicBezTo>
                      <a:pt x="21" y="128"/>
                      <a:pt x="21" y="128"/>
                      <a:pt x="21" y="128"/>
                    </a:cubicBezTo>
                    <a:cubicBezTo>
                      <a:pt x="9" y="128"/>
                      <a:pt x="0" y="137"/>
                      <a:pt x="0" y="148"/>
                    </a:cubicBezTo>
                    <a:cubicBezTo>
                      <a:pt x="0" y="160"/>
                      <a:pt x="9" y="169"/>
                      <a:pt x="21" y="169"/>
                    </a:cubicBezTo>
                    <a:cubicBezTo>
                      <a:pt x="402" y="169"/>
                      <a:pt x="402" y="169"/>
                      <a:pt x="402" y="169"/>
                    </a:cubicBezTo>
                    <a:lnTo>
                      <a:pt x="311"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86" tIns="17143" rIns="34286" bIns="17143" numCol="1" anchor="t" anchorCtr="0" compatLnSpc="1">
                <a:prstTxWarp prst="textNoShape">
                  <a:avLst/>
                </a:prstTxWarp>
              </a:bodyPr>
              <a:lstStyle/>
              <a:p>
                <a:endParaRPr lang="en-US" sz="450"/>
              </a:p>
            </p:txBody>
          </p:sp>
        </p:grpSp>
      </p:grpSp>
      <p:grpSp>
        <p:nvGrpSpPr>
          <p:cNvPr id="79" name="Gruppieren 166">
            <a:extLst>
              <a:ext uri="{FF2B5EF4-FFF2-40B4-BE49-F238E27FC236}">
                <a16:creationId xmlns:a16="http://schemas.microsoft.com/office/drawing/2014/main" id="{9513498F-EED1-4438-9891-80605F3654A9}"/>
              </a:ext>
            </a:extLst>
          </p:cNvPr>
          <p:cNvGrpSpPr/>
          <p:nvPr/>
        </p:nvGrpSpPr>
        <p:grpSpPr>
          <a:xfrm>
            <a:off x="2350447" y="1559134"/>
            <a:ext cx="493001" cy="556610"/>
            <a:chOff x="2280143" y="4674919"/>
            <a:chExt cx="1448677" cy="1573444"/>
          </a:xfrm>
        </p:grpSpPr>
        <p:sp>
          <p:nvSpPr>
            <p:cNvPr id="80" name="Hexagon 15">
              <a:extLst>
                <a:ext uri="{FF2B5EF4-FFF2-40B4-BE49-F238E27FC236}">
                  <a16:creationId xmlns:a16="http://schemas.microsoft.com/office/drawing/2014/main" id="{01F1B391-643D-4F63-B571-B3002F7C1DDA}"/>
                </a:ext>
              </a:extLst>
            </p:cNvPr>
            <p:cNvSpPr/>
            <p:nvPr/>
          </p:nvSpPr>
          <p:spPr>
            <a:xfrm rot="5400000">
              <a:off x="2217760" y="4737302"/>
              <a:ext cx="1573444" cy="1448677"/>
            </a:xfrm>
            <a:prstGeom prst="hexag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1"/>
                </a:solidFill>
              </a:endParaRPr>
            </a:p>
          </p:txBody>
        </p:sp>
        <p:sp>
          <p:nvSpPr>
            <p:cNvPr id="81" name="Shape 1805">
              <a:extLst>
                <a:ext uri="{FF2B5EF4-FFF2-40B4-BE49-F238E27FC236}">
                  <a16:creationId xmlns:a16="http://schemas.microsoft.com/office/drawing/2014/main" id="{A886A47C-6760-4C5C-B246-092354C81487}"/>
                </a:ext>
              </a:extLst>
            </p:cNvPr>
            <p:cNvSpPr/>
            <p:nvPr/>
          </p:nvSpPr>
          <p:spPr>
            <a:xfrm>
              <a:off x="2618493" y="5103879"/>
              <a:ext cx="771977" cy="687484"/>
            </a:xfrm>
            <a:custGeom>
              <a:avLst/>
              <a:gdLst/>
              <a:ahLst/>
              <a:cxnLst>
                <a:cxn ang="0">
                  <a:pos x="wd2" y="hd2"/>
                </a:cxn>
                <a:cxn ang="5400000">
                  <a:pos x="wd2" y="hd2"/>
                </a:cxn>
                <a:cxn ang="10800000">
                  <a:pos x="wd2" y="hd2"/>
                </a:cxn>
                <a:cxn ang="16200000">
                  <a:pos x="wd2" y="hd2"/>
                </a:cxn>
              </a:cxnLst>
              <a:rect l="0" t="0" r="r" b="b"/>
              <a:pathLst>
                <a:path w="21600" h="20904" extrusionOk="0">
                  <a:moveTo>
                    <a:pt x="19048" y="8764"/>
                  </a:moveTo>
                  <a:cubicBezTo>
                    <a:pt x="18797" y="9018"/>
                    <a:pt x="18797" y="10545"/>
                    <a:pt x="20594" y="11564"/>
                  </a:cubicBezTo>
                  <a:cubicBezTo>
                    <a:pt x="20594" y="11564"/>
                    <a:pt x="18042" y="12073"/>
                    <a:pt x="16281" y="9782"/>
                  </a:cubicBezTo>
                  <a:cubicBezTo>
                    <a:pt x="15742" y="9782"/>
                    <a:pt x="15239" y="10036"/>
                    <a:pt x="14735" y="10036"/>
                  </a:cubicBezTo>
                  <a:cubicBezTo>
                    <a:pt x="10926" y="10036"/>
                    <a:pt x="8626" y="7709"/>
                    <a:pt x="8626" y="4909"/>
                  </a:cubicBezTo>
                  <a:cubicBezTo>
                    <a:pt x="8626" y="2327"/>
                    <a:pt x="10926" y="0"/>
                    <a:pt x="14735" y="0"/>
                  </a:cubicBezTo>
                  <a:cubicBezTo>
                    <a:pt x="18545" y="0"/>
                    <a:pt x="21600" y="2327"/>
                    <a:pt x="21600" y="4909"/>
                  </a:cubicBezTo>
                  <a:cubicBezTo>
                    <a:pt x="21600" y="6436"/>
                    <a:pt x="20594" y="7964"/>
                    <a:pt x="19048" y="8764"/>
                  </a:cubicBezTo>
                  <a:close/>
                  <a:moveTo>
                    <a:pt x="7368" y="5418"/>
                  </a:moveTo>
                  <a:cubicBezTo>
                    <a:pt x="7619" y="8473"/>
                    <a:pt x="10171" y="11055"/>
                    <a:pt x="14232" y="11309"/>
                  </a:cubicBezTo>
                  <a:cubicBezTo>
                    <a:pt x="14735" y="11309"/>
                    <a:pt x="15239" y="11309"/>
                    <a:pt x="15742" y="11055"/>
                  </a:cubicBezTo>
                  <a:cubicBezTo>
                    <a:pt x="17036" y="12327"/>
                    <a:pt x="18545" y="12618"/>
                    <a:pt x="19300" y="12618"/>
                  </a:cubicBezTo>
                  <a:cubicBezTo>
                    <a:pt x="18545" y="15964"/>
                    <a:pt x="15239" y="18509"/>
                    <a:pt x="10171" y="18509"/>
                  </a:cubicBezTo>
                  <a:cubicBezTo>
                    <a:pt x="9668" y="18509"/>
                    <a:pt x="8913" y="18255"/>
                    <a:pt x="8122" y="18000"/>
                  </a:cubicBezTo>
                  <a:cubicBezTo>
                    <a:pt x="5607" y="21600"/>
                    <a:pt x="1294" y="20836"/>
                    <a:pt x="1294" y="20836"/>
                  </a:cubicBezTo>
                  <a:cubicBezTo>
                    <a:pt x="4313" y="19527"/>
                    <a:pt x="4313" y="16982"/>
                    <a:pt x="3558" y="16727"/>
                  </a:cubicBezTo>
                  <a:cubicBezTo>
                    <a:pt x="1294" y="15418"/>
                    <a:pt x="0" y="13127"/>
                    <a:pt x="0" y="10800"/>
                  </a:cubicBezTo>
                  <a:cubicBezTo>
                    <a:pt x="0" y="7200"/>
                    <a:pt x="3306" y="4109"/>
                    <a:pt x="7871" y="3345"/>
                  </a:cubicBezTo>
                  <a:cubicBezTo>
                    <a:pt x="7619" y="4109"/>
                    <a:pt x="7368" y="4655"/>
                    <a:pt x="7368" y="5418"/>
                  </a:cubicBezTo>
                  <a:close/>
                </a:path>
              </a:pathLst>
            </a:custGeom>
            <a:solidFill>
              <a:schemeClr val="accent1"/>
            </a:solidFill>
            <a:ln w="12700">
              <a:solidFill>
                <a:schemeClr val="bg1"/>
              </a:solidFill>
              <a:miter lim="400000"/>
            </a:ln>
          </p:spPr>
          <p:txBody>
            <a:bodyPr lIns="7144" tIns="7144" rIns="7144" bIns="7144" anchor="ctr"/>
            <a:lstStyle/>
            <a:p>
              <a:pPr algn="ctr" defTabSz="85718" hangingPunct="0"/>
              <a:endParaRPr sz="413" kern="0">
                <a:solidFill>
                  <a:schemeClr val="accent1"/>
                </a:solidFill>
                <a:effectLst>
                  <a:outerShdw blurRad="38100" dist="12700" dir="5400000" rotWithShape="0">
                    <a:srgbClr val="000000">
                      <a:alpha val="50000"/>
                    </a:srgbClr>
                  </a:outerShdw>
                </a:effectLst>
                <a:latin typeface="Arial"/>
                <a:cs typeface="Arial"/>
              </a:endParaRPr>
            </a:p>
          </p:txBody>
        </p:sp>
      </p:grpSp>
      <p:pic>
        <p:nvPicPr>
          <p:cNvPr id="82" name="Picture 4">
            <a:extLst>
              <a:ext uri="{FF2B5EF4-FFF2-40B4-BE49-F238E27FC236}">
                <a16:creationId xmlns:a16="http://schemas.microsoft.com/office/drawing/2014/main" id="{D3D52833-BB3D-4542-9849-312686F8D4DB}"/>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476600" y="4107165"/>
            <a:ext cx="771276" cy="22985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a:extLst>
              <a:ext uri="{FF2B5EF4-FFF2-40B4-BE49-F238E27FC236}">
                <a16:creationId xmlns:a16="http://schemas.microsoft.com/office/drawing/2014/main" id="{067F0979-5E99-477C-B68B-A63E42FE535B}"/>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230515" y="4048142"/>
            <a:ext cx="571080" cy="32146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 descr="C Sharp (programming language) - Wikipedia">
            <a:extLst>
              <a:ext uri="{FF2B5EF4-FFF2-40B4-BE49-F238E27FC236}">
                <a16:creationId xmlns:a16="http://schemas.microsoft.com/office/drawing/2014/main" id="{678E93B8-5A5D-4183-9B6C-B065105A952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49398" y="4364575"/>
            <a:ext cx="292742" cy="321469"/>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0" descr="Node.js - Wikipedia">
            <a:extLst>
              <a:ext uri="{FF2B5EF4-FFF2-40B4-BE49-F238E27FC236}">
                <a16:creationId xmlns:a16="http://schemas.microsoft.com/office/drawing/2014/main" id="{83BF7F42-1AEC-4E70-9E7D-E13308E73893}"/>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144113" y="4369611"/>
            <a:ext cx="527209" cy="32146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2" descr="Amazon Web Services - Wikipedia">
            <a:extLst>
              <a:ext uri="{FF2B5EF4-FFF2-40B4-BE49-F238E27FC236}">
                <a16:creationId xmlns:a16="http://schemas.microsoft.com/office/drawing/2014/main" id="{79F41D01-7F73-4E68-A5AA-EAED566B5A9D}"/>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984573" y="4145335"/>
            <a:ext cx="319466" cy="19168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4" descr="Microsoft Azure - Söldner Consult GmbH">
            <a:extLst>
              <a:ext uri="{FF2B5EF4-FFF2-40B4-BE49-F238E27FC236}">
                <a16:creationId xmlns:a16="http://schemas.microsoft.com/office/drawing/2014/main" id="{D3EE8DA6-2319-4651-823C-51A20FEF0FB2}"/>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378273" y="4084426"/>
            <a:ext cx="822180" cy="287763"/>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DE934D59-89A7-4AAF-A917-09BB31344992}"/>
              </a:ext>
            </a:extLst>
          </p:cNvPr>
          <p:cNvSpPr/>
          <p:nvPr/>
        </p:nvSpPr>
        <p:spPr>
          <a:xfrm>
            <a:off x="2136800" y="4370801"/>
            <a:ext cx="971741" cy="219291"/>
          </a:xfrm>
          <a:prstGeom prst="rect">
            <a:avLst/>
          </a:prstGeom>
        </p:spPr>
        <p:txBody>
          <a:bodyPr wrap="none">
            <a:spAutoFit/>
          </a:bodyPr>
          <a:lstStyle/>
          <a:p>
            <a:r>
              <a:rPr lang="en-US" sz="825" b="1">
                <a:solidFill>
                  <a:schemeClr val="tx2">
                    <a:lumMod val="75000"/>
                  </a:schemeClr>
                </a:solidFill>
              </a:rPr>
              <a:t>IoT Services, …</a:t>
            </a:r>
            <a:endParaRPr lang="de-DE" sz="825" b="1">
              <a:solidFill>
                <a:schemeClr val="tx2">
                  <a:lumMod val="75000"/>
                </a:schemeClr>
              </a:solidFill>
            </a:endParaRPr>
          </a:p>
        </p:txBody>
      </p:sp>
      <p:pic>
        <p:nvPicPr>
          <p:cNvPr id="89" name="Picture 16">
            <a:extLst>
              <a:ext uri="{FF2B5EF4-FFF2-40B4-BE49-F238E27FC236}">
                <a16:creationId xmlns:a16="http://schemas.microsoft.com/office/drawing/2014/main" id="{07F62557-2525-4D37-9AC1-D3CAED553B8E}"/>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3279486" y="4060855"/>
            <a:ext cx="493002" cy="27352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8" descr="OSIsoft | LinkedIn">
            <a:extLst>
              <a:ext uri="{FF2B5EF4-FFF2-40B4-BE49-F238E27FC236}">
                <a16:creationId xmlns:a16="http://schemas.microsoft.com/office/drawing/2014/main" id="{85C4899E-FF9A-4F4C-AC3A-5F17BD623F33}"/>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t="31222" b="24246"/>
          <a:stretch/>
        </p:blipFill>
        <p:spPr bwMode="auto">
          <a:xfrm>
            <a:off x="3754839" y="4246822"/>
            <a:ext cx="344377" cy="153357"/>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6" descr="Microsoft Power BI Review | PCMag">
            <a:extLst>
              <a:ext uri="{FF2B5EF4-FFF2-40B4-BE49-F238E27FC236}">
                <a16:creationId xmlns:a16="http://schemas.microsoft.com/office/drawing/2014/main" id="{0C2DF9DC-DA5B-4E42-89DC-E17858A43313}"/>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5271879" y="4526559"/>
            <a:ext cx="376745" cy="211683"/>
          </a:xfrm>
          <a:prstGeom prst="rect">
            <a:avLst/>
          </a:prstGeom>
          <a:noFill/>
          <a:extLst>
            <a:ext uri="{909E8E84-426E-40DD-AFC4-6F175D3DCCD1}">
              <a14:hiddenFill xmlns:a14="http://schemas.microsoft.com/office/drawing/2010/main">
                <a:solidFill>
                  <a:srgbClr val="FFFFFF"/>
                </a:solidFill>
              </a14:hiddenFill>
            </a:ext>
          </a:extLst>
        </p:spPr>
      </p:pic>
      <p:sp>
        <p:nvSpPr>
          <p:cNvPr id="92" name="Rectangle 91">
            <a:extLst>
              <a:ext uri="{FF2B5EF4-FFF2-40B4-BE49-F238E27FC236}">
                <a16:creationId xmlns:a16="http://schemas.microsoft.com/office/drawing/2014/main" id="{14A327D5-C0FE-45ED-820D-19C0350486D0}"/>
              </a:ext>
            </a:extLst>
          </p:cNvPr>
          <p:cNvSpPr/>
          <p:nvPr/>
        </p:nvSpPr>
        <p:spPr>
          <a:xfrm>
            <a:off x="6791821" y="4672315"/>
            <a:ext cx="1922966" cy="219291"/>
          </a:xfrm>
          <a:prstGeom prst="rect">
            <a:avLst/>
          </a:prstGeom>
        </p:spPr>
        <p:txBody>
          <a:bodyPr wrap="square">
            <a:spAutoFit/>
          </a:bodyPr>
          <a:lstStyle/>
          <a:p>
            <a:pPr marL="0" lvl="2" algn="ctr">
              <a:spcBef>
                <a:spcPts val="225"/>
              </a:spcBef>
            </a:pPr>
            <a:r>
              <a:rPr lang="en-US" sz="825" b="1">
                <a:solidFill>
                  <a:schemeClr val="tx2">
                    <a:lumMod val="75000"/>
                  </a:schemeClr>
                </a:solidFill>
              </a:rPr>
              <a:t>…</a:t>
            </a:r>
            <a:endParaRPr lang="en-US" sz="825"/>
          </a:p>
        </p:txBody>
      </p:sp>
      <p:sp>
        <p:nvSpPr>
          <p:cNvPr id="93" name="Rectangle 92">
            <a:extLst>
              <a:ext uri="{FF2B5EF4-FFF2-40B4-BE49-F238E27FC236}">
                <a16:creationId xmlns:a16="http://schemas.microsoft.com/office/drawing/2014/main" id="{8D6BF05F-2353-47E6-A396-4797FFBA0163}"/>
              </a:ext>
            </a:extLst>
          </p:cNvPr>
          <p:cNvSpPr/>
          <p:nvPr/>
        </p:nvSpPr>
        <p:spPr>
          <a:xfrm>
            <a:off x="3176212" y="4385716"/>
            <a:ext cx="1384271" cy="346249"/>
          </a:xfrm>
          <a:prstGeom prst="rect">
            <a:avLst/>
          </a:prstGeom>
        </p:spPr>
        <p:txBody>
          <a:bodyPr wrap="square">
            <a:spAutoFit/>
          </a:bodyPr>
          <a:lstStyle/>
          <a:p>
            <a:pPr algn="ctr"/>
            <a:r>
              <a:rPr lang="en-US" sz="825" b="1">
                <a:solidFill>
                  <a:schemeClr val="tx2">
                    <a:lumMod val="75000"/>
                  </a:schemeClr>
                </a:solidFill>
              </a:rPr>
              <a:t>PLC, SCADA, Historians, MES, …</a:t>
            </a:r>
            <a:endParaRPr lang="de-DE" sz="825"/>
          </a:p>
        </p:txBody>
      </p:sp>
      <p:sp>
        <p:nvSpPr>
          <p:cNvPr id="94" name="Text Placeholder 7">
            <a:extLst>
              <a:ext uri="{FF2B5EF4-FFF2-40B4-BE49-F238E27FC236}">
                <a16:creationId xmlns:a16="http://schemas.microsoft.com/office/drawing/2014/main" id="{4E38D542-1EC7-4E32-8EED-F1F6F3D0D2B4}"/>
              </a:ext>
            </a:extLst>
          </p:cNvPr>
          <p:cNvSpPr txBox="1">
            <a:spLocks/>
          </p:cNvSpPr>
          <p:nvPr/>
        </p:nvSpPr>
        <p:spPr>
          <a:xfrm>
            <a:off x="6136739" y="1532151"/>
            <a:ext cx="2721510" cy="813466"/>
          </a:xfrm>
          <a:prstGeom prst="rect">
            <a:avLst/>
          </a:prstGeom>
        </p:spPr>
        <p:txBody>
          <a:bodyPr lIns="0" tIns="0" rIns="0" bIns="0" numCol="1" spcCol="540000" anchor="t"/>
          <a:lstStyle>
            <a:lvl1pPr marL="0" marR="0" indent="0" algn="l" defTabSz="914400" rtl="0" eaLnBrk="1" fontAlgn="auto" latinLnBrk="0" hangingPunct="1">
              <a:lnSpc>
                <a:spcPts val="1600"/>
              </a:lnSpc>
              <a:spcBef>
                <a:spcPts val="0"/>
              </a:spcBef>
              <a:spcAft>
                <a:spcPts val="0"/>
              </a:spcAft>
              <a:buClrTx/>
              <a:buSzTx/>
              <a:buFontTx/>
              <a:buNone/>
              <a:tabLst/>
              <a:defRPr lang="en-GB" sz="1200" b="0" i="0" u="none" strike="noStrike" kern="1200">
                <a:solidFill>
                  <a:schemeClr val="bg1"/>
                </a:solidFill>
                <a:effectLst/>
                <a:latin typeface="Graphik" panose="020B050303020206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8588" indent="-128588">
              <a:spcAft>
                <a:spcPts val="225"/>
              </a:spcAft>
              <a:buFont typeface="Arial" panose="020B0604020202020204" pitchFamily="34" charset="0"/>
              <a:buChar char="•"/>
            </a:pPr>
            <a:r>
              <a:rPr lang="en-US" sz="900" b="1" err="1">
                <a:solidFill>
                  <a:srgbClr val="0F0A28"/>
                </a:solidFill>
                <a:latin typeface="Graphik"/>
              </a:rPr>
              <a:t>TwoDigits</a:t>
            </a:r>
            <a:r>
              <a:rPr lang="en-US" sz="900">
                <a:solidFill>
                  <a:srgbClr val="0F0A28"/>
                </a:solidFill>
                <a:latin typeface="Graphik"/>
              </a:rPr>
              <a:t> with Full-Stack, Cloud &amp; DevOps Engineers and</a:t>
            </a:r>
          </a:p>
          <a:p>
            <a:pPr marL="128588" indent="-128588">
              <a:spcAft>
                <a:spcPts val="225"/>
              </a:spcAft>
              <a:buFont typeface="Arial" panose="020B0604020202020204" pitchFamily="34" charset="0"/>
              <a:buChar char="•"/>
            </a:pPr>
            <a:r>
              <a:rPr lang="en-US" sz="900" b="1">
                <a:solidFill>
                  <a:srgbClr val="0F0A28"/>
                </a:solidFill>
                <a:latin typeface="Graphik"/>
              </a:rPr>
              <a:t>Software Engineering ASG </a:t>
            </a:r>
            <a:r>
              <a:rPr lang="en-US" sz="900">
                <a:solidFill>
                  <a:srgbClr val="0F0A28"/>
                </a:solidFill>
                <a:latin typeface="Graphik"/>
              </a:rPr>
              <a:t>with including Quality Engineers, Business Agility Experts and Software Engineers</a:t>
            </a:r>
          </a:p>
        </p:txBody>
      </p:sp>
      <p:sp>
        <p:nvSpPr>
          <p:cNvPr id="95" name="Rectangle 94">
            <a:extLst>
              <a:ext uri="{FF2B5EF4-FFF2-40B4-BE49-F238E27FC236}">
                <a16:creationId xmlns:a16="http://schemas.microsoft.com/office/drawing/2014/main" id="{5FDAC433-9287-48D0-AD74-B4B3CDF161FB}"/>
              </a:ext>
            </a:extLst>
          </p:cNvPr>
          <p:cNvSpPr/>
          <p:nvPr/>
        </p:nvSpPr>
        <p:spPr>
          <a:xfrm>
            <a:off x="6136740" y="1207990"/>
            <a:ext cx="1719381" cy="369332"/>
          </a:xfrm>
          <a:prstGeom prst="rect">
            <a:avLst/>
          </a:prstGeom>
        </p:spPr>
        <p:txBody>
          <a:bodyPr wrap="none">
            <a:spAutoFit/>
          </a:bodyPr>
          <a:lstStyle/>
          <a:p>
            <a:pPr defTabSz="171450" fontAlgn="auto">
              <a:spcBef>
                <a:spcPts val="0"/>
              </a:spcBef>
              <a:spcAft>
                <a:spcPts val="900"/>
              </a:spcAft>
              <a:defRPr/>
            </a:pPr>
            <a:r>
              <a:rPr lang="en-GB" b="1"/>
              <a:t>We are part of</a:t>
            </a:r>
          </a:p>
        </p:txBody>
      </p:sp>
      <p:sp>
        <p:nvSpPr>
          <p:cNvPr id="96" name="Text Placeholder 7">
            <a:extLst>
              <a:ext uri="{FF2B5EF4-FFF2-40B4-BE49-F238E27FC236}">
                <a16:creationId xmlns:a16="http://schemas.microsoft.com/office/drawing/2014/main" id="{81C19349-F9FF-4FC6-B4EB-8698E6C77652}"/>
              </a:ext>
            </a:extLst>
          </p:cNvPr>
          <p:cNvSpPr txBox="1">
            <a:spLocks/>
          </p:cNvSpPr>
          <p:nvPr/>
        </p:nvSpPr>
        <p:spPr>
          <a:xfrm>
            <a:off x="6136739" y="2665093"/>
            <a:ext cx="2779940" cy="1576899"/>
          </a:xfrm>
          <a:prstGeom prst="rect">
            <a:avLst/>
          </a:prstGeom>
        </p:spPr>
        <p:txBody>
          <a:bodyPr lIns="0" tIns="0" rIns="0" bIns="0" numCol="1" spcCol="540000" anchor="t"/>
          <a:lstStyle>
            <a:lvl1pPr marL="0" marR="0" indent="0" algn="l" defTabSz="914400" rtl="0" eaLnBrk="1" fontAlgn="auto" latinLnBrk="0" hangingPunct="1">
              <a:lnSpc>
                <a:spcPts val="1600"/>
              </a:lnSpc>
              <a:spcBef>
                <a:spcPts val="0"/>
              </a:spcBef>
              <a:spcAft>
                <a:spcPts val="0"/>
              </a:spcAft>
              <a:buClrTx/>
              <a:buSzTx/>
              <a:buFontTx/>
              <a:buNone/>
              <a:tabLst/>
              <a:defRPr lang="en-GB" sz="1200" b="0" i="0" u="none" strike="noStrike" kern="1200">
                <a:solidFill>
                  <a:schemeClr val="bg1"/>
                </a:solidFill>
                <a:effectLst/>
                <a:latin typeface="Graphik" panose="020B050303020206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8588" indent="-128588">
              <a:spcAft>
                <a:spcPts val="225"/>
              </a:spcAft>
              <a:buFont typeface="Arial" panose="020B0604020202020204" pitchFamily="34" charset="0"/>
              <a:buChar char="•"/>
            </a:pPr>
            <a:r>
              <a:rPr lang="en-US" sz="900">
                <a:solidFill>
                  <a:srgbClr val="0F0A28"/>
                </a:solidFill>
                <a:latin typeface="Graphik"/>
              </a:rPr>
              <a:t>the </a:t>
            </a:r>
            <a:r>
              <a:rPr lang="en-US" sz="900" b="1">
                <a:solidFill>
                  <a:srgbClr val="0F0A28"/>
                </a:solidFill>
                <a:latin typeface="Graphik"/>
              </a:rPr>
              <a:t>Innovation Centers </a:t>
            </a:r>
            <a:r>
              <a:rPr lang="en-US" sz="900">
                <a:solidFill>
                  <a:srgbClr val="0F0A28"/>
                </a:solidFill>
                <a:latin typeface="Graphik"/>
              </a:rPr>
              <a:t>in Essen and Garching</a:t>
            </a:r>
          </a:p>
          <a:p>
            <a:pPr marL="128588" indent="-128588">
              <a:spcAft>
                <a:spcPts val="225"/>
              </a:spcAft>
              <a:buFont typeface="Arial" panose="020B0604020202020204" pitchFamily="34" charset="0"/>
              <a:buChar char="•"/>
            </a:pPr>
            <a:r>
              <a:rPr lang="en-US" sz="900">
                <a:solidFill>
                  <a:srgbClr val="0F0A28"/>
                </a:solidFill>
                <a:latin typeface="Graphik"/>
              </a:rPr>
              <a:t>the </a:t>
            </a:r>
            <a:r>
              <a:rPr lang="en-US" sz="900" b="1">
                <a:solidFill>
                  <a:srgbClr val="0F0A28"/>
                </a:solidFill>
                <a:latin typeface="Graphik"/>
              </a:rPr>
              <a:t>Liquid Studio </a:t>
            </a:r>
            <a:r>
              <a:rPr lang="en-US" sz="900">
                <a:solidFill>
                  <a:srgbClr val="0F0A28"/>
                </a:solidFill>
                <a:latin typeface="Graphik"/>
              </a:rPr>
              <a:t>and our </a:t>
            </a:r>
            <a:r>
              <a:rPr lang="en-US" sz="900" b="1">
                <a:solidFill>
                  <a:srgbClr val="0F0A28"/>
                </a:solidFill>
                <a:latin typeface="Graphik"/>
              </a:rPr>
              <a:t>Technology Innovation </a:t>
            </a:r>
            <a:r>
              <a:rPr lang="en-US" sz="900">
                <a:solidFill>
                  <a:srgbClr val="0F0A28"/>
                </a:solidFill>
                <a:latin typeface="Graphik"/>
              </a:rPr>
              <a:t>organization</a:t>
            </a:r>
          </a:p>
          <a:p>
            <a:pPr marL="128588" indent="-128588">
              <a:spcAft>
                <a:spcPts val="225"/>
              </a:spcAft>
              <a:buFont typeface="Arial" panose="020B0604020202020204" pitchFamily="34" charset="0"/>
              <a:buChar char="•"/>
            </a:pPr>
            <a:r>
              <a:rPr lang="en-US" sz="900">
                <a:solidFill>
                  <a:srgbClr val="0F0A28"/>
                </a:solidFill>
                <a:latin typeface="Graphik"/>
              </a:rPr>
              <a:t>our </a:t>
            </a:r>
            <a:r>
              <a:rPr lang="en-US" sz="900" b="1">
                <a:solidFill>
                  <a:srgbClr val="0F0A28"/>
                </a:solidFill>
                <a:latin typeface="Graphik"/>
              </a:rPr>
              <a:t>Cloud Business Groups</a:t>
            </a:r>
            <a:r>
              <a:rPr lang="en-US" sz="900">
                <a:solidFill>
                  <a:srgbClr val="0F0A28"/>
                </a:solidFill>
                <a:latin typeface="Graphik"/>
              </a:rPr>
              <a:t>: AABG, MABG &amp; AGBG</a:t>
            </a:r>
          </a:p>
          <a:p>
            <a:pPr marL="128588" indent="-128588">
              <a:spcAft>
                <a:spcPts val="225"/>
              </a:spcAft>
              <a:buFont typeface="Arial" panose="020B0604020202020204" pitchFamily="34" charset="0"/>
              <a:buChar char="•"/>
            </a:pPr>
            <a:r>
              <a:rPr lang="en-US" sz="900" b="1">
                <a:solidFill>
                  <a:srgbClr val="0F0A28"/>
                </a:solidFill>
                <a:latin typeface="Graphik"/>
              </a:rPr>
              <a:t>Applied Intelligence </a:t>
            </a:r>
            <a:r>
              <a:rPr lang="en-US" sz="900">
                <a:solidFill>
                  <a:srgbClr val="0F0A28"/>
                </a:solidFill>
                <a:latin typeface="Graphik"/>
              </a:rPr>
              <a:t>and </a:t>
            </a:r>
            <a:r>
              <a:rPr lang="en-US" sz="900" b="1">
                <a:solidFill>
                  <a:srgbClr val="0F0A28"/>
                </a:solidFill>
                <a:latin typeface="Graphik"/>
              </a:rPr>
              <a:t>Data &amp; AI </a:t>
            </a:r>
            <a:r>
              <a:rPr lang="en-US" sz="900">
                <a:solidFill>
                  <a:srgbClr val="0F0A28"/>
                </a:solidFill>
                <a:latin typeface="Graphik"/>
              </a:rPr>
              <a:t>Practice in ASG</a:t>
            </a:r>
            <a:endParaRPr lang="en-US" sz="900">
              <a:solidFill>
                <a:srgbClr val="0F0A28"/>
              </a:solidFill>
            </a:endParaRPr>
          </a:p>
          <a:p>
            <a:pPr marL="128588" indent="-128588">
              <a:spcAft>
                <a:spcPts val="225"/>
              </a:spcAft>
              <a:buFont typeface="Arial" panose="020B0604020202020204" pitchFamily="34" charset="0"/>
              <a:buChar char="•"/>
            </a:pPr>
            <a:r>
              <a:rPr lang="en-US" sz="900" b="1">
                <a:solidFill>
                  <a:srgbClr val="0F0A28"/>
                </a:solidFill>
                <a:latin typeface="Graphik"/>
              </a:rPr>
              <a:t>Security</a:t>
            </a:r>
            <a:r>
              <a:rPr lang="en-US" sz="900">
                <a:solidFill>
                  <a:srgbClr val="0F0A28"/>
                </a:solidFill>
                <a:latin typeface="Graphik"/>
              </a:rPr>
              <a:t> with IT/OT Security and Cloud Security Experts</a:t>
            </a:r>
          </a:p>
          <a:p>
            <a:pPr marL="128588" indent="-128588">
              <a:spcAft>
                <a:spcPts val="225"/>
              </a:spcAft>
              <a:buFont typeface="Arial" panose="020B0604020202020204" pitchFamily="34" charset="0"/>
              <a:buChar char="•"/>
            </a:pPr>
            <a:r>
              <a:rPr lang="en-US" sz="900" b="1">
                <a:solidFill>
                  <a:srgbClr val="0F0A28"/>
                </a:solidFill>
                <a:latin typeface="Graphik"/>
              </a:rPr>
              <a:t>Industry X </a:t>
            </a:r>
            <a:r>
              <a:rPr lang="en-US" sz="900">
                <a:solidFill>
                  <a:srgbClr val="0F0A28"/>
                </a:solidFill>
                <a:latin typeface="Graphik"/>
              </a:rPr>
              <a:t>for S&amp;C expertise and technology including Umlaut, </a:t>
            </a:r>
            <a:r>
              <a:rPr lang="en-US" sz="900" err="1">
                <a:solidFill>
                  <a:srgbClr val="0F0A28"/>
                </a:solidFill>
                <a:latin typeface="Graphik"/>
              </a:rPr>
              <a:t>ESRLabs</a:t>
            </a:r>
            <a:r>
              <a:rPr lang="en-US" sz="900">
                <a:solidFill>
                  <a:srgbClr val="0F0A28"/>
                </a:solidFill>
                <a:latin typeface="Graphik"/>
              </a:rPr>
              <a:t>, </a:t>
            </a:r>
            <a:r>
              <a:rPr lang="en-US" sz="900" err="1">
                <a:solidFill>
                  <a:srgbClr val="0F0A28"/>
                </a:solidFill>
                <a:latin typeface="Graphik"/>
              </a:rPr>
              <a:t>Zielpuls</a:t>
            </a:r>
            <a:r>
              <a:rPr lang="en-US" sz="900">
                <a:solidFill>
                  <a:srgbClr val="0F0A28"/>
                </a:solidFill>
                <a:latin typeface="Graphik"/>
              </a:rPr>
              <a:t>, Salt Solutions and the global Industry X Innovation Network</a:t>
            </a:r>
          </a:p>
        </p:txBody>
      </p:sp>
      <p:sp>
        <p:nvSpPr>
          <p:cNvPr id="97" name="Rectangle 96">
            <a:extLst>
              <a:ext uri="{FF2B5EF4-FFF2-40B4-BE49-F238E27FC236}">
                <a16:creationId xmlns:a16="http://schemas.microsoft.com/office/drawing/2014/main" id="{5C5BC77A-8558-48CD-8CBE-48253DF8B16A}"/>
              </a:ext>
            </a:extLst>
          </p:cNvPr>
          <p:cNvSpPr/>
          <p:nvPr/>
        </p:nvSpPr>
        <p:spPr>
          <a:xfrm>
            <a:off x="6136739" y="2372693"/>
            <a:ext cx="1595256" cy="646331"/>
          </a:xfrm>
          <a:prstGeom prst="rect">
            <a:avLst/>
          </a:prstGeom>
        </p:spPr>
        <p:txBody>
          <a:bodyPr wrap="square">
            <a:spAutoFit/>
          </a:bodyPr>
          <a:lstStyle/>
          <a:p>
            <a:pPr defTabSz="171450" fontAlgn="auto">
              <a:spcBef>
                <a:spcPts val="0"/>
              </a:spcBef>
              <a:spcAft>
                <a:spcPts val="900"/>
              </a:spcAft>
              <a:defRPr/>
            </a:pPr>
            <a:r>
              <a:rPr lang="en-GB" b="1"/>
              <a:t>We work with</a:t>
            </a:r>
          </a:p>
        </p:txBody>
      </p:sp>
    </p:spTree>
    <p:extLst>
      <p:ext uri="{BB962C8B-B14F-4D97-AF65-F5344CB8AC3E}">
        <p14:creationId xmlns:p14="http://schemas.microsoft.com/office/powerpoint/2010/main" val="1126960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9" name="Object 278" hidden="1">
            <a:extLst>
              <a:ext uri="{FF2B5EF4-FFF2-40B4-BE49-F238E27FC236}">
                <a16:creationId xmlns:a16="http://schemas.microsoft.com/office/drawing/2014/main" id="{98CE4A00-9191-2512-9E20-4336F4E0C3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79" name="Object 278" hidden="1">
                        <a:extLst>
                          <a:ext uri="{FF2B5EF4-FFF2-40B4-BE49-F238E27FC236}">
                            <a16:creationId xmlns:a16="http://schemas.microsoft.com/office/drawing/2014/main" id="{98CE4A00-9191-2512-9E20-4336F4E0C3A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6D8F85E-FBC4-4140-9279-B902ED83C840}"/>
              </a:ext>
            </a:extLst>
          </p:cNvPr>
          <p:cNvSpPr>
            <a:spLocks noGrp="1"/>
          </p:cNvSpPr>
          <p:nvPr>
            <p:ph type="title"/>
          </p:nvPr>
        </p:nvSpPr>
        <p:spPr/>
        <p:txBody>
          <a:bodyPr vert="horz"/>
          <a:lstStyle/>
          <a:p>
            <a:r>
              <a:rPr lang="en-US" dirty="0"/>
              <a:t>Global Computer Vision Expert Group Collaborated with teams worldwide</a:t>
            </a:r>
          </a:p>
        </p:txBody>
      </p:sp>
      <p:grpSp>
        <p:nvGrpSpPr>
          <p:cNvPr id="286" name="Group 285">
            <a:extLst>
              <a:ext uri="{FF2B5EF4-FFF2-40B4-BE49-F238E27FC236}">
                <a16:creationId xmlns:a16="http://schemas.microsoft.com/office/drawing/2014/main" id="{7C2595D0-93F1-6D94-6E6B-4A32DEDD8B85}"/>
              </a:ext>
            </a:extLst>
          </p:cNvPr>
          <p:cNvGrpSpPr/>
          <p:nvPr/>
        </p:nvGrpSpPr>
        <p:grpSpPr>
          <a:xfrm>
            <a:off x="285750" y="2307577"/>
            <a:ext cx="3800134" cy="1757345"/>
            <a:chOff x="621691" y="2781664"/>
            <a:chExt cx="5066845" cy="2343126"/>
          </a:xfrm>
        </p:grpSpPr>
        <p:grpSp>
          <p:nvGrpSpPr>
            <p:cNvPr id="4" name="Group 3">
              <a:extLst>
                <a:ext uri="{FF2B5EF4-FFF2-40B4-BE49-F238E27FC236}">
                  <a16:creationId xmlns:a16="http://schemas.microsoft.com/office/drawing/2014/main" id="{7B0A7396-E565-A08B-8EDB-9D3FCD43237D}"/>
                </a:ext>
              </a:extLst>
            </p:cNvPr>
            <p:cNvGrpSpPr/>
            <p:nvPr/>
          </p:nvGrpSpPr>
          <p:grpSpPr>
            <a:xfrm>
              <a:off x="2732731" y="4884522"/>
              <a:ext cx="1681996" cy="153888"/>
              <a:chOff x="8859152" y="5465491"/>
              <a:chExt cx="2373418" cy="217148"/>
            </a:xfrm>
          </p:grpSpPr>
          <p:sp>
            <p:nvSpPr>
              <p:cNvPr id="5" name="TextBox 4">
                <a:extLst>
                  <a:ext uri="{FF2B5EF4-FFF2-40B4-BE49-F238E27FC236}">
                    <a16:creationId xmlns:a16="http://schemas.microsoft.com/office/drawing/2014/main" id="{8BD35E90-8C3A-480F-B21D-735601E27B21}"/>
                  </a:ext>
                </a:extLst>
              </p:cNvPr>
              <p:cNvSpPr txBox="1"/>
              <p:nvPr/>
            </p:nvSpPr>
            <p:spPr>
              <a:xfrm flipH="1">
                <a:off x="9866580" y="5465491"/>
                <a:ext cx="1365990" cy="217148"/>
              </a:xfrm>
              <a:prstGeom prst="rect">
                <a:avLst/>
              </a:prstGeom>
              <a:noFill/>
              <a:ln>
                <a:noFill/>
              </a:ln>
            </p:spPr>
            <p:txBody>
              <a:bodyPr wrap="square" lIns="0" tIns="0" rIns="0" bIns="0" rtlCol="0" anchor="t">
                <a:spAutoFit/>
              </a:bodyPr>
              <a:lstStyle/>
              <a:p>
                <a:pPr defTabSz="685800" fontAlgn="auto">
                  <a:spcBef>
                    <a:spcPts val="0"/>
                  </a:spcBef>
                  <a:spcAft>
                    <a:spcPts val="225"/>
                  </a:spcAft>
                  <a:defRPr/>
                </a:pPr>
                <a:r>
                  <a:rPr lang="en-US" sz="750">
                    <a:solidFill>
                      <a:srgbClr val="7500C0"/>
                    </a:solidFill>
                    <a:latin typeface="Graphik Semibold" panose="020B0703030202060203" pitchFamily="34" charset="0"/>
                    <a:cs typeface="Arial Black"/>
                  </a:rPr>
                  <a:t>Solutions.AI</a:t>
                </a:r>
              </a:p>
            </p:txBody>
          </p:sp>
          <p:grpSp>
            <p:nvGrpSpPr>
              <p:cNvPr id="6" name="Group 5">
                <a:extLst>
                  <a:ext uri="{FF2B5EF4-FFF2-40B4-BE49-F238E27FC236}">
                    <a16:creationId xmlns:a16="http://schemas.microsoft.com/office/drawing/2014/main" id="{69D7EC50-5C7A-7FC5-A0CC-7F6FCFE33F72}"/>
                  </a:ext>
                </a:extLst>
              </p:cNvPr>
              <p:cNvGrpSpPr/>
              <p:nvPr/>
            </p:nvGrpSpPr>
            <p:grpSpPr>
              <a:xfrm flipH="1">
                <a:off x="8859152" y="5507537"/>
                <a:ext cx="897320" cy="144000"/>
                <a:chOff x="3229669" y="2952116"/>
                <a:chExt cx="897320" cy="144000"/>
              </a:xfrm>
            </p:grpSpPr>
            <p:sp>
              <p:nvSpPr>
                <p:cNvPr id="7" name="Oval 6">
                  <a:extLst>
                    <a:ext uri="{FF2B5EF4-FFF2-40B4-BE49-F238E27FC236}">
                      <a16:creationId xmlns:a16="http://schemas.microsoft.com/office/drawing/2014/main" id="{12FBCF53-6F0E-C841-F4E4-0887FAAD9C96}"/>
                    </a:ext>
                  </a:extLst>
                </p:cNvPr>
                <p:cNvSpPr>
                  <a:spLocks noChangeAspect="1"/>
                </p:cNvSpPr>
                <p:nvPr/>
              </p:nvSpPr>
              <p:spPr>
                <a:xfrm>
                  <a:off x="3982989" y="2952116"/>
                  <a:ext cx="144000" cy="144000"/>
                </a:xfrm>
                <a:prstGeom prst="ellipse">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Graphik"/>
                  </a:endParaRPr>
                </a:p>
              </p:txBody>
            </p:sp>
            <p:cxnSp>
              <p:nvCxnSpPr>
                <p:cNvPr id="8" name="Straight Connector 7">
                  <a:extLst>
                    <a:ext uri="{FF2B5EF4-FFF2-40B4-BE49-F238E27FC236}">
                      <a16:creationId xmlns:a16="http://schemas.microsoft.com/office/drawing/2014/main" id="{146EC33F-171E-F0AC-B953-6360DB200C7C}"/>
                    </a:ext>
                  </a:extLst>
                </p:cNvPr>
                <p:cNvCxnSpPr>
                  <a:cxnSpLocks/>
                </p:cNvCxnSpPr>
                <p:nvPr/>
              </p:nvCxnSpPr>
              <p:spPr>
                <a:xfrm>
                  <a:off x="3229669" y="3024116"/>
                  <a:ext cx="75332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 name="World Map" descr="World map">
              <a:extLst>
                <a:ext uri="{FF2B5EF4-FFF2-40B4-BE49-F238E27FC236}">
                  <a16:creationId xmlns:a16="http://schemas.microsoft.com/office/drawing/2014/main" id="{35AD36FF-3C52-A0FB-3D54-4F14674E8B2E}"/>
                </a:ext>
              </a:extLst>
            </p:cNvPr>
            <p:cNvGrpSpPr>
              <a:grpSpLocks noChangeAspect="1"/>
            </p:cNvGrpSpPr>
            <p:nvPr/>
          </p:nvGrpSpPr>
          <p:grpSpPr>
            <a:xfrm>
              <a:off x="822416" y="2781664"/>
              <a:ext cx="4770839" cy="2343126"/>
              <a:chOff x="2197101" y="1982788"/>
              <a:chExt cx="7789861" cy="3825875"/>
            </a:xfrm>
            <a:solidFill>
              <a:schemeClr val="tx2">
                <a:lumMod val="40000"/>
                <a:lumOff val="60000"/>
              </a:schemeClr>
            </a:solidFill>
          </p:grpSpPr>
          <p:grpSp>
            <p:nvGrpSpPr>
              <p:cNvPr id="10" name="Group 206">
                <a:extLst>
                  <a:ext uri="{FF2B5EF4-FFF2-40B4-BE49-F238E27FC236}">
                    <a16:creationId xmlns:a16="http://schemas.microsoft.com/office/drawing/2014/main" id="{02B3DB43-CEB5-EAD2-4EC7-2FEC9DF1F49C}"/>
                  </a:ext>
                </a:extLst>
              </p:cNvPr>
              <p:cNvGrpSpPr>
                <a:grpSpLocks/>
              </p:cNvGrpSpPr>
              <p:nvPr/>
            </p:nvGrpSpPr>
            <p:grpSpPr bwMode="auto">
              <a:xfrm>
                <a:off x="2882900" y="1997075"/>
                <a:ext cx="6932612" cy="3551238"/>
                <a:chOff x="1816" y="1258"/>
                <a:chExt cx="4367" cy="2237"/>
              </a:xfrm>
              <a:grpFill/>
            </p:grpSpPr>
            <p:sp>
              <p:nvSpPr>
                <p:cNvPr id="44" name="Freeform 6">
                  <a:extLst>
                    <a:ext uri="{FF2B5EF4-FFF2-40B4-BE49-F238E27FC236}">
                      <a16:creationId xmlns:a16="http://schemas.microsoft.com/office/drawing/2014/main" id="{B90AE45C-3D5E-9B71-DFD4-51C6B7B25652}"/>
                    </a:ext>
                  </a:extLst>
                </p:cNvPr>
                <p:cNvSpPr>
                  <a:spLocks/>
                </p:cNvSpPr>
                <p:nvPr/>
              </p:nvSpPr>
              <p:spPr bwMode="auto">
                <a:xfrm>
                  <a:off x="1816" y="1905"/>
                  <a:ext cx="1" cy="3"/>
                </a:xfrm>
                <a:custGeom>
                  <a:avLst/>
                  <a:gdLst>
                    <a:gd name="T0" fmla="*/ 0 w 1"/>
                    <a:gd name="T1" fmla="*/ 0 h 3"/>
                    <a:gd name="T2" fmla="*/ 0 w 1"/>
                    <a:gd name="T3" fmla="*/ 0 h 3"/>
                    <a:gd name="T4" fmla="*/ 1 w 1"/>
                    <a:gd name="T5" fmla="*/ 3 h 3"/>
                    <a:gd name="T6" fmla="*/ 0 w 1"/>
                    <a:gd name="T7" fmla="*/ 0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lnTo>
                        <a:pt x="0" y="0"/>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45" name="Freeform 7">
                  <a:extLst>
                    <a:ext uri="{FF2B5EF4-FFF2-40B4-BE49-F238E27FC236}">
                      <a16:creationId xmlns:a16="http://schemas.microsoft.com/office/drawing/2014/main" id="{D7FCC297-B0D8-FDD3-8DF5-19D2C2B22FAA}"/>
                    </a:ext>
                  </a:extLst>
                </p:cNvPr>
                <p:cNvSpPr>
                  <a:spLocks/>
                </p:cNvSpPr>
                <p:nvPr/>
              </p:nvSpPr>
              <p:spPr bwMode="auto">
                <a:xfrm>
                  <a:off x="1817" y="1903"/>
                  <a:ext cx="21" cy="17"/>
                </a:xfrm>
                <a:custGeom>
                  <a:avLst/>
                  <a:gdLst>
                    <a:gd name="T0" fmla="*/ 9 w 21"/>
                    <a:gd name="T1" fmla="*/ 15 h 17"/>
                    <a:gd name="T2" fmla="*/ 5 w 21"/>
                    <a:gd name="T3" fmla="*/ 13 h 17"/>
                    <a:gd name="T4" fmla="*/ 8 w 21"/>
                    <a:gd name="T5" fmla="*/ 17 h 17"/>
                    <a:gd name="T6" fmla="*/ 10 w 21"/>
                    <a:gd name="T7" fmla="*/ 15 h 17"/>
                    <a:gd name="T8" fmla="*/ 11 w 21"/>
                    <a:gd name="T9" fmla="*/ 13 h 17"/>
                    <a:gd name="T10" fmla="*/ 9 w 21"/>
                    <a:gd name="T11" fmla="*/ 11 h 17"/>
                    <a:gd name="T12" fmla="*/ 11 w 21"/>
                    <a:gd name="T13" fmla="*/ 11 h 17"/>
                    <a:gd name="T14" fmla="*/ 17 w 21"/>
                    <a:gd name="T15" fmla="*/ 13 h 17"/>
                    <a:gd name="T16" fmla="*/ 19 w 21"/>
                    <a:gd name="T17" fmla="*/ 14 h 17"/>
                    <a:gd name="T18" fmla="*/ 21 w 21"/>
                    <a:gd name="T19" fmla="*/ 12 h 17"/>
                    <a:gd name="T20" fmla="*/ 20 w 21"/>
                    <a:gd name="T21" fmla="*/ 10 h 17"/>
                    <a:gd name="T22" fmla="*/ 14 w 21"/>
                    <a:gd name="T23" fmla="*/ 10 h 17"/>
                    <a:gd name="T24" fmla="*/ 12 w 21"/>
                    <a:gd name="T25" fmla="*/ 8 h 17"/>
                    <a:gd name="T26" fmla="*/ 7 w 21"/>
                    <a:gd name="T27" fmla="*/ 4 h 17"/>
                    <a:gd name="T28" fmla="*/ 14 w 21"/>
                    <a:gd name="T29" fmla="*/ 8 h 17"/>
                    <a:gd name="T30" fmla="*/ 18 w 21"/>
                    <a:gd name="T31" fmla="*/ 9 h 17"/>
                    <a:gd name="T32" fmla="*/ 17 w 21"/>
                    <a:gd name="T33" fmla="*/ 5 h 17"/>
                    <a:gd name="T34" fmla="*/ 19 w 21"/>
                    <a:gd name="T35" fmla="*/ 6 h 17"/>
                    <a:gd name="T36" fmla="*/ 20 w 21"/>
                    <a:gd name="T37" fmla="*/ 4 h 17"/>
                    <a:gd name="T38" fmla="*/ 17 w 21"/>
                    <a:gd name="T39" fmla="*/ 2 h 17"/>
                    <a:gd name="T40" fmla="*/ 14 w 21"/>
                    <a:gd name="T41" fmla="*/ 2 h 17"/>
                    <a:gd name="T42" fmla="*/ 9 w 21"/>
                    <a:gd name="T43" fmla="*/ 4 h 17"/>
                    <a:gd name="T44" fmla="*/ 12 w 21"/>
                    <a:gd name="T45" fmla="*/ 2 h 17"/>
                    <a:gd name="T46" fmla="*/ 9 w 21"/>
                    <a:gd name="T47" fmla="*/ 0 h 17"/>
                    <a:gd name="T48" fmla="*/ 4 w 21"/>
                    <a:gd name="T49" fmla="*/ 0 h 17"/>
                    <a:gd name="T50" fmla="*/ 3 w 21"/>
                    <a:gd name="T51" fmla="*/ 2 h 17"/>
                    <a:gd name="T52" fmla="*/ 1 w 21"/>
                    <a:gd name="T53" fmla="*/ 0 h 17"/>
                    <a:gd name="T54" fmla="*/ 0 w 21"/>
                    <a:gd name="T55" fmla="*/ 2 h 17"/>
                    <a:gd name="T56" fmla="*/ 2 w 21"/>
                    <a:gd name="T57" fmla="*/ 5 h 17"/>
                    <a:gd name="T58" fmla="*/ 0 w 21"/>
                    <a:gd name="T59" fmla="*/ 8 h 17"/>
                    <a:gd name="T60" fmla="*/ 2 w 21"/>
                    <a:gd name="T61" fmla="*/ 9 h 17"/>
                    <a:gd name="T62" fmla="*/ 4 w 21"/>
                    <a:gd name="T63" fmla="*/ 12 h 17"/>
                    <a:gd name="T64" fmla="*/ 9 w 21"/>
                    <a:gd name="T65" fmla="*/ 15 h 17"/>
                    <a:gd name="T66" fmla="*/ 9 w 21"/>
                    <a:gd name="T6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7">
                      <a:moveTo>
                        <a:pt x="9" y="15"/>
                      </a:moveTo>
                      <a:lnTo>
                        <a:pt x="5" y="13"/>
                      </a:lnTo>
                      <a:lnTo>
                        <a:pt x="8" y="17"/>
                      </a:lnTo>
                      <a:lnTo>
                        <a:pt x="10" y="15"/>
                      </a:lnTo>
                      <a:lnTo>
                        <a:pt x="11" y="13"/>
                      </a:lnTo>
                      <a:lnTo>
                        <a:pt x="9" y="11"/>
                      </a:lnTo>
                      <a:lnTo>
                        <a:pt x="11" y="11"/>
                      </a:lnTo>
                      <a:lnTo>
                        <a:pt x="17" y="13"/>
                      </a:lnTo>
                      <a:lnTo>
                        <a:pt x="19" y="14"/>
                      </a:lnTo>
                      <a:lnTo>
                        <a:pt x="21" y="12"/>
                      </a:lnTo>
                      <a:lnTo>
                        <a:pt x="20" y="10"/>
                      </a:lnTo>
                      <a:lnTo>
                        <a:pt x="14" y="10"/>
                      </a:lnTo>
                      <a:lnTo>
                        <a:pt x="12" y="8"/>
                      </a:lnTo>
                      <a:lnTo>
                        <a:pt x="7" y="4"/>
                      </a:lnTo>
                      <a:lnTo>
                        <a:pt x="14" y="8"/>
                      </a:lnTo>
                      <a:lnTo>
                        <a:pt x="18" y="9"/>
                      </a:lnTo>
                      <a:lnTo>
                        <a:pt x="17" y="5"/>
                      </a:lnTo>
                      <a:lnTo>
                        <a:pt x="19" y="6"/>
                      </a:lnTo>
                      <a:lnTo>
                        <a:pt x="20" y="4"/>
                      </a:lnTo>
                      <a:lnTo>
                        <a:pt x="17" y="2"/>
                      </a:lnTo>
                      <a:lnTo>
                        <a:pt x="14" y="2"/>
                      </a:lnTo>
                      <a:lnTo>
                        <a:pt x="9" y="4"/>
                      </a:lnTo>
                      <a:lnTo>
                        <a:pt x="12" y="2"/>
                      </a:lnTo>
                      <a:lnTo>
                        <a:pt x="9" y="0"/>
                      </a:lnTo>
                      <a:lnTo>
                        <a:pt x="4" y="0"/>
                      </a:lnTo>
                      <a:lnTo>
                        <a:pt x="3" y="2"/>
                      </a:lnTo>
                      <a:lnTo>
                        <a:pt x="1" y="0"/>
                      </a:lnTo>
                      <a:lnTo>
                        <a:pt x="0" y="2"/>
                      </a:lnTo>
                      <a:lnTo>
                        <a:pt x="2" y="5"/>
                      </a:lnTo>
                      <a:lnTo>
                        <a:pt x="0" y="8"/>
                      </a:lnTo>
                      <a:lnTo>
                        <a:pt x="2" y="9"/>
                      </a:lnTo>
                      <a:lnTo>
                        <a:pt x="4" y="12"/>
                      </a:lnTo>
                      <a:lnTo>
                        <a:pt x="9" y="15"/>
                      </a:lnTo>
                      <a:lnTo>
                        <a:pt x="9"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46" name="Freeform 8">
                  <a:extLst>
                    <a:ext uri="{FF2B5EF4-FFF2-40B4-BE49-F238E27FC236}">
                      <a16:creationId xmlns:a16="http://schemas.microsoft.com/office/drawing/2014/main" id="{3D94925C-2681-544E-6C50-B6D0E07DCF02}"/>
                    </a:ext>
                  </a:extLst>
                </p:cNvPr>
                <p:cNvSpPr>
                  <a:spLocks/>
                </p:cNvSpPr>
                <p:nvPr/>
              </p:nvSpPr>
              <p:spPr bwMode="auto">
                <a:xfrm>
                  <a:off x="1828" y="1917"/>
                  <a:ext cx="14" cy="24"/>
                </a:xfrm>
                <a:custGeom>
                  <a:avLst/>
                  <a:gdLst>
                    <a:gd name="T0" fmla="*/ 7 w 14"/>
                    <a:gd name="T1" fmla="*/ 17 h 24"/>
                    <a:gd name="T2" fmla="*/ 9 w 14"/>
                    <a:gd name="T3" fmla="*/ 16 h 24"/>
                    <a:gd name="T4" fmla="*/ 8 w 14"/>
                    <a:gd name="T5" fmla="*/ 18 h 24"/>
                    <a:gd name="T6" fmla="*/ 10 w 14"/>
                    <a:gd name="T7" fmla="*/ 24 h 24"/>
                    <a:gd name="T8" fmla="*/ 14 w 14"/>
                    <a:gd name="T9" fmla="*/ 22 h 24"/>
                    <a:gd name="T10" fmla="*/ 12 w 14"/>
                    <a:gd name="T11" fmla="*/ 18 h 24"/>
                    <a:gd name="T12" fmla="*/ 14 w 14"/>
                    <a:gd name="T13" fmla="*/ 16 h 24"/>
                    <a:gd name="T14" fmla="*/ 10 w 14"/>
                    <a:gd name="T15" fmla="*/ 5 h 24"/>
                    <a:gd name="T16" fmla="*/ 9 w 14"/>
                    <a:gd name="T17" fmla="*/ 3 h 24"/>
                    <a:gd name="T18" fmla="*/ 6 w 14"/>
                    <a:gd name="T19" fmla="*/ 1 h 24"/>
                    <a:gd name="T20" fmla="*/ 3 w 14"/>
                    <a:gd name="T21" fmla="*/ 0 h 24"/>
                    <a:gd name="T22" fmla="*/ 0 w 14"/>
                    <a:gd name="T23" fmla="*/ 1 h 24"/>
                    <a:gd name="T24" fmla="*/ 0 w 14"/>
                    <a:gd name="T25" fmla="*/ 4 h 24"/>
                    <a:gd name="T26" fmla="*/ 2 w 14"/>
                    <a:gd name="T27" fmla="*/ 5 h 24"/>
                    <a:gd name="T28" fmla="*/ 2 w 14"/>
                    <a:gd name="T29" fmla="*/ 7 h 24"/>
                    <a:gd name="T30" fmla="*/ 6 w 14"/>
                    <a:gd name="T31" fmla="*/ 9 h 24"/>
                    <a:gd name="T32" fmla="*/ 2 w 14"/>
                    <a:gd name="T33" fmla="*/ 11 h 24"/>
                    <a:gd name="T34" fmla="*/ 3 w 14"/>
                    <a:gd name="T35" fmla="*/ 14 h 24"/>
                    <a:gd name="T36" fmla="*/ 6 w 14"/>
                    <a:gd name="T37" fmla="*/ 13 h 24"/>
                    <a:gd name="T38" fmla="*/ 6 w 14"/>
                    <a:gd name="T39" fmla="*/ 16 h 24"/>
                    <a:gd name="T40" fmla="*/ 8 w 14"/>
                    <a:gd name="T41" fmla="*/ 14 h 24"/>
                    <a:gd name="T42" fmla="*/ 6 w 14"/>
                    <a:gd name="T43" fmla="*/ 17 h 24"/>
                    <a:gd name="T44" fmla="*/ 7 w 14"/>
                    <a:gd name="T45" fmla="*/ 17 h 24"/>
                    <a:gd name="T46" fmla="*/ 7 w 14"/>
                    <a:gd name="T47"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4">
                      <a:moveTo>
                        <a:pt x="7" y="17"/>
                      </a:moveTo>
                      <a:lnTo>
                        <a:pt x="9" y="16"/>
                      </a:lnTo>
                      <a:lnTo>
                        <a:pt x="8" y="18"/>
                      </a:lnTo>
                      <a:lnTo>
                        <a:pt x="10" y="24"/>
                      </a:lnTo>
                      <a:lnTo>
                        <a:pt x="14" y="22"/>
                      </a:lnTo>
                      <a:lnTo>
                        <a:pt x="12" y="18"/>
                      </a:lnTo>
                      <a:lnTo>
                        <a:pt x="14" y="16"/>
                      </a:lnTo>
                      <a:lnTo>
                        <a:pt x="10" y="5"/>
                      </a:lnTo>
                      <a:lnTo>
                        <a:pt x="9" y="3"/>
                      </a:lnTo>
                      <a:lnTo>
                        <a:pt x="6" y="1"/>
                      </a:lnTo>
                      <a:lnTo>
                        <a:pt x="3" y="0"/>
                      </a:lnTo>
                      <a:lnTo>
                        <a:pt x="0" y="1"/>
                      </a:lnTo>
                      <a:lnTo>
                        <a:pt x="0" y="4"/>
                      </a:lnTo>
                      <a:lnTo>
                        <a:pt x="2" y="5"/>
                      </a:lnTo>
                      <a:lnTo>
                        <a:pt x="2" y="7"/>
                      </a:lnTo>
                      <a:lnTo>
                        <a:pt x="6" y="9"/>
                      </a:lnTo>
                      <a:lnTo>
                        <a:pt x="2" y="11"/>
                      </a:lnTo>
                      <a:lnTo>
                        <a:pt x="3" y="14"/>
                      </a:lnTo>
                      <a:lnTo>
                        <a:pt x="6" y="13"/>
                      </a:lnTo>
                      <a:lnTo>
                        <a:pt x="6" y="16"/>
                      </a:lnTo>
                      <a:lnTo>
                        <a:pt x="8" y="14"/>
                      </a:lnTo>
                      <a:lnTo>
                        <a:pt x="6" y="17"/>
                      </a:lnTo>
                      <a:lnTo>
                        <a:pt x="7" y="17"/>
                      </a:lnTo>
                      <a:lnTo>
                        <a:pt x="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47" name="Freeform 9">
                  <a:extLst>
                    <a:ext uri="{FF2B5EF4-FFF2-40B4-BE49-F238E27FC236}">
                      <a16:creationId xmlns:a16="http://schemas.microsoft.com/office/drawing/2014/main" id="{43EA99DD-D642-4645-D71E-E72431A9AE9F}"/>
                    </a:ext>
                  </a:extLst>
                </p:cNvPr>
                <p:cNvSpPr>
                  <a:spLocks/>
                </p:cNvSpPr>
                <p:nvPr/>
              </p:nvSpPr>
              <p:spPr bwMode="auto">
                <a:xfrm>
                  <a:off x="1837" y="1899"/>
                  <a:ext cx="15" cy="26"/>
                </a:xfrm>
                <a:custGeom>
                  <a:avLst/>
                  <a:gdLst>
                    <a:gd name="T0" fmla="*/ 5 w 15"/>
                    <a:gd name="T1" fmla="*/ 18 h 26"/>
                    <a:gd name="T2" fmla="*/ 7 w 15"/>
                    <a:gd name="T3" fmla="*/ 17 h 26"/>
                    <a:gd name="T4" fmla="*/ 5 w 15"/>
                    <a:gd name="T5" fmla="*/ 18 h 26"/>
                    <a:gd name="T6" fmla="*/ 7 w 15"/>
                    <a:gd name="T7" fmla="*/ 21 h 26"/>
                    <a:gd name="T8" fmla="*/ 5 w 15"/>
                    <a:gd name="T9" fmla="*/ 22 h 26"/>
                    <a:gd name="T10" fmla="*/ 5 w 15"/>
                    <a:gd name="T11" fmla="*/ 25 h 26"/>
                    <a:gd name="T12" fmla="*/ 7 w 15"/>
                    <a:gd name="T13" fmla="*/ 26 h 26"/>
                    <a:gd name="T14" fmla="*/ 10 w 15"/>
                    <a:gd name="T15" fmla="*/ 24 h 26"/>
                    <a:gd name="T16" fmla="*/ 10 w 15"/>
                    <a:gd name="T17" fmla="*/ 22 h 26"/>
                    <a:gd name="T18" fmla="*/ 14 w 15"/>
                    <a:gd name="T19" fmla="*/ 22 h 26"/>
                    <a:gd name="T20" fmla="*/ 13 w 15"/>
                    <a:gd name="T21" fmla="*/ 19 h 26"/>
                    <a:gd name="T22" fmla="*/ 14 w 15"/>
                    <a:gd name="T23" fmla="*/ 16 h 26"/>
                    <a:gd name="T24" fmla="*/ 9 w 15"/>
                    <a:gd name="T25" fmla="*/ 10 h 26"/>
                    <a:gd name="T26" fmla="*/ 9 w 15"/>
                    <a:gd name="T27" fmla="*/ 8 h 26"/>
                    <a:gd name="T28" fmla="*/ 13 w 15"/>
                    <a:gd name="T29" fmla="*/ 14 h 26"/>
                    <a:gd name="T30" fmla="*/ 15 w 15"/>
                    <a:gd name="T31" fmla="*/ 16 h 26"/>
                    <a:gd name="T32" fmla="*/ 14 w 15"/>
                    <a:gd name="T33" fmla="*/ 12 h 26"/>
                    <a:gd name="T34" fmla="*/ 11 w 15"/>
                    <a:gd name="T35" fmla="*/ 8 h 26"/>
                    <a:gd name="T36" fmla="*/ 10 w 15"/>
                    <a:gd name="T37" fmla="*/ 6 h 26"/>
                    <a:gd name="T38" fmla="*/ 5 w 15"/>
                    <a:gd name="T39" fmla="*/ 5 h 26"/>
                    <a:gd name="T40" fmla="*/ 2 w 15"/>
                    <a:gd name="T41" fmla="*/ 2 h 26"/>
                    <a:gd name="T42" fmla="*/ 0 w 15"/>
                    <a:gd name="T43" fmla="*/ 0 h 26"/>
                    <a:gd name="T44" fmla="*/ 0 w 15"/>
                    <a:gd name="T45" fmla="*/ 2 h 26"/>
                    <a:gd name="T46" fmla="*/ 1 w 15"/>
                    <a:gd name="T47" fmla="*/ 6 h 26"/>
                    <a:gd name="T48" fmla="*/ 2 w 15"/>
                    <a:gd name="T49" fmla="*/ 8 h 26"/>
                    <a:gd name="T50" fmla="*/ 2 w 15"/>
                    <a:gd name="T51" fmla="*/ 14 h 26"/>
                    <a:gd name="T52" fmla="*/ 5 w 15"/>
                    <a:gd name="T53" fmla="*/ 18 h 26"/>
                    <a:gd name="T54" fmla="*/ 5 w 15"/>
                    <a:gd name="T55"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 h="26">
                      <a:moveTo>
                        <a:pt x="5" y="18"/>
                      </a:moveTo>
                      <a:lnTo>
                        <a:pt x="7" y="17"/>
                      </a:lnTo>
                      <a:lnTo>
                        <a:pt x="5" y="18"/>
                      </a:lnTo>
                      <a:lnTo>
                        <a:pt x="7" y="21"/>
                      </a:lnTo>
                      <a:lnTo>
                        <a:pt x="5" y="22"/>
                      </a:lnTo>
                      <a:lnTo>
                        <a:pt x="5" y="25"/>
                      </a:lnTo>
                      <a:lnTo>
                        <a:pt x="7" y="26"/>
                      </a:lnTo>
                      <a:lnTo>
                        <a:pt x="10" y="24"/>
                      </a:lnTo>
                      <a:lnTo>
                        <a:pt x="10" y="22"/>
                      </a:lnTo>
                      <a:lnTo>
                        <a:pt x="14" y="22"/>
                      </a:lnTo>
                      <a:lnTo>
                        <a:pt x="13" y="19"/>
                      </a:lnTo>
                      <a:lnTo>
                        <a:pt x="14" y="16"/>
                      </a:lnTo>
                      <a:lnTo>
                        <a:pt x="9" y="10"/>
                      </a:lnTo>
                      <a:lnTo>
                        <a:pt x="9" y="8"/>
                      </a:lnTo>
                      <a:lnTo>
                        <a:pt x="13" y="14"/>
                      </a:lnTo>
                      <a:lnTo>
                        <a:pt x="15" y="16"/>
                      </a:lnTo>
                      <a:lnTo>
                        <a:pt x="14" y="12"/>
                      </a:lnTo>
                      <a:lnTo>
                        <a:pt x="11" y="8"/>
                      </a:lnTo>
                      <a:lnTo>
                        <a:pt x="10" y="6"/>
                      </a:lnTo>
                      <a:lnTo>
                        <a:pt x="5" y="5"/>
                      </a:lnTo>
                      <a:lnTo>
                        <a:pt x="2" y="2"/>
                      </a:lnTo>
                      <a:lnTo>
                        <a:pt x="0" y="0"/>
                      </a:lnTo>
                      <a:lnTo>
                        <a:pt x="0" y="2"/>
                      </a:lnTo>
                      <a:lnTo>
                        <a:pt x="1" y="6"/>
                      </a:lnTo>
                      <a:lnTo>
                        <a:pt x="2" y="8"/>
                      </a:lnTo>
                      <a:lnTo>
                        <a:pt x="2" y="14"/>
                      </a:lnTo>
                      <a:lnTo>
                        <a:pt x="5" y="18"/>
                      </a:ln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48" name="Freeform 10">
                  <a:extLst>
                    <a:ext uri="{FF2B5EF4-FFF2-40B4-BE49-F238E27FC236}">
                      <a16:creationId xmlns:a16="http://schemas.microsoft.com/office/drawing/2014/main" id="{B22C0516-65CB-59B0-5346-E0A785928689}"/>
                    </a:ext>
                  </a:extLst>
                </p:cNvPr>
                <p:cNvSpPr>
                  <a:spLocks/>
                </p:cNvSpPr>
                <p:nvPr/>
              </p:nvSpPr>
              <p:spPr bwMode="auto">
                <a:xfrm>
                  <a:off x="1843" y="1900"/>
                  <a:ext cx="2" cy="3"/>
                </a:xfrm>
                <a:custGeom>
                  <a:avLst/>
                  <a:gdLst>
                    <a:gd name="T0" fmla="*/ 0 w 2"/>
                    <a:gd name="T1" fmla="*/ 0 h 3"/>
                    <a:gd name="T2" fmla="*/ 0 w 2"/>
                    <a:gd name="T3" fmla="*/ 3 h 3"/>
                    <a:gd name="T4" fmla="*/ 2 w 2"/>
                    <a:gd name="T5" fmla="*/ 3 h 3"/>
                    <a:gd name="T6" fmla="*/ 0 w 2"/>
                    <a:gd name="T7" fmla="*/ 0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lnTo>
                        <a:pt x="0" y="3"/>
                      </a:lnTo>
                      <a:lnTo>
                        <a:pt x="2"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49" name="Freeform 11">
                  <a:extLst>
                    <a:ext uri="{FF2B5EF4-FFF2-40B4-BE49-F238E27FC236}">
                      <a16:creationId xmlns:a16="http://schemas.microsoft.com/office/drawing/2014/main" id="{DF797882-45BB-9D1F-A663-0CB6AE04B192}"/>
                    </a:ext>
                  </a:extLst>
                </p:cNvPr>
                <p:cNvSpPr>
                  <a:spLocks/>
                </p:cNvSpPr>
                <p:nvPr/>
              </p:nvSpPr>
              <p:spPr bwMode="auto">
                <a:xfrm>
                  <a:off x="1844" y="1929"/>
                  <a:ext cx="9" cy="18"/>
                </a:xfrm>
                <a:custGeom>
                  <a:avLst/>
                  <a:gdLst>
                    <a:gd name="T0" fmla="*/ 3 w 9"/>
                    <a:gd name="T1" fmla="*/ 18 h 18"/>
                    <a:gd name="T2" fmla="*/ 4 w 9"/>
                    <a:gd name="T3" fmla="*/ 12 h 18"/>
                    <a:gd name="T4" fmla="*/ 6 w 9"/>
                    <a:gd name="T5" fmla="*/ 14 h 18"/>
                    <a:gd name="T6" fmla="*/ 7 w 9"/>
                    <a:gd name="T7" fmla="*/ 12 h 18"/>
                    <a:gd name="T8" fmla="*/ 8 w 9"/>
                    <a:gd name="T9" fmla="*/ 6 h 18"/>
                    <a:gd name="T10" fmla="*/ 9 w 9"/>
                    <a:gd name="T11" fmla="*/ 4 h 18"/>
                    <a:gd name="T12" fmla="*/ 6 w 9"/>
                    <a:gd name="T13" fmla="*/ 5 h 18"/>
                    <a:gd name="T14" fmla="*/ 7 w 9"/>
                    <a:gd name="T15" fmla="*/ 2 h 18"/>
                    <a:gd name="T16" fmla="*/ 4 w 9"/>
                    <a:gd name="T17" fmla="*/ 0 h 18"/>
                    <a:gd name="T18" fmla="*/ 1 w 9"/>
                    <a:gd name="T19" fmla="*/ 0 h 18"/>
                    <a:gd name="T20" fmla="*/ 0 w 9"/>
                    <a:gd name="T21" fmla="*/ 3 h 18"/>
                    <a:gd name="T22" fmla="*/ 2 w 9"/>
                    <a:gd name="T23" fmla="*/ 5 h 18"/>
                    <a:gd name="T24" fmla="*/ 4 w 9"/>
                    <a:gd name="T25" fmla="*/ 6 h 18"/>
                    <a:gd name="T26" fmla="*/ 6 w 9"/>
                    <a:gd name="T27" fmla="*/ 9 h 18"/>
                    <a:gd name="T28" fmla="*/ 2 w 9"/>
                    <a:gd name="T29" fmla="*/ 9 h 18"/>
                    <a:gd name="T30" fmla="*/ 3 w 9"/>
                    <a:gd name="T31" fmla="*/ 14 h 18"/>
                    <a:gd name="T32" fmla="*/ 3 w 9"/>
                    <a:gd name="T33" fmla="*/ 18 h 18"/>
                    <a:gd name="T34" fmla="*/ 3 w 9"/>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8">
                      <a:moveTo>
                        <a:pt x="3" y="18"/>
                      </a:moveTo>
                      <a:lnTo>
                        <a:pt x="4" y="12"/>
                      </a:lnTo>
                      <a:lnTo>
                        <a:pt x="6" y="14"/>
                      </a:lnTo>
                      <a:lnTo>
                        <a:pt x="7" y="12"/>
                      </a:lnTo>
                      <a:lnTo>
                        <a:pt x="8" y="6"/>
                      </a:lnTo>
                      <a:lnTo>
                        <a:pt x="9" y="4"/>
                      </a:lnTo>
                      <a:lnTo>
                        <a:pt x="6" y="5"/>
                      </a:lnTo>
                      <a:lnTo>
                        <a:pt x="7" y="2"/>
                      </a:lnTo>
                      <a:lnTo>
                        <a:pt x="4" y="0"/>
                      </a:lnTo>
                      <a:lnTo>
                        <a:pt x="1" y="0"/>
                      </a:lnTo>
                      <a:lnTo>
                        <a:pt x="0" y="3"/>
                      </a:lnTo>
                      <a:lnTo>
                        <a:pt x="2" y="5"/>
                      </a:lnTo>
                      <a:lnTo>
                        <a:pt x="4" y="6"/>
                      </a:lnTo>
                      <a:lnTo>
                        <a:pt x="6" y="9"/>
                      </a:lnTo>
                      <a:lnTo>
                        <a:pt x="2" y="9"/>
                      </a:lnTo>
                      <a:lnTo>
                        <a:pt x="3" y="14"/>
                      </a:lnTo>
                      <a:lnTo>
                        <a:pt x="3" y="18"/>
                      </a:lnTo>
                      <a:lnTo>
                        <a:pt x="3"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50" name="Freeform 12">
                  <a:extLst>
                    <a:ext uri="{FF2B5EF4-FFF2-40B4-BE49-F238E27FC236}">
                      <a16:creationId xmlns:a16="http://schemas.microsoft.com/office/drawing/2014/main" id="{8CCC0B47-9739-208F-E400-E0C935B75DAB}"/>
                    </a:ext>
                  </a:extLst>
                </p:cNvPr>
                <p:cNvSpPr>
                  <a:spLocks/>
                </p:cNvSpPr>
                <p:nvPr/>
              </p:nvSpPr>
              <p:spPr bwMode="auto">
                <a:xfrm>
                  <a:off x="1863" y="1938"/>
                  <a:ext cx="6" cy="4"/>
                </a:xfrm>
                <a:custGeom>
                  <a:avLst/>
                  <a:gdLst>
                    <a:gd name="T0" fmla="*/ 5 w 6"/>
                    <a:gd name="T1" fmla="*/ 0 h 4"/>
                    <a:gd name="T2" fmla="*/ 2 w 6"/>
                    <a:gd name="T3" fmla="*/ 0 h 4"/>
                    <a:gd name="T4" fmla="*/ 0 w 6"/>
                    <a:gd name="T5" fmla="*/ 2 h 4"/>
                    <a:gd name="T6" fmla="*/ 2 w 6"/>
                    <a:gd name="T7" fmla="*/ 4 h 4"/>
                    <a:gd name="T8" fmla="*/ 6 w 6"/>
                    <a:gd name="T9" fmla="*/ 2 h 4"/>
                    <a:gd name="T10" fmla="*/ 5 w 6"/>
                    <a:gd name="T11" fmla="*/ 0 h 4"/>
                    <a:gd name="T12" fmla="*/ 5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5" y="0"/>
                      </a:moveTo>
                      <a:lnTo>
                        <a:pt x="2" y="0"/>
                      </a:lnTo>
                      <a:lnTo>
                        <a:pt x="0" y="2"/>
                      </a:lnTo>
                      <a:lnTo>
                        <a:pt x="2" y="4"/>
                      </a:lnTo>
                      <a:lnTo>
                        <a:pt x="6" y="2"/>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51" name="Freeform 13">
                  <a:extLst>
                    <a:ext uri="{FF2B5EF4-FFF2-40B4-BE49-F238E27FC236}">
                      <a16:creationId xmlns:a16="http://schemas.microsoft.com/office/drawing/2014/main" id="{DBE451BC-EE21-AAE7-B579-86CD8A7D49B6}"/>
                    </a:ext>
                  </a:extLst>
                </p:cNvPr>
                <p:cNvSpPr>
                  <a:spLocks/>
                </p:cNvSpPr>
                <p:nvPr/>
              </p:nvSpPr>
              <p:spPr bwMode="auto">
                <a:xfrm>
                  <a:off x="1865" y="1961"/>
                  <a:ext cx="3" cy="4"/>
                </a:xfrm>
                <a:custGeom>
                  <a:avLst/>
                  <a:gdLst>
                    <a:gd name="T0" fmla="*/ 0 w 3"/>
                    <a:gd name="T1" fmla="*/ 0 h 4"/>
                    <a:gd name="T2" fmla="*/ 0 w 3"/>
                    <a:gd name="T3" fmla="*/ 4 h 4"/>
                    <a:gd name="T4" fmla="*/ 3 w 3"/>
                    <a:gd name="T5" fmla="*/ 4 h 4"/>
                    <a:gd name="T6" fmla="*/ 0 w 3"/>
                    <a:gd name="T7" fmla="*/ 0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lnTo>
                        <a:pt x="0" y="4"/>
                      </a:lnTo>
                      <a:lnTo>
                        <a:pt x="3"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52" name="Freeform 14">
                  <a:extLst>
                    <a:ext uri="{FF2B5EF4-FFF2-40B4-BE49-F238E27FC236}">
                      <a16:creationId xmlns:a16="http://schemas.microsoft.com/office/drawing/2014/main" id="{315FF47B-9B53-6B23-D137-EDF72E058589}"/>
                    </a:ext>
                  </a:extLst>
                </p:cNvPr>
                <p:cNvSpPr>
                  <a:spLocks/>
                </p:cNvSpPr>
                <p:nvPr/>
              </p:nvSpPr>
              <p:spPr bwMode="auto">
                <a:xfrm>
                  <a:off x="1868" y="1940"/>
                  <a:ext cx="6" cy="7"/>
                </a:xfrm>
                <a:custGeom>
                  <a:avLst/>
                  <a:gdLst>
                    <a:gd name="T0" fmla="*/ 4 w 6"/>
                    <a:gd name="T1" fmla="*/ 0 h 7"/>
                    <a:gd name="T2" fmla="*/ 2 w 6"/>
                    <a:gd name="T3" fmla="*/ 0 h 7"/>
                    <a:gd name="T4" fmla="*/ 0 w 6"/>
                    <a:gd name="T5" fmla="*/ 2 h 7"/>
                    <a:gd name="T6" fmla="*/ 1 w 6"/>
                    <a:gd name="T7" fmla="*/ 5 h 7"/>
                    <a:gd name="T8" fmla="*/ 4 w 6"/>
                    <a:gd name="T9" fmla="*/ 7 h 7"/>
                    <a:gd name="T10" fmla="*/ 6 w 6"/>
                    <a:gd name="T11" fmla="*/ 6 h 7"/>
                    <a:gd name="T12" fmla="*/ 5 w 6"/>
                    <a:gd name="T13" fmla="*/ 2 h 7"/>
                    <a:gd name="T14" fmla="*/ 2 w 6"/>
                    <a:gd name="T15" fmla="*/ 2 h 7"/>
                    <a:gd name="T16" fmla="*/ 4 w 6"/>
                    <a:gd name="T17" fmla="*/ 0 h 7"/>
                    <a:gd name="T18" fmla="*/ 4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4" y="0"/>
                      </a:moveTo>
                      <a:lnTo>
                        <a:pt x="2" y="0"/>
                      </a:lnTo>
                      <a:lnTo>
                        <a:pt x="0" y="2"/>
                      </a:lnTo>
                      <a:lnTo>
                        <a:pt x="1" y="5"/>
                      </a:lnTo>
                      <a:lnTo>
                        <a:pt x="4" y="7"/>
                      </a:lnTo>
                      <a:lnTo>
                        <a:pt x="6" y="6"/>
                      </a:lnTo>
                      <a:lnTo>
                        <a:pt x="5" y="2"/>
                      </a:lnTo>
                      <a:lnTo>
                        <a:pt x="2" y="2"/>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53" name="Freeform 15">
                  <a:extLst>
                    <a:ext uri="{FF2B5EF4-FFF2-40B4-BE49-F238E27FC236}">
                      <a16:creationId xmlns:a16="http://schemas.microsoft.com/office/drawing/2014/main" id="{3A91E940-A76A-E552-C495-61B3EC605F57}"/>
                    </a:ext>
                  </a:extLst>
                </p:cNvPr>
                <p:cNvSpPr>
                  <a:spLocks/>
                </p:cNvSpPr>
                <p:nvPr/>
              </p:nvSpPr>
              <p:spPr bwMode="auto">
                <a:xfrm>
                  <a:off x="1872" y="1937"/>
                  <a:ext cx="6" cy="6"/>
                </a:xfrm>
                <a:custGeom>
                  <a:avLst/>
                  <a:gdLst>
                    <a:gd name="T0" fmla="*/ 0 w 6"/>
                    <a:gd name="T1" fmla="*/ 0 h 6"/>
                    <a:gd name="T2" fmla="*/ 0 w 6"/>
                    <a:gd name="T3" fmla="*/ 4 h 6"/>
                    <a:gd name="T4" fmla="*/ 2 w 6"/>
                    <a:gd name="T5" fmla="*/ 6 h 6"/>
                    <a:gd name="T6" fmla="*/ 6 w 6"/>
                    <a:gd name="T7" fmla="*/ 5 h 6"/>
                    <a:gd name="T8" fmla="*/ 0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0" y="4"/>
                      </a:lnTo>
                      <a:lnTo>
                        <a:pt x="2" y="6"/>
                      </a:lnTo>
                      <a:lnTo>
                        <a:pt x="6" y="5"/>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54" name="Freeform 16">
                  <a:extLst>
                    <a:ext uri="{FF2B5EF4-FFF2-40B4-BE49-F238E27FC236}">
                      <a16:creationId xmlns:a16="http://schemas.microsoft.com/office/drawing/2014/main" id="{71AAF6E0-34B5-861F-ECEA-FA4CFA10BF1B}"/>
                    </a:ext>
                  </a:extLst>
                </p:cNvPr>
                <p:cNvSpPr>
                  <a:spLocks/>
                </p:cNvSpPr>
                <p:nvPr/>
              </p:nvSpPr>
              <p:spPr bwMode="auto">
                <a:xfrm>
                  <a:off x="1879" y="1958"/>
                  <a:ext cx="3" cy="5"/>
                </a:xfrm>
                <a:custGeom>
                  <a:avLst/>
                  <a:gdLst>
                    <a:gd name="T0" fmla="*/ 0 w 3"/>
                    <a:gd name="T1" fmla="*/ 0 h 5"/>
                    <a:gd name="T2" fmla="*/ 0 w 3"/>
                    <a:gd name="T3" fmla="*/ 1 h 5"/>
                    <a:gd name="T4" fmla="*/ 1 w 3"/>
                    <a:gd name="T5" fmla="*/ 5 h 5"/>
                    <a:gd name="T6" fmla="*/ 3 w 3"/>
                    <a:gd name="T7" fmla="*/ 1 h 5"/>
                    <a:gd name="T8" fmla="*/ 0 w 3"/>
                    <a:gd name="T9" fmla="*/ 0 h 5"/>
                    <a:gd name="T10" fmla="*/ 0 w 3"/>
                    <a:gd name="T11" fmla="*/ 0 h 5"/>
                  </a:gdLst>
                  <a:ahLst/>
                  <a:cxnLst>
                    <a:cxn ang="0">
                      <a:pos x="T0" y="T1"/>
                    </a:cxn>
                    <a:cxn ang="0">
                      <a:pos x="T2" y="T3"/>
                    </a:cxn>
                    <a:cxn ang="0">
                      <a:pos x="T4" y="T5"/>
                    </a:cxn>
                    <a:cxn ang="0">
                      <a:pos x="T6" y="T7"/>
                    </a:cxn>
                    <a:cxn ang="0">
                      <a:pos x="T8" y="T9"/>
                    </a:cxn>
                    <a:cxn ang="0">
                      <a:pos x="T10" y="T11"/>
                    </a:cxn>
                  </a:cxnLst>
                  <a:rect l="0" t="0" r="r" b="b"/>
                  <a:pathLst>
                    <a:path w="3" h="5">
                      <a:moveTo>
                        <a:pt x="0" y="0"/>
                      </a:moveTo>
                      <a:lnTo>
                        <a:pt x="0" y="1"/>
                      </a:lnTo>
                      <a:lnTo>
                        <a:pt x="1" y="5"/>
                      </a:lnTo>
                      <a:lnTo>
                        <a:pt x="3"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55" name="Freeform 17">
                  <a:extLst>
                    <a:ext uri="{FF2B5EF4-FFF2-40B4-BE49-F238E27FC236}">
                      <a16:creationId xmlns:a16="http://schemas.microsoft.com/office/drawing/2014/main" id="{9346BF2C-2D10-7709-E349-F3ED76E2AEBD}"/>
                    </a:ext>
                  </a:extLst>
                </p:cNvPr>
                <p:cNvSpPr>
                  <a:spLocks/>
                </p:cNvSpPr>
                <p:nvPr/>
              </p:nvSpPr>
              <p:spPr bwMode="auto">
                <a:xfrm>
                  <a:off x="1880" y="1947"/>
                  <a:ext cx="11" cy="13"/>
                </a:xfrm>
                <a:custGeom>
                  <a:avLst/>
                  <a:gdLst>
                    <a:gd name="T0" fmla="*/ 2 w 11"/>
                    <a:gd name="T1" fmla="*/ 12 h 13"/>
                    <a:gd name="T2" fmla="*/ 4 w 11"/>
                    <a:gd name="T3" fmla="*/ 10 h 13"/>
                    <a:gd name="T4" fmla="*/ 7 w 11"/>
                    <a:gd name="T5" fmla="*/ 10 h 13"/>
                    <a:gd name="T6" fmla="*/ 6 w 11"/>
                    <a:gd name="T7" fmla="*/ 8 h 13"/>
                    <a:gd name="T8" fmla="*/ 7 w 11"/>
                    <a:gd name="T9" fmla="*/ 10 h 13"/>
                    <a:gd name="T10" fmla="*/ 5 w 11"/>
                    <a:gd name="T11" fmla="*/ 12 h 13"/>
                    <a:gd name="T12" fmla="*/ 7 w 11"/>
                    <a:gd name="T13" fmla="*/ 12 h 13"/>
                    <a:gd name="T14" fmla="*/ 10 w 11"/>
                    <a:gd name="T15" fmla="*/ 13 h 13"/>
                    <a:gd name="T16" fmla="*/ 11 w 11"/>
                    <a:gd name="T17" fmla="*/ 5 h 13"/>
                    <a:gd name="T18" fmla="*/ 10 w 11"/>
                    <a:gd name="T19" fmla="*/ 3 h 13"/>
                    <a:gd name="T20" fmla="*/ 7 w 11"/>
                    <a:gd name="T21" fmla="*/ 0 h 13"/>
                    <a:gd name="T22" fmla="*/ 5 w 11"/>
                    <a:gd name="T23" fmla="*/ 1 h 13"/>
                    <a:gd name="T24" fmla="*/ 2 w 11"/>
                    <a:gd name="T25" fmla="*/ 2 h 13"/>
                    <a:gd name="T26" fmla="*/ 2 w 11"/>
                    <a:gd name="T27" fmla="*/ 8 h 13"/>
                    <a:gd name="T28" fmla="*/ 0 w 11"/>
                    <a:gd name="T29" fmla="*/ 11 h 13"/>
                    <a:gd name="T30" fmla="*/ 2 w 11"/>
                    <a:gd name="T31" fmla="*/ 12 h 13"/>
                    <a:gd name="T32" fmla="*/ 2 w 11"/>
                    <a:gd name="T33"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3">
                      <a:moveTo>
                        <a:pt x="2" y="12"/>
                      </a:moveTo>
                      <a:lnTo>
                        <a:pt x="4" y="10"/>
                      </a:lnTo>
                      <a:lnTo>
                        <a:pt x="7" y="10"/>
                      </a:lnTo>
                      <a:lnTo>
                        <a:pt x="6" y="8"/>
                      </a:lnTo>
                      <a:lnTo>
                        <a:pt x="7" y="10"/>
                      </a:lnTo>
                      <a:lnTo>
                        <a:pt x="5" y="12"/>
                      </a:lnTo>
                      <a:lnTo>
                        <a:pt x="7" y="12"/>
                      </a:lnTo>
                      <a:lnTo>
                        <a:pt x="10" y="13"/>
                      </a:lnTo>
                      <a:lnTo>
                        <a:pt x="11" y="5"/>
                      </a:lnTo>
                      <a:lnTo>
                        <a:pt x="10" y="3"/>
                      </a:lnTo>
                      <a:lnTo>
                        <a:pt x="7" y="0"/>
                      </a:lnTo>
                      <a:lnTo>
                        <a:pt x="5" y="1"/>
                      </a:lnTo>
                      <a:lnTo>
                        <a:pt x="2" y="2"/>
                      </a:lnTo>
                      <a:lnTo>
                        <a:pt x="2" y="8"/>
                      </a:lnTo>
                      <a:lnTo>
                        <a:pt x="0" y="11"/>
                      </a:lnTo>
                      <a:lnTo>
                        <a:pt x="2" y="12"/>
                      </a:lnTo>
                      <a:lnTo>
                        <a:pt x="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56" name="Freeform 18">
                  <a:extLst>
                    <a:ext uri="{FF2B5EF4-FFF2-40B4-BE49-F238E27FC236}">
                      <a16:creationId xmlns:a16="http://schemas.microsoft.com/office/drawing/2014/main" id="{01DBB6FF-FE49-9FC1-9384-711A0604F29F}"/>
                    </a:ext>
                  </a:extLst>
                </p:cNvPr>
                <p:cNvSpPr>
                  <a:spLocks/>
                </p:cNvSpPr>
                <p:nvPr/>
              </p:nvSpPr>
              <p:spPr bwMode="auto">
                <a:xfrm>
                  <a:off x="1862" y="1981"/>
                  <a:ext cx="19" cy="19"/>
                </a:xfrm>
                <a:custGeom>
                  <a:avLst/>
                  <a:gdLst>
                    <a:gd name="T0" fmla="*/ 2 w 19"/>
                    <a:gd name="T1" fmla="*/ 11 h 19"/>
                    <a:gd name="T2" fmla="*/ 5 w 19"/>
                    <a:gd name="T3" fmla="*/ 13 h 19"/>
                    <a:gd name="T4" fmla="*/ 7 w 19"/>
                    <a:gd name="T5" fmla="*/ 14 h 19"/>
                    <a:gd name="T6" fmla="*/ 5 w 19"/>
                    <a:gd name="T7" fmla="*/ 16 h 19"/>
                    <a:gd name="T8" fmla="*/ 8 w 19"/>
                    <a:gd name="T9" fmla="*/ 16 h 19"/>
                    <a:gd name="T10" fmla="*/ 8 w 19"/>
                    <a:gd name="T11" fmla="*/ 18 h 19"/>
                    <a:gd name="T12" fmla="*/ 10 w 19"/>
                    <a:gd name="T13" fmla="*/ 19 h 19"/>
                    <a:gd name="T14" fmla="*/ 14 w 19"/>
                    <a:gd name="T15" fmla="*/ 18 h 19"/>
                    <a:gd name="T16" fmla="*/ 16 w 19"/>
                    <a:gd name="T17" fmla="*/ 16 h 19"/>
                    <a:gd name="T18" fmla="*/ 16 w 19"/>
                    <a:gd name="T19" fmla="*/ 10 h 19"/>
                    <a:gd name="T20" fmla="*/ 17 w 19"/>
                    <a:gd name="T21" fmla="*/ 8 h 19"/>
                    <a:gd name="T22" fmla="*/ 18 w 19"/>
                    <a:gd name="T23" fmla="*/ 5 h 19"/>
                    <a:gd name="T24" fmla="*/ 19 w 19"/>
                    <a:gd name="T25" fmla="*/ 2 h 19"/>
                    <a:gd name="T26" fmla="*/ 17 w 19"/>
                    <a:gd name="T27" fmla="*/ 2 h 19"/>
                    <a:gd name="T28" fmla="*/ 15 w 19"/>
                    <a:gd name="T29" fmla="*/ 3 h 19"/>
                    <a:gd name="T30" fmla="*/ 14 w 19"/>
                    <a:gd name="T31" fmla="*/ 5 h 19"/>
                    <a:gd name="T32" fmla="*/ 12 w 19"/>
                    <a:gd name="T33" fmla="*/ 9 h 19"/>
                    <a:gd name="T34" fmla="*/ 10 w 19"/>
                    <a:gd name="T35" fmla="*/ 11 h 19"/>
                    <a:gd name="T36" fmla="*/ 7 w 19"/>
                    <a:gd name="T37" fmla="*/ 10 h 19"/>
                    <a:gd name="T38" fmla="*/ 10 w 19"/>
                    <a:gd name="T39" fmla="*/ 8 h 19"/>
                    <a:gd name="T40" fmla="*/ 12 w 19"/>
                    <a:gd name="T41" fmla="*/ 7 h 19"/>
                    <a:gd name="T42" fmla="*/ 14 w 19"/>
                    <a:gd name="T43" fmla="*/ 4 h 19"/>
                    <a:gd name="T44" fmla="*/ 10 w 19"/>
                    <a:gd name="T45" fmla="*/ 1 h 19"/>
                    <a:gd name="T46" fmla="*/ 8 w 19"/>
                    <a:gd name="T47" fmla="*/ 2 h 19"/>
                    <a:gd name="T48" fmla="*/ 5 w 19"/>
                    <a:gd name="T49" fmla="*/ 1 h 19"/>
                    <a:gd name="T50" fmla="*/ 2 w 19"/>
                    <a:gd name="T51" fmla="*/ 0 h 19"/>
                    <a:gd name="T52" fmla="*/ 0 w 19"/>
                    <a:gd name="T53" fmla="*/ 3 h 19"/>
                    <a:gd name="T54" fmla="*/ 0 w 19"/>
                    <a:gd name="T55" fmla="*/ 5 h 19"/>
                    <a:gd name="T56" fmla="*/ 2 w 19"/>
                    <a:gd name="T57" fmla="*/ 11 h 19"/>
                    <a:gd name="T58" fmla="*/ 2 w 19"/>
                    <a:gd name="T59"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19">
                      <a:moveTo>
                        <a:pt x="2" y="11"/>
                      </a:moveTo>
                      <a:lnTo>
                        <a:pt x="5" y="13"/>
                      </a:lnTo>
                      <a:lnTo>
                        <a:pt x="7" y="14"/>
                      </a:lnTo>
                      <a:lnTo>
                        <a:pt x="5" y="16"/>
                      </a:lnTo>
                      <a:lnTo>
                        <a:pt x="8" y="16"/>
                      </a:lnTo>
                      <a:lnTo>
                        <a:pt x="8" y="18"/>
                      </a:lnTo>
                      <a:lnTo>
                        <a:pt x="10" y="19"/>
                      </a:lnTo>
                      <a:lnTo>
                        <a:pt x="14" y="18"/>
                      </a:lnTo>
                      <a:lnTo>
                        <a:pt x="16" y="16"/>
                      </a:lnTo>
                      <a:lnTo>
                        <a:pt x="16" y="10"/>
                      </a:lnTo>
                      <a:lnTo>
                        <a:pt x="17" y="8"/>
                      </a:lnTo>
                      <a:lnTo>
                        <a:pt x="18" y="5"/>
                      </a:lnTo>
                      <a:lnTo>
                        <a:pt x="19" y="2"/>
                      </a:lnTo>
                      <a:lnTo>
                        <a:pt x="17" y="2"/>
                      </a:lnTo>
                      <a:lnTo>
                        <a:pt x="15" y="3"/>
                      </a:lnTo>
                      <a:lnTo>
                        <a:pt x="14" y="5"/>
                      </a:lnTo>
                      <a:lnTo>
                        <a:pt x="12" y="9"/>
                      </a:lnTo>
                      <a:lnTo>
                        <a:pt x="10" y="11"/>
                      </a:lnTo>
                      <a:lnTo>
                        <a:pt x="7" y="10"/>
                      </a:lnTo>
                      <a:lnTo>
                        <a:pt x="10" y="8"/>
                      </a:lnTo>
                      <a:lnTo>
                        <a:pt x="12" y="7"/>
                      </a:lnTo>
                      <a:lnTo>
                        <a:pt x="14" y="4"/>
                      </a:lnTo>
                      <a:lnTo>
                        <a:pt x="10" y="1"/>
                      </a:lnTo>
                      <a:lnTo>
                        <a:pt x="8" y="2"/>
                      </a:lnTo>
                      <a:lnTo>
                        <a:pt x="5" y="1"/>
                      </a:lnTo>
                      <a:lnTo>
                        <a:pt x="2" y="0"/>
                      </a:lnTo>
                      <a:lnTo>
                        <a:pt x="0" y="3"/>
                      </a:lnTo>
                      <a:lnTo>
                        <a:pt x="0" y="5"/>
                      </a:lnTo>
                      <a:lnTo>
                        <a:pt x="2" y="11"/>
                      </a:lnTo>
                      <a:lnTo>
                        <a:pt x="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57" name="Freeform 19">
                  <a:extLst>
                    <a:ext uri="{FF2B5EF4-FFF2-40B4-BE49-F238E27FC236}">
                      <a16:creationId xmlns:a16="http://schemas.microsoft.com/office/drawing/2014/main" id="{045C7409-A68A-09C5-2501-FEFE2F0FB1B3}"/>
                    </a:ext>
                  </a:extLst>
                </p:cNvPr>
                <p:cNvSpPr>
                  <a:spLocks/>
                </p:cNvSpPr>
                <p:nvPr/>
              </p:nvSpPr>
              <p:spPr bwMode="auto">
                <a:xfrm>
                  <a:off x="1870" y="1999"/>
                  <a:ext cx="20" cy="20"/>
                </a:xfrm>
                <a:custGeom>
                  <a:avLst/>
                  <a:gdLst>
                    <a:gd name="T0" fmla="*/ 8 w 20"/>
                    <a:gd name="T1" fmla="*/ 4 h 20"/>
                    <a:gd name="T2" fmla="*/ 11 w 20"/>
                    <a:gd name="T3" fmla="*/ 7 h 20"/>
                    <a:gd name="T4" fmla="*/ 11 w 20"/>
                    <a:gd name="T5" fmla="*/ 4 h 20"/>
                    <a:gd name="T6" fmla="*/ 9 w 20"/>
                    <a:gd name="T7" fmla="*/ 3 h 20"/>
                    <a:gd name="T8" fmla="*/ 11 w 20"/>
                    <a:gd name="T9" fmla="*/ 3 h 20"/>
                    <a:gd name="T10" fmla="*/ 10 w 20"/>
                    <a:gd name="T11" fmla="*/ 0 h 20"/>
                    <a:gd name="T12" fmla="*/ 8 w 20"/>
                    <a:gd name="T13" fmla="*/ 0 h 20"/>
                    <a:gd name="T14" fmla="*/ 4 w 20"/>
                    <a:gd name="T15" fmla="*/ 1 h 20"/>
                    <a:gd name="T16" fmla="*/ 0 w 20"/>
                    <a:gd name="T17" fmla="*/ 1 h 20"/>
                    <a:gd name="T18" fmla="*/ 2 w 20"/>
                    <a:gd name="T19" fmla="*/ 3 h 20"/>
                    <a:gd name="T20" fmla="*/ 4 w 20"/>
                    <a:gd name="T21" fmla="*/ 4 h 20"/>
                    <a:gd name="T22" fmla="*/ 2 w 20"/>
                    <a:gd name="T23" fmla="*/ 6 h 20"/>
                    <a:gd name="T24" fmla="*/ 4 w 20"/>
                    <a:gd name="T25" fmla="*/ 8 h 20"/>
                    <a:gd name="T26" fmla="*/ 7 w 20"/>
                    <a:gd name="T27" fmla="*/ 8 h 20"/>
                    <a:gd name="T28" fmla="*/ 8 w 20"/>
                    <a:gd name="T29" fmla="*/ 10 h 20"/>
                    <a:gd name="T30" fmla="*/ 10 w 20"/>
                    <a:gd name="T31" fmla="*/ 13 h 20"/>
                    <a:gd name="T32" fmla="*/ 12 w 20"/>
                    <a:gd name="T33" fmla="*/ 15 h 20"/>
                    <a:gd name="T34" fmla="*/ 15 w 20"/>
                    <a:gd name="T35" fmla="*/ 17 h 20"/>
                    <a:gd name="T36" fmla="*/ 17 w 20"/>
                    <a:gd name="T37" fmla="*/ 20 h 20"/>
                    <a:gd name="T38" fmla="*/ 19 w 20"/>
                    <a:gd name="T39" fmla="*/ 19 h 20"/>
                    <a:gd name="T40" fmla="*/ 20 w 20"/>
                    <a:gd name="T41" fmla="*/ 18 h 20"/>
                    <a:gd name="T42" fmla="*/ 17 w 20"/>
                    <a:gd name="T43" fmla="*/ 17 h 20"/>
                    <a:gd name="T44" fmla="*/ 15 w 20"/>
                    <a:gd name="T45" fmla="*/ 15 h 20"/>
                    <a:gd name="T46" fmla="*/ 12 w 20"/>
                    <a:gd name="T47" fmla="*/ 12 h 20"/>
                    <a:gd name="T48" fmla="*/ 9 w 20"/>
                    <a:gd name="T49" fmla="*/ 7 h 20"/>
                    <a:gd name="T50" fmla="*/ 8 w 20"/>
                    <a:gd name="T51" fmla="*/ 4 h 20"/>
                    <a:gd name="T52" fmla="*/ 9 w 20"/>
                    <a:gd name="T53" fmla="*/ 4 h 20"/>
                    <a:gd name="T54" fmla="*/ 8 w 20"/>
                    <a:gd name="T55" fmla="*/ 4 h 20"/>
                    <a:gd name="T56" fmla="*/ 8 w 20"/>
                    <a:gd name="T5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0">
                      <a:moveTo>
                        <a:pt x="8" y="4"/>
                      </a:moveTo>
                      <a:lnTo>
                        <a:pt x="11" y="7"/>
                      </a:lnTo>
                      <a:lnTo>
                        <a:pt x="11" y="4"/>
                      </a:lnTo>
                      <a:lnTo>
                        <a:pt x="9" y="3"/>
                      </a:lnTo>
                      <a:lnTo>
                        <a:pt x="11" y="3"/>
                      </a:lnTo>
                      <a:lnTo>
                        <a:pt x="10" y="0"/>
                      </a:lnTo>
                      <a:lnTo>
                        <a:pt x="8" y="0"/>
                      </a:lnTo>
                      <a:lnTo>
                        <a:pt x="4" y="1"/>
                      </a:lnTo>
                      <a:lnTo>
                        <a:pt x="0" y="1"/>
                      </a:lnTo>
                      <a:lnTo>
                        <a:pt x="2" y="3"/>
                      </a:lnTo>
                      <a:lnTo>
                        <a:pt x="4" y="4"/>
                      </a:lnTo>
                      <a:lnTo>
                        <a:pt x="2" y="6"/>
                      </a:lnTo>
                      <a:lnTo>
                        <a:pt x="4" y="8"/>
                      </a:lnTo>
                      <a:lnTo>
                        <a:pt x="7" y="8"/>
                      </a:lnTo>
                      <a:lnTo>
                        <a:pt x="8" y="10"/>
                      </a:lnTo>
                      <a:lnTo>
                        <a:pt x="10" y="13"/>
                      </a:lnTo>
                      <a:lnTo>
                        <a:pt x="12" y="15"/>
                      </a:lnTo>
                      <a:lnTo>
                        <a:pt x="15" y="17"/>
                      </a:lnTo>
                      <a:lnTo>
                        <a:pt x="17" y="20"/>
                      </a:lnTo>
                      <a:lnTo>
                        <a:pt x="19" y="19"/>
                      </a:lnTo>
                      <a:lnTo>
                        <a:pt x="20" y="18"/>
                      </a:lnTo>
                      <a:lnTo>
                        <a:pt x="17" y="17"/>
                      </a:lnTo>
                      <a:lnTo>
                        <a:pt x="15" y="15"/>
                      </a:lnTo>
                      <a:lnTo>
                        <a:pt x="12" y="12"/>
                      </a:lnTo>
                      <a:lnTo>
                        <a:pt x="9" y="7"/>
                      </a:lnTo>
                      <a:lnTo>
                        <a:pt x="8" y="4"/>
                      </a:lnTo>
                      <a:lnTo>
                        <a:pt x="9" y="4"/>
                      </a:lnTo>
                      <a:lnTo>
                        <a:pt x="8" y="4"/>
                      </a:ln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58" name="Freeform 20">
                  <a:extLst>
                    <a:ext uri="{FF2B5EF4-FFF2-40B4-BE49-F238E27FC236}">
                      <a16:creationId xmlns:a16="http://schemas.microsoft.com/office/drawing/2014/main" id="{DADD73BC-E544-9BA3-3573-5AE53A8F4A74}"/>
                    </a:ext>
                  </a:extLst>
                </p:cNvPr>
                <p:cNvSpPr>
                  <a:spLocks/>
                </p:cNvSpPr>
                <p:nvPr/>
              </p:nvSpPr>
              <p:spPr bwMode="auto">
                <a:xfrm>
                  <a:off x="1881" y="2008"/>
                  <a:ext cx="4" cy="2"/>
                </a:xfrm>
                <a:custGeom>
                  <a:avLst/>
                  <a:gdLst>
                    <a:gd name="T0" fmla="*/ 4 w 4"/>
                    <a:gd name="T1" fmla="*/ 0 h 2"/>
                    <a:gd name="T2" fmla="*/ 0 w 4"/>
                    <a:gd name="T3" fmla="*/ 0 h 2"/>
                    <a:gd name="T4" fmla="*/ 1 w 4"/>
                    <a:gd name="T5" fmla="*/ 2 h 2"/>
                    <a:gd name="T6" fmla="*/ 4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0"/>
                      </a:lnTo>
                      <a:lnTo>
                        <a:pt x="1" y="2"/>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59" name="Freeform 21">
                  <a:extLst>
                    <a:ext uri="{FF2B5EF4-FFF2-40B4-BE49-F238E27FC236}">
                      <a16:creationId xmlns:a16="http://schemas.microsoft.com/office/drawing/2014/main" id="{4933A8D9-8048-D6F7-5D8B-B6ED3918DFD2}"/>
                    </a:ext>
                  </a:extLst>
                </p:cNvPr>
                <p:cNvSpPr>
                  <a:spLocks/>
                </p:cNvSpPr>
                <p:nvPr/>
              </p:nvSpPr>
              <p:spPr bwMode="auto">
                <a:xfrm>
                  <a:off x="1898" y="1965"/>
                  <a:ext cx="4" cy="4"/>
                </a:xfrm>
                <a:custGeom>
                  <a:avLst/>
                  <a:gdLst>
                    <a:gd name="T0" fmla="*/ 4 w 4"/>
                    <a:gd name="T1" fmla="*/ 0 h 4"/>
                    <a:gd name="T2" fmla="*/ 0 w 4"/>
                    <a:gd name="T3" fmla="*/ 4 h 4"/>
                    <a:gd name="T4" fmla="*/ 4 w 4"/>
                    <a:gd name="T5" fmla="*/ 3 h 4"/>
                    <a:gd name="T6" fmla="*/ 4 w 4"/>
                    <a:gd name="T7" fmla="*/ 0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lnTo>
                        <a:pt x="0" y="4"/>
                      </a:lnTo>
                      <a:lnTo>
                        <a:pt x="4"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60" name="Freeform 22">
                  <a:extLst>
                    <a:ext uri="{FF2B5EF4-FFF2-40B4-BE49-F238E27FC236}">
                      <a16:creationId xmlns:a16="http://schemas.microsoft.com/office/drawing/2014/main" id="{81DE4976-028F-2E77-A646-FEE421BF3422}"/>
                    </a:ext>
                  </a:extLst>
                </p:cNvPr>
                <p:cNvSpPr>
                  <a:spLocks/>
                </p:cNvSpPr>
                <p:nvPr/>
              </p:nvSpPr>
              <p:spPr bwMode="auto">
                <a:xfrm>
                  <a:off x="1851" y="1925"/>
                  <a:ext cx="13" cy="13"/>
                </a:xfrm>
                <a:custGeom>
                  <a:avLst/>
                  <a:gdLst>
                    <a:gd name="T0" fmla="*/ 4 w 13"/>
                    <a:gd name="T1" fmla="*/ 13 h 13"/>
                    <a:gd name="T2" fmla="*/ 3 w 13"/>
                    <a:gd name="T3" fmla="*/ 12 h 13"/>
                    <a:gd name="T4" fmla="*/ 3 w 13"/>
                    <a:gd name="T5" fmla="*/ 6 h 13"/>
                    <a:gd name="T6" fmla="*/ 1 w 13"/>
                    <a:gd name="T7" fmla="*/ 4 h 13"/>
                    <a:gd name="T8" fmla="*/ 0 w 13"/>
                    <a:gd name="T9" fmla="*/ 0 h 13"/>
                    <a:gd name="T10" fmla="*/ 2 w 13"/>
                    <a:gd name="T11" fmla="*/ 0 h 13"/>
                    <a:gd name="T12" fmla="*/ 8 w 13"/>
                    <a:gd name="T13" fmla="*/ 1 h 13"/>
                    <a:gd name="T14" fmla="*/ 10 w 13"/>
                    <a:gd name="T15" fmla="*/ 1 h 13"/>
                    <a:gd name="T16" fmla="*/ 13 w 13"/>
                    <a:gd name="T17" fmla="*/ 4 h 13"/>
                    <a:gd name="T18" fmla="*/ 13 w 13"/>
                    <a:gd name="T19" fmla="*/ 7 h 13"/>
                    <a:gd name="T20" fmla="*/ 12 w 13"/>
                    <a:gd name="T21" fmla="*/ 9 h 13"/>
                    <a:gd name="T22" fmla="*/ 9 w 13"/>
                    <a:gd name="T23" fmla="*/ 7 h 13"/>
                    <a:gd name="T24" fmla="*/ 11 w 13"/>
                    <a:gd name="T25" fmla="*/ 10 h 13"/>
                    <a:gd name="T26" fmla="*/ 10 w 13"/>
                    <a:gd name="T27" fmla="*/ 13 h 13"/>
                    <a:gd name="T28" fmla="*/ 6 w 13"/>
                    <a:gd name="T29" fmla="*/ 12 h 13"/>
                    <a:gd name="T30" fmla="*/ 4 w 13"/>
                    <a:gd name="T31" fmla="*/ 13 h 13"/>
                    <a:gd name="T32" fmla="*/ 4 w 13"/>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4" y="13"/>
                      </a:moveTo>
                      <a:lnTo>
                        <a:pt x="3" y="12"/>
                      </a:lnTo>
                      <a:lnTo>
                        <a:pt x="3" y="6"/>
                      </a:lnTo>
                      <a:lnTo>
                        <a:pt x="1" y="4"/>
                      </a:lnTo>
                      <a:lnTo>
                        <a:pt x="0" y="0"/>
                      </a:lnTo>
                      <a:lnTo>
                        <a:pt x="2" y="0"/>
                      </a:lnTo>
                      <a:lnTo>
                        <a:pt x="8" y="1"/>
                      </a:lnTo>
                      <a:lnTo>
                        <a:pt x="10" y="1"/>
                      </a:lnTo>
                      <a:lnTo>
                        <a:pt x="13" y="4"/>
                      </a:lnTo>
                      <a:lnTo>
                        <a:pt x="13" y="7"/>
                      </a:lnTo>
                      <a:lnTo>
                        <a:pt x="12" y="9"/>
                      </a:lnTo>
                      <a:lnTo>
                        <a:pt x="9" y="7"/>
                      </a:lnTo>
                      <a:lnTo>
                        <a:pt x="11" y="10"/>
                      </a:lnTo>
                      <a:lnTo>
                        <a:pt x="10" y="13"/>
                      </a:lnTo>
                      <a:lnTo>
                        <a:pt x="6" y="12"/>
                      </a:lnTo>
                      <a:lnTo>
                        <a:pt x="4" y="13"/>
                      </a:lnTo>
                      <a:lnTo>
                        <a:pt x="4"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61" name="Freeform 23">
                  <a:extLst>
                    <a:ext uri="{FF2B5EF4-FFF2-40B4-BE49-F238E27FC236}">
                      <a16:creationId xmlns:a16="http://schemas.microsoft.com/office/drawing/2014/main" id="{9F722E5D-FB71-3ABD-C775-5AE6BCF81E06}"/>
                    </a:ext>
                  </a:extLst>
                </p:cNvPr>
                <p:cNvSpPr>
                  <a:spLocks/>
                </p:cNvSpPr>
                <p:nvPr/>
              </p:nvSpPr>
              <p:spPr bwMode="auto">
                <a:xfrm>
                  <a:off x="1855" y="1939"/>
                  <a:ext cx="23" cy="32"/>
                </a:xfrm>
                <a:custGeom>
                  <a:avLst/>
                  <a:gdLst>
                    <a:gd name="T0" fmla="*/ 4 w 23"/>
                    <a:gd name="T1" fmla="*/ 4 h 32"/>
                    <a:gd name="T2" fmla="*/ 2 w 23"/>
                    <a:gd name="T3" fmla="*/ 4 h 32"/>
                    <a:gd name="T4" fmla="*/ 0 w 23"/>
                    <a:gd name="T5" fmla="*/ 3 h 32"/>
                    <a:gd name="T6" fmla="*/ 0 w 23"/>
                    <a:gd name="T7" fmla="*/ 0 h 32"/>
                    <a:gd name="T8" fmla="*/ 6 w 23"/>
                    <a:gd name="T9" fmla="*/ 1 h 32"/>
                    <a:gd name="T10" fmla="*/ 8 w 23"/>
                    <a:gd name="T11" fmla="*/ 3 h 32"/>
                    <a:gd name="T12" fmla="*/ 9 w 23"/>
                    <a:gd name="T13" fmla="*/ 7 h 32"/>
                    <a:gd name="T14" fmla="*/ 12 w 23"/>
                    <a:gd name="T15" fmla="*/ 7 h 32"/>
                    <a:gd name="T16" fmla="*/ 15 w 23"/>
                    <a:gd name="T17" fmla="*/ 9 h 32"/>
                    <a:gd name="T18" fmla="*/ 17 w 23"/>
                    <a:gd name="T19" fmla="*/ 15 h 32"/>
                    <a:gd name="T20" fmla="*/ 21 w 23"/>
                    <a:gd name="T21" fmla="*/ 18 h 32"/>
                    <a:gd name="T22" fmla="*/ 15 w 23"/>
                    <a:gd name="T23" fmla="*/ 15 h 32"/>
                    <a:gd name="T24" fmla="*/ 15 w 23"/>
                    <a:gd name="T25" fmla="*/ 17 h 32"/>
                    <a:gd name="T26" fmla="*/ 17 w 23"/>
                    <a:gd name="T27" fmla="*/ 19 h 32"/>
                    <a:gd name="T28" fmla="*/ 21 w 23"/>
                    <a:gd name="T29" fmla="*/ 19 h 32"/>
                    <a:gd name="T30" fmla="*/ 19 w 23"/>
                    <a:gd name="T31" fmla="*/ 22 h 32"/>
                    <a:gd name="T32" fmla="*/ 22 w 23"/>
                    <a:gd name="T33" fmla="*/ 21 h 32"/>
                    <a:gd name="T34" fmla="*/ 22 w 23"/>
                    <a:gd name="T35" fmla="*/ 24 h 32"/>
                    <a:gd name="T36" fmla="*/ 19 w 23"/>
                    <a:gd name="T37" fmla="*/ 26 h 32"/>
                    <a:gd name="T38" fmla="*/ 23 w 23"/>
                    <a:gd name="T39" fmla="*/ 26 h 32"/>
                    <a:gd name="T40" fmla="*/ 23 w 23"/>
                    <a:gd name="T41" fmla="*/ 29 h 32"/>
                    <a:gd name="T42" fmla="*/ 21 w 23"/>
                    <a:gd name="T43" fmla="*/ 32 h 32"/>
                    <a:gd name="T44" fmla="*/ 18 w 23"/>
                    <a:gd name="T45" fmla="*/ 30 h 32"/>
                    <a:gd name="T46" fmla="*/ 17 w 23"/>
                    <a:gd name="T47" fmla="*/ 28 h 32"/>
                    <a:gd name="T48" fmla="*/ 15 w 23"/>
                    <a:gd name="T49" fmla="*/ 26 h 32"/>
                    <a:gd name="T50" fmla="*/ 15 w 23"/>
                    <a:gd name="T51" fmla="*/ 24 h 32"/>
                    <a:gd name="T52" fmla="*/ 13 w 23"/>
                    <a:gd name="T53" fmla="*/ 22 h 32"/>
                    <a:gd name="T54" fmla="*/ 7 w 23"/>
                    <a:gd name="T55" fmla="*/ 19 h 32"/>
                    <a:gd name="T56" fmla="*/ 9 w 23"/>
                    <a:gd name="T57" fmla="*/ 19 h 32"/>
                    <a:gd name="T58" fmla="*/ 7 w 23"/>
                    <a:gd name="T59" fmla="*/ 17 h 32"/>
                    <a:gd name="T60" fmla="*/ 9 w 23"/>
                    <a:gd name="T61" fmla="*/ 13 h 32"/>
                    <a:gd name="T62" fmla="*/ 7 w 23"/>
                    <a:gd name="T63" fmla="*/ 15 h 32"/>
                    <a:gd name="T64" fmla="*/ 4 w 23"/>
                    <a:gd name="T65" fmla="*/ 15 h 32"/>
                    <a:gd name="T66" fmla="*/ 5 w 23"/>
                    <a:gd name="T67" fmla="*/ 12 h 32"/>
                    <a:gd name="T68" fmla="*/ 5 w 23"/>
                    <a:gd name="T69" fmla="*/ 7 h 32"/>
                    <a:gd name="T70" fmla="*/ 4 w 23"/>
                    <a:gd name="T71" fmla="*/ 6 h 32"/>
                    <a:gd name="T72" fmla="*/ 5 w 23"/>
                    <a:gd name="T73" fmla="*/ 4 h 32"/>
                    <a:gd name="T74" fmla="*/ 5 w 23"/>
                    <a:gd name="T75" fmla="*/ 4 h 32"/>
                    <a:gd name="T76" fmla="*/ 4 w 23"/>
                    <a:gd name="T77" fmla="*/ 4 h 32"/>
                    <a:gd name="T78" fmla="*/ 4 w 23"/>
                    <a:gd name="T7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 h="32">
                      <a:moveTo>
                        <a:pt x="4" y="4"/>
                      </a:moveTo>
                      <a:lnTo>
                        <a:pt x="2" y="4"/>
                      </a:lnTo>
                      <a:lnTo>
                        <a:pt x="0" y="3"/>
                      </a:lnTo>
                      <a:lnTo>
                        <a:pt x="0" y="0"/>
                      </a:lnTo>
                      <a:lnTo>
                        <a:pt x="6" y="1"/>
                      </a:lnTo>
                      <a:lnTo>
                        <a:pt x="8" y="3"/>
                      </a:lnTo>
                      <a:lnTo>
                        <a:pt x="9" y="7"/>
                      </a:lnTo>
                      <a:lnTo>
                        <a:pt x="12" y="7"/>
                      </a:lnTo>
                      <a:lnTo>
                        <a:pt x="15" y="9"/>
                      </a:lnTo>
                      <a:lnTo>
                        <a:pt x="17" y="15"/>
                      </a:lnTo>
                      <a:lnTo>
                        <a:pt x="21" y="18"/>
                      </a:lnTo>
                      <a:lnTo>
                        <a:pt x="15" y="15"/>
                      </a:lnTo>
                      <a:lnTo>
                        <a:pt x="15" y="17"/>
                      </a:lnTo>
                      <a:lnTo>
                        <a:pt x="17" y="19"/>
                      </a:lnTo>
                      <a:lnTo>
                        <a:pt x="21" y="19"/>
                      </a:lnTo>
                      <a:lnTo>
                        <a:pt x="19" y="22"/>
                      </a:lnTo>
                      <a:lnTo>
                        <a:pt x="22" y="21"/>
                      </a:lnTo>
                      <a:lnTo>
                        <a:pt x="22" y="24"/>
                      </a:lnTo>
                      <a:lnTo>
                        <a:pt x="19" y="26"/>
                      </a:lnTo>
                      <a:lnTo>
                        <a:pt x="23" y="26"/>
                      </a:lnTo>
                      <a:lnTo>
                        <a:pt x="23" y="29"/>
                      </a:lnTo>
                      <a:lnTo>
                        <a:pt x="21" y="32"/>
                      </a:lnTo>
                      <a:lnTo>
                        <a:pt x="18" y="30"/>
                      </a:lnTo>
                      <a:lnTo>
                        <a:pt x="17" y="28"/>
                      </a:lnTo>
                      <a:lnTo>
                        <a:pt x="15" y="26"/>
                      </a:lnTo>
                      <a:lnTo>
                        <a:pt x="15" y="24"/>
                      </a:lnTo>
                      <a:lnTo>
                        <a:pt x="13" y="22"/>
                      </a:lnTo>
                      <a:lnTo>
                        <a:pt x="7" y="19"/>
                      </a:lnTo>
                      <a:lnTo>
                        <a:pt x="9" y="19"/>
                      </a:lnTo>
                      <a:lnTo>
                        <a:pt x="7" y="17"/>
                      </a:lnTo>
                      <a:lnTo>
                        <a:pt x="9" y="13"/>
                      </a:lnTo>
                      <a:lnTo>
                        <a:pt x="7" y="15"/>
                      </a:lnTo>
                      <a:lnTo>
                        <a:pt x="4" y="15"/>
                      </a:lnTo>
                      <a:lnTo>
                        <a:pt x="5" y="12"/>
                      </a:lnTo>
                      <a:lnTo>
                        <a:pt x="5" y="7"/>
                      </a:lnTo>
                      <a:lnTo>
                        <a:pt x="4" y="6"/>
                      </a:lnTo>
                      <a:lnTo>
                        <a:pt x="5" y="4"/>
                      </a:lnTo>
                      <a:lnTo>
                        <a:pt x="5" y="4"/>
                      </a:lnTo>
                      <a:lnTo>
                        <a:pt x="4" y="4"/>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62" name="Freeform 24">
                  <a:extLst>
                    <a:ext uri="{FF2B5EF4-FFF2-40B4-BE49-F238E27FC236}">
                      <a16:creationId xmlns:a16="http://schemas.microsoft.com/office/drawing/2014/main" id="{6D33A212-4851-68ED-7E14-B4E0D87849C4}"/>
                    </a:ext>
                  </a:extLst>
                </p:cNvPr>
                <p:cNvSpPr>
                  <a:spLocks/>
                </p:cNvSpPr>
                <p:nvPr/>
              </p:nvSpPr>
              <p:spPr bwMode="auto">
                <a:xfrm>
                  <a:off x="1854" y="1943"/>
                  <a:ext cx="5" cy="5"/>
                </a:xfrm>
                <a:custGeom>
                  <a:avLst/>
                  <a:gdLst>
                    <a:gd name="T0" fmla="*/ 5 w 5"/>
                    <a:gd name="T1" fmla="*/ 0 h 5"/>
                    <a:gd name="T2" fmla="*/ 5 w 5"/>
                    <a:gd name="T3" fmla="*/ 2 h 5"/>
                    <a:gd name="T4" fmla="*/ 0 w 5"/>
                    <a:gd name="T5" fmla="*/ 5 h 5"/>
                    <a:gd name="T6" fmla="*/ 0 w 5"/>
                    <a:gd name="T7" fmla="*/ 3 h 5"/>
                    <a:gd name="T8" fmla="*/ 2 w 5"/>
                    <a:gd name="T9" fmla="*/ 2 h 5"/>
                    <a:gd name="T10" fmla="*/ 5 w 5"/>
                    <a:gd name="T11" fmla="*/ 0 h 5"/>
                    <a:gd name="T12" fmla="*/ 5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0"/>
                      </a:moveTo>
                      <a:lnTo>
                        <a:pt x="5" y="2"/>
                      </a:lnTo>
                      <a:lnTo>
                        <a:pt x="0" y="5"/>
                      </a:lnTo>
                      <a:lnTo>
                        <a:pt x="0" y="3"/>
                      </a:lnTo>
                      <a:lnTo>
                        <a:pt x="2" y="2"/>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63" name="Freeform 25">
                  <a:extLst>
                    <a:ext uri="{FF2B5EF4-FFF2-40B4-BE49-F238E27FC236}">
                      <a16:creationId xmlns:a16="http://schemas.microsoft.com/office/drawing/2014/main" id="{5E8EA244-B43B-4781-02E9-5C9FA18538C6}"/>
                    </a:ext>
                  </a:extLst>
                </p:cNvPr>
                <p:cNvSpPr>
                  <a:spLocks/>
                </p:cNvSpPr>
                <p:nvPr/>
              </p:nvSpPr>
              <p:spPr bwMode="auto">
                <a:xfrm>
                  <a:off x="1864" y="1931"/>
                  <a:ext cx="5" cy="6"/>
                </a:xfrm>
                <a:custGeom>
                  <a:avLst/>
                  <a:gdLst>
                    <a:gd name="T0" fmla="*/ 0 w 5"/>
                    <a:gd name="T1" fmla="*/ 0 h 6"/>
                    <a:gd name="T2" fmla="*/ 3 w 5"/>
                    <a:gd name="T3" fmla="*/ 0 h 6"/>
                    <a:gd name="T4" fmla="*/ 5 w 5"/>
                    <a:gd name="T5" fmla="*/ 2 h 6"/>
                    <a:gd name="T6" fmla="*/ 4 w 5"/>
                    <a:gd name="T7" fmla="*/ 6 h 6"/>
                    <a:gd name="T8" fmla="*/ 0 w 5"/>
                    <a:gd name="T9" fmla="*/ 6 h 6"/>
                    <a:gd name="T10" fmla="*/ 0 w 5"/>
                    <a:gd name="T11" fmla="*/ 2 h 6"/>
                    <a:gd name="T12" fmla="*/ 0 w 5"/>
                    <a:gd name="T13" fmla="*/ 0 h 6"/>
                    <a:gd name="T14" fmla="*/ 0 w 5"/>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0" y="0"/>
                      </a:moveTo>
                      <a:lnTo>
                        <a:pt x="3" y="0"/>
                      </a:lnTo>
                      <a:lnTo>
                        <a:pt x="5" y="2"/>
                      </a:lnTo>
                      <a:lnTo>
                        <a:pt x="4" y="6"/>
                      </a:lnTo>
                      <a:lnTo>
                        <a:pt x="0" y="6"/>
                      </a:lnTo>
                      <a:lnTo>
                        <a:pt x="0"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64" name="Freeform 26">
                  <a:extLst>
                    <a:ext uri="{FF2B5EF4-FFF2-40B4-BE49-F238E27FC236}">
                      <a16:creationId xmlns:a16="http://schemas.microsoft.com/office/drawing/2014/main" id="{C163F9D1-A551-9EC1-CCB4-240B1326B876}"/>
                    </a:ext>
                  </a:extLst>
                </p:cNvPr>
                <p:cNvSpPr>
                  <a:spLocks/>
                </p:cNvSpPr>
                <p:nvPr/>
              </p:nvSpPr>
              <p:spPr bwMode="auto">
                <a:xfrm>
                  <a:off x="1878" y="2002"/>
                  <a:ext cx="3" cy="4"/>
                </a:xfrm>
                <a:custGeom>
                  <a:avLst/>
                  <a:gdLst>
                    <a:gd name="T0" fmla="*/ 0 w 3"/>
                    <a:gd name="T1" fmla="*/ 1 h 4"/>
                    <a:gd name="T2" fmla="*/ 1 w 3"/>
                    <a:gd name="T3" fmla="*/ 1 h 4"/>
                    <a:gd name="T4" fmla="*/ 1 w 3"/>
                    <a:gd name="T5" fmla="*/ 0 h 4"/>
                    <a:gd name="T6" fmla="*/ 3 w 3"/>
                    <a:gd name="T7" fmla="*/ 1 h 4"/>
                    <a:gd name="T8" fmla="*/ 3 w 3"/>
                    <a:gd name="T9" fmla="*/ 4 h 4"/>
                    <a:gd name="T10" fmla="*/ 0 w 3"/>
                    <a:gd name="T11" fmla="*/ 1 h 4"/>
                    <a:gd name="T12" fmla="*/ 0 w 3"/>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1"/>
                      </a:moveTo>
                      <a:lnTo>
                        <a:pt x="1" y="1"/>
                      </a:lnTo>
                      <a:lnTo>
                        <a:pt x="1" y="0"/>
                      </a:lnTo>
                      <a:lnTo>
                        <a:pt x="3" y="1"/>
                      </a:lnTo>
                      <a:lnTo>
                        <a:pt x="3" y="4"/>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65" name="Rectangle 27">
                  <a:extLst>
                    <a:ext uri="{FF2B5EF4-FFF2-40B4-BE49-F238E27FC236}">
                      <a16:creationId xmlns:a16="http://schemas.microsoft.com/office/drawing/2014/main" id="{EC29839A-2BAD-6422-9B38-9825DD3F30B4}"/>
                    </a:ext>
                  </a:extLst>
                </p:cNvPr>
                <p:cNvSpPr>
                  <a:spLocks noChangeArrowheads="1"/>
                </p:cNvSpPr>
                <p:nvPr/>
              </p:nvSpPr>
              <p:spPr bwMode="auto">
                <a:xfrm>
                  <a:off x="1879" y="2002"/>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66" name="Freeform 28">
                  <a:extLst>
                    <a:ext uri="{FF2B5EF4-FFF2-40B4-BE49-F238E27FC236}">
                      <a16:creationId xmlns:a16="http://schemas.microsoft.com/office/drawing/2014/main" id="{8591C3DF-FC50-341C-FC81-374D4635C8D5}"/>
                    </a:ext>
                  </a:extLst>
                </p:cNvPr>
                <p:cNvSpPr>
                  <a:spLocks/>
                </p:cNvSpPr>
                <p:nvPr/>
              </p:nvSpPr>
              <p:spPr bwMode="auto">
                <a:xfrm>
                  <a:off x="1903" y="1948"/>
                  <a:ext cx="1" cy="11"/>
                </a:xfrm>
                <a:custGeom>
                  <a:avLst/>
                  <a:gdLst>
                    <a:gd name="T0" fmla="*/ 1 w 1"/>
                    <a:gd name="T1" fmla="*/ 0 h 11"/>
                    <a:gd name="T2" fmla="*/ 1 w 1"/>
                    <a:gd name="T3" fmla="*/ 0 h 11"/>
                    <a:gd name="T4" fmla="*/ 0 w 1"/>
                    <a:gd name="T5" fmla="*/ 2 h 11"/>
                    <a:gd name="T6" fmla="*/ 1 w 1"/>
                    <a:gd name="T7" fmla="*/ 11 h 11"/>
                    <a:gd name="T8" fmla="*/ 1 w 1"/>
                    <a:gd name="T9" fmla="*/ 11 h 11"/>
                    <a:gd name="T10" fmla="*/ 1 w 1"/>
                    <a:gd name="T11" fmla="*/ 9 h 11"/>
                    <a:gd name="T12" fmla="*/ 0 w 1"/>
                    <a:gd name="T13" fmla="*/ 6 h 11"/>
                    <a:gd name="T14" fmla="*/ 0 w 1"/>
                    <a:gd name="T15" fmla="*/ 3 h 11"/>
                    <a:gd name="T16" fmla="*/ 1 w 1"/>
                    <a:gd name="T17" fmla="*/ 0 h 11"/>
                    <a:gd name="T18" fmla="*/ 1 w 1"/>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1">
                      <a:moveTo>
                        <a:pt x="1" y="0"/>
                      </a:moveTo>
                      <a:lnTo>
                        <a:pt x="1" y="0"/>
                      </a:lnTo>
                      <a:lnTo>
                        <a:pt x="0" y="2"/>
                      </a:lnTo>
                      <a:lnTo>
                        <a:pt x="1" y="11"/>
                      </a:lnTo>
                      <a:lnTo>
                        <a:pt x="1" y="11"/>
                      </a:lnTo>
                      <a:lnTo>
                        <a:pt x="1" y="9"/>
                      </a:lnTo>
                      <a:lnTo>
                        <a:pt x="0" y="6"/>
                      </a:lnTo>
                      <a:lnTo>
                        <a:pt x="0" y="3"/>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67" name="Freeform 29">
                  <a:extLst>
                    <a:ext uri="{FF2B5EF4-FFF2-40B4-BE49-F238E27FC236}">
                      <a16:creationId xmlns:a16="http://schemas.microsoft.com/office/drawing/2014/main" id="{0863F41A-DF66-829C-7E0B-C4B18E78841A}"/>
                    </a:ext>
                  </a:extLst>
                </p:cNvPr>
                <p:cNvSpPr>
                  <a:spLocks/>
                </p:cNvSpPr>
                <p:nvPr/>
              </p:nvSpPr>
              <p:spPr bwMode="auto">
                <a:xfrm>
                  <a:off x="2005" y="1489"/>
                  <a:ext cx="3" cy="0"/>
                </a:xfrm>
                <a:custGeom>
                  <a:avLst/>
                  <a:gdLst>
                    <a:gd name="T0" fmla="*/ 0 w 3"/>
                    <a:gd name="T1" fmla="*/ 0 w 3"/>
                    <a:gd name="T2" fmla="*/ 3 w 3"/>
                    <a:gd name="T3" fmla="*/ 0 w 3"/>
                    <a:gd name="T4" fmla="*/ 0 w 3"/>
                  </a:gdLst>
                  <a:ahLst/>
                  <a:cxnLst>
                    <a:cxn ang="0">
                      <a:pos x="T0" y="0"/>
                    </a:cxn>
                    <a:cxn ang="0">
                      <a:pos x="T1" y="0"/>
                    </a:cxn>
                    <a:cxn ang="0">
                      <a:pos x="T2" y="0"/>
                    </a:cxn>
                    <a:cxn ang="0">
                      <a:pos x="T3" y="0"/>
                    </a:cxn>
                    <a:cxn ang="0">
                      <a:pos x="T4" y="0"/>
                    </a:cxn>
                  </a:cxnLst>
                  <a:rect l="0" t="0" r="r" b="b"/>
                  <a:pathLst>
                    <a:path w="3">
                      <a:moveTo>
                        <a:pt x="0" y="0"/>
                      </a:moveTo>
                      <a:lnTo>
                        <a:pt x="0" y="0"/>
                      </a:lnTo>
                      <a:lnTo>
                        <a:pt x="3"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68" name="Freeform 30">
                  <a:extLst>
                    <a:ext uri="{FF2B5EF4-FFF2-40B4-BE49-F238E27FC236}">
                      <a16:creationId xmlns:a16="http://schemas.microsoft.com/office/drawing/2014/main" id="{CC6F3698-FB19-936B-BE15-CE184BD461E9}"/>
                    </a:ext>
                  </a:extLst>
                </p:cNvPr>
                <p:cNvSpPr>
                  <a:spLocks/>
                </p:cNvSpPr>
                <p:nvPr/>
              </p:nvSpPr>
              <p:spPr bwMode="auto">
                <a:xfrm>
                  <a:off x="2109" y="1427"/>
                  <a:ext cx="20" cy="10"/>
                </a:xfrm>
                <a:custGeom>
                  <a:avLst/>
                  <a:gdLst>
                    <a:gd name="T0" fmla="*/ 10 w 20"/>
                    <a:gd name="T1" fmla="*/ 0 h 10"/>
                    <a:gd name="T2" fmla="*/ 6 w 20"/>
                    <a:gd name="T3" fmla="*/ 1 h 10"/>
                    <a:gd name="T4" fmla="*/ 0 w 20"/>
                    <a:gd name="T5" fmla="*/ 3 h 10"/>
                    <a:gd name="T6" fmla="*/ 2 w 20"/>
                    <a:gd name="T7" fmla="*/ 6 h 10"/>
                    <a:gd name="T8" fmla="*/ 9 w 20"/>
                    <a:gd name="T9" fmla="*/ 10 h 10"/>
                    <a:gd name="T10" fmla="*/ 11 w 20"/>
                    <a:gd name="T11" fmla="*/ 10 h 10"/>
                    <a:gd name="T12" fmla="*/ 17 w 20"/>
                    <a:gd name="T13" fmla="*/ 9 h 10"/>
                    <a:gd name="T14" fmla="*/ 20 w 20"/>
                    <a:gd name="T15" fmla="*/ 7 h 10"/>
                    <a:gd name="T16" fmla="*/ 17 w 20"/>
                    <a:gd name="T17" fmla="*/ 5 h 10"/>
                    <a:gd name="T18" fmla="*/ 15 w 20"/>
                    <a:gd name="T19" fmla="*/ 3 h 10"/>
                    <a:gd name="T20" fmla="*/ 11 w 20"/>
                    <a:gd name="T21" fmla="*/ 2 h 10"/>
                    <a:gd name="T22" fmla="*/ 10 w 20"/>
                    <a:gd name="T23" fmla="*/ 0 h 10"/>
                    <a:gd name="T24" fmla="*/ 10 w 20"/>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0">
                      <a:moveTo>
                        <a:pt x="10" y="0"/>
                      </a:moveTo>
                      <a:lnTo>
                        <a:pt x="6" y="1"/>
                      </a:lnTo>
                      <a:lnTo>
                        <a:pt x="0" y="3"/>
                      </a:lnTo>
                      <a:lnTo>
                        <a:pt x="2" y="6"/>
                      </a:lnTo>
                      <a:lnTo>
                        <a:pt x="9" y="10"/>
                      </a:lnTo>
                      <a:lnTo>
                        <a:pt x="11" y="10"/>
                      </a:lnTo>
                      <a:lnTo>
                        <a:pt x="17" y="9"/>
                      </a:lnTo>
                      <a:lnTo>
                        <a:pt x="20" y="7"/>
                      </a:lnTo>
                      <a:lnTo>
                        <a:pt x="17" y="5"/>
                      </a:lnTo>
                      <a:lnTo>
                        <a:pt x="15" y="3"/>
                      </a:lnTo>
                      <a:lnTo>
                        <a:pt x="11" y="2"/>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69" name="Freeform 31">
                  <a:extLst>
                    <a:ext uri="{FF2B5EF4-FFF2-40B4-BE49-F238E27FC236}">
                      <a16:creationId xmlns:a16="http://schemas.microsoft.com/office/drawing/2014/main" id="{576B8CEF-5695-E234-A12E-1C32E5610B1C}"/>
                    </a:ext>
                  </a:extLst>
                </p:cNvPr>
                <p:cNvSpPr>
                  <a:spLocks/>
                </p:cNvSpPr>
                <p:nvPr/>
              </p:nvSpPr>
              <p:spPr bwMode="auto">
                <a:xfrm>
                  <a:off x="2113" y="1461"/>
                  <a:ext cx="17" cy="6"/>
                </a:xfrm>
                <a:custGeom>
                  <a:avLst/>
                  <a:gdLst>
                    <a:gd name="T0" fmla="*/ 10 w 17"/>
                    <a:gd name="T1" fmla="*/ 6 h 6"/>
                    <a:gd name="T2" fmla="*/ 16 w 17"/>
                    <a:gd name="T3" fmla="*/ 4 h 6"/>
                    <a:gd name="T4" fmla="*/ 17 w 17"/>
                    <a:gd name="T5" fmla="*/ 2 h 6"/>
                    <a:gd name="T6" fmla="*/ 15 w 17"/>
                    <a:gd name="T7" fmla="*/ 1 h 6"/>
                    <a:gd name="T8" fmla="*/ 12 w 17"/>
                    <a:gd name="T9" fmla="*/ 0 h 6"/>
                    <a:gd name="T10" fmla="*/ 10 w 17"/>
                    <a:gd name="T11" fmla="*/ 0 h 6"/>
                    <a:gd name="T12" fmla="*/ 4 w 17"/>
                    <a:gd name="T13" fmla="*/ 1 h 6"/>
                    <a:gd name="T14" fmla="*/ 0 w 17"/>
                    <a:gd name="T15" fmla="*/ 2 h 6"/>
                    <a:gd name="T16" fmla="*/ 2 w 17"/>
                    <a:gd name="T17" fmla="*/ 4 h 6"/>
                    <a:gd name="T18" fmla="*/ 10 w 17"/>
                    <a:gd name="T19" fmla="*/ 6 h 6"/>
                    <a:gd name="T20" fmla="*/ 10 w 17"/>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6">
                      <a:moveTo>
                        <a:pt x="10" y="6"/>
                      </a:moveTo>
                      <a:lnTo>
                        <a:pt x="16" y="4"/>
                      </a:lnTo>
                      <a:lnTo>
                        <a:pt x="17" y="2"/>
                      </a:lnTo>
                      <a:lnTo>
                        <a:pt x="15" y="1"/>
                      </a:lnTo>
                      <a:lnTo>
                        <a:pt x="12" y="0"/>
                      </a:lnTo>
                      <a:lnTo>
                        <a:pt x="10" y="0"/>
                      </a:lnTo>
                      <a:lnTo>
                        <a:pt x="4" y="1"/>
                      </a:lnTo>
                      <a:lnTo>
                        <a:pt x="0" y="2"/>
                      </a:lnTo>
                      <a:lnTo>
                        <a:pt x="2" y="4"/>
                      </a:lnTo>
                      <a:lnTo>
                        <a:pt x="10" y="6"/>
                      </a:lnTo>
                      <a:lnTo>
                        <a:pt x="1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70" name="Freeform 32">
                  <a:extLst>
                    <a:ext uri="{FF2B5EF4-FFF2-40B4-BE49-F238E27FC236}">
                      <a16:creationId xmlns:a16="http://schemas.microsoft.com/office/drawing/2014/main" id="{E04E457B-EFFD-D664-95F2-0783A9CECA44}"/>
                    </a:ext>
                  </a:extLst>
                </p:cNvPr>
                <p:cNvSpPr>
                  <a:spLocks/>
                </p:cNvSpPr>
                <p:nvPr/>
              </p:nvSpPr>
              <p:spPr bwMode="auto">
                <a:xfrm>
                  <a:off x="2252" y="1468"/>
                  <a:ext cx="20" cy="10"/>
                </a:xfrm>
                <a:custGeom>
                  <a:avLst/>
                  <a:gdLst>
                    <a:gd name="T0" fmla="*/ 6 w 20"/>
                    <a:gd name="T1" fmla="*/ 0 h 10"/>
                    <a:gd name="T2" fmla="*/ 3 w 20"/>
                    <a:gd name="T3" fmla="*/ 0 h 10"/>
                    <a:gd name="T4" fmla="*/ 0 w 20"/>
                    <a:gd name="T5" fmla="*/ 2 h 10"/>
                    <a:gd name="T6" fmla="*/ 1 w 20"/>
                    <a:gd name="T7" fmla="*/ 4 h 10"/>
                    <a:gd name="T8" fmla="*/ 3 w 20"/>
                    <a:gd name="T9" fmla="*/ 7 h 10"/>
                    <a:gd name="T10" fmla="*/ 3 w 20"/>
                    <a:gd name="T11" fmla="*/ 10 h 10"/>
                    <a:gd name="T12" fmla="*/ 9 w 20"/>
                    <a:gd name="T13" fmla="*/ 10 h 10"/>
                    <a:gd name="T14" fmla="*/ 12 w 20"/>
                    <a:gd name="T15" fmla="*/ 10 h 10"/>
                    <a:gd name="T16" fmla="*/ 18 w 20"/>
                    <a:gd name="T17" fmla="*/ 9 h 10"/>
                    <a:gd name="T18" fmla="*/ 20 w 20"/>
                    <a:gd name="T19" fmla="*/ 8 h 10"/>
                    <a:gd name="T20" fmla="*/ 20 w 20"/>
                    <a:gd name="T21" fmla="*/ 5 h 10"/>
                    <a:gd name="T22" fmla="*/ 14 w 20"/>
                    <a:gd name="T23" fmla="*/ 4 h 10"/>
                    <a:gd name="T24" fmla="*/ 12 w 20"/>
                    <a:gd name="T25" fmla="*/ 2 h 10"/>
                    <a:gd name="T26" fmla="*/ 9 w 20"/>
                    <a:gd name="T27" fmla="*/ 0 h 10"/>
                    <a:gd name="T28" fmla="*/ 6 w 20"/>
                    <a:gd name="T29" fmla="*/ 0 h 10"/>
                    <a:gd name="T30" fmla="*/ 6 w 20"/>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0">
                      <a:moveTo>
                        <a:pt x="6" y="0"/>
                      </a:moveTo>
                      <a:lnTo>
                        <a:pt x="3" y="0"/>
                      </a:lnTo>
                      <a:lnTo>
                        <a:pt x="0" y="2"/>
                      </a:lnTo>
                      <a:lnTo>
                        <a:pt x="1" y="4"/>
                      </a:lnTo>
                      <a:lnTo>
                        <a:pt x="3" y="7"/>
                      </a:lnTo>
                      <a:lnTo>
                        <a:pt x="3" y="10"/>
                      </a:lnTo>
                      <a:lnTo>
                        <a:pt x="9" y="10"/>
                      </a:lnTo>
                      <a:lnTo>
                        <a:pt x="12" y="10"/>
                      </a:lnTo>
                      <a:lnTo>
                        <a:pt x="18" y="9"/>
                      </a:lnTo>
                      <a:lnTo>
                        <a:pt x="20" y="8"/>
                      </a:lnTo>
                      <a:lnTo>
                        <a:pt x="20" y="5"/>
                      </a:lnTo>
                      <a:lnTo>
                        <a:pt x="14" y="4"/>
                      </a:lnTo>
                      <a:lnTo>
                        <a:pt x="12" y="2"/>
                      </a:lnTo>
                      <a:lnTo>
                        <a:pt x="9" y="0"/>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71" name="Freeform 33">
                  <a:extLst>
                    <a:ext uri="{FF2B5EF4-FFF2-40B4-BE49-F238E27FC236}">
                      <a16:creationId xmlns:a16="http://schemas.microsoft.com/office/drawing/2014/main" id="{69289C2D-9541-0A31-CFC7-F8E3FA1CDE99}"/>
                    </a:ext>
                  </a:extLst>
                </p:cNvPr>
                <p:cNvSpPr>
                  <a:spLocks/>
                </p:cNvSpPr>
                <p:nvPr/>
              </p:nvSpPr>
              <p:spPr bwMode="auto">
                <a:xfrm>
                  <a:off x="2255" y="1478"/>
                  <a:ext cx="25" cy="8"/>
                </a:xfrm>
                <a:custGeom>
                  <a:avLst/>
                  <a:gdLst>
                    <a:gd name="T0" fmla="*/ 24 w 25"/>
                    <a:gd name="T1" fmla="*/ 0 h 8"/>
                    <a:gd name="T2" fmla="*/ 22 w 25"/>
                    <a:gd name="T3" fmla="*/ 0 h 8"/>
                    <a:gd name="T4" fmla="*/ 18 w 25"/>
                    <a:gd name="T5" fmla="*/ 0 h 8"/>
                    <a:gd name="T6" fmla="*/ 2 w 25"/>
                    <a:gd name="T7" fmla="*/ 2 h 8"/>
                    <a:gd name="T8" fmla="*/ 0 w 25"/>
                    <a:gd name="T9" fmla="*/ 3 h 8"/>
                    <a:gd name="T10" fmla="*/ 0 w 25"/>
                    <a:gd name="T11" fmla="*/ 7 h 8"/>
                    <a:gd name="T12" fmla="*/ 8 w 25"/>
                    <a:gd name="T13" fmla="*/ 8 h 8"/>
                    <a:gd name="T14" fmla="*/ 15 w 25"/>
                    <a:gd name="T15" fmla="*/ 8 h 8"/>
                    <a:gd name="T16" fmla="*/ 19 w 25"/>
                    <a:gd name="T17" fmla="*/ 7 h 8"/>
                    <a:gd name="T18" fmla="*/ 23 w 25"/>
                    <a:gd name="T19" fmla="*/ 6 h 8"/>
                    <a:gd name="T20" fmla="*/ 25 w 25"/>
                    <a:gd name="T21" fmla="*/ 3 h 8"/>
                    <a:gd name="T22" fmla="*/ 24 w 25"/>
                    <a:gd name="T23" fmla="*/ 0 h 8"/>
                    <a:gd name="T24" fmla="*/ 24 w 25"/>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8">
                      <a:moveTo>
                        <a:pt x="24" y="0"/>
                      </a:moveTo>
                      <a:lnTo>
                        <a:pt x="22" y="0"/>
                      </a:lnTo>
                      <a:lnTo>
                        <a:pt x="18" y="0"/>
                      </a:lnTo>
                      <a:lnTo>
                        <a:pt x="2" y="2"/>
                      </a:lnTo>
                      <a:lnTo>
                        <a:pt x="0" y="3"/>
                      </a:lnTo>
                      <a:lnTo>
                        <a:pt x="0" y="7"/>
                      </a:lnTo>
                      <a:lnTo>
                        <a:pt x="8" y="8"/>
                      </a:lnTo>
                      <a:lnTo>
                        <a:pt x="15" y="8"/>
                      </a:lnTo>
                      <a:lnTo>
                        <a:pt x="19" y="7"/>
                      </a:lnTo>
                      <a:lnTo>
                        <a:pt x="23" y="6"/>
                      </a:lnTo>
                      <a:lnTo>
                        <a:pt x="25" y="3"/>
                      </a:lnTo>
                      <a:lnTo>
                        <a:pt x="24" y="0"/>
                      </a:ln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72" name="Freeform 34">
                  <a:extLst>
                    <a:ext uri="{FF2B5EF4-FFF2-40B4-BE49-F238E27FC236}">
                      <a16:creationId xmlns:a16="http://schemas.microsoft.com/office/drawing/2014/main" id="{9AD6301B-CC2D-689E-D4A9-533BE13E897C}"/>
                    </a:ext>
                  </a:extLst>
                </p:cNvPr>
                <p:cNvSpPr>
                  <a:spLocks/>
                </p:cNvSpPr>
                <p:nvPr/>
              </p:nvSpPr>
              <p:spPr bwMode="auto">
                <a:xfrm>
                  <a:off x="2263" y="1485"/>
                  <a:ext cx="20" cy="4"/>
                </a:xfrm>
                <a:custGeom>
                  <a:avLst/>
                  <a:gdLst>
                    <a:gd name="T0" fmla="*/ 20 w 20"/>
                    <a:gd name="T1" fmla="*/ 0 h 4"/>
                    <a:gd name="T2" fmla="*/ 15 w 20"/>
                    <a:gd name="T3" fmla="*/ 0 h 4"/>
                    <a:gd name="T4" fmla="*/ 7 w 20"/>
                    <a:gd name="T5" fmla="*/ 1 h 4"/>
                    <a:gd name="T6" fmla="*/ 3 w 20"/>
                    <a:gd name="T7" fmla="*/ 2 h 4"/>
                    <a:gd name="T8" fmla="*/ 0 w 20"/>
                    <a:gd name="T9" fmla="*/ 4 h 4"/>
                    <a:gd name="T10" fmla="*/ 6 w 20"/>
                    <a:gd name="T11" fmla="*/ 4 h 4"/>
                    <a:gd name="T12" fmla="*/ 15 w 20"/>
                    <a:gd name="T13" fmla="*/ 3 h 4"/>
                    <a:gd name="T14" fmla="*/ 17 w 20"/>
                    <a:gd name="T15" fmla="*/ 2 h 4"/>
                    <a:gd name="T16" fmla="*/ 20 w 20"/>
                    <a:gd name="T17" fmla="*/ 0 h 4"/>
                    <a:gd name="T18" fmla="*/ 20 w 20"/>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4">
                      <a:moveTo>
                        <a:pt x="20" y="0"/>
                      </a:moveTo>
                      <a:lnTo>
                        <a:pt x="15" y="0"/>
                      </a:lnTo>
                      <a:lnTo>
                        <a:pt x="7" y="1"/>
                      </a:lnTo>
                      <a:lnTo>
                        <a:pt x="3" y="2"/>
                      </a:lnTo>
                      <a:lnTo>
                        <a:pt x="0" y="4"/>
                      </a:lnTo>
                      <a:lnTo>
                        <a:pt x="6" y="4"/>
                      </a:lnTo>
                      <a:lnTo>
                        <a:pt x="15" y="3"/>
                      </a:lnTo>
                      <a:lnTo>
                        <a:pt x="17" y="2"/>
                      </a:lnTo>
                      <a:lnTo>
                        <a:pt x="20" y="0"/>
                      </a:ln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73" name="Freeform 35">
                  <a:extLst>
                    <a:ext uri="{FF2B5EF4-FFF2-40B4-BE49-F238E27FC236}">
                      <a16:creationId xmlns:a16="http://schemas.microsoft.com/office/drawing/2014/main" id="{F36779D8-54FF-4B93-535D-C42A661D5390}"/>
                    </a:ext>
                  </a:extLst>
                </p:cNvPr>
                <p:cNvSpPr>
                  <a:spLocks/>
                </p:cNvSpPr>
                <p:nvPr/>
              </p:nvSpPr>
              <p:spPr bwMode="auto">
                <a:xfrm>
                  <a:off x="2303" y="1497"/>
                  <a:ext cx="9" cy="2"/>
                </a:xfrm>
                <a:custGeom>
                  <a:avLst/>
                  <a:gdLst>
                    <a:gd name="T0" fmla="*/ 5 w 9"/>
                    <a:gd name="T1" fmla="*/ 2 h 2"/>
                    <a:gd name="T2" fmla="*/ 9 w 9"/>
                    <a:gd name="T3" fmla="*/ 0 h 2"/>
                    <a:gd name="T4" fmla="*/ 3 w 9"/>
                    <a:gd name="T5" fmla="*/ 1 h 2"/>
                    <a:gd name="T6" fmla="*/ 0 w 9"/>
                    <a:gd name="T7" fmla="*/ 2 h 2"/>
                    <a:gd name="T8" fmla="*/ 3 w 9"/>
                    <a:gd name="T9" fmla="*/ 1 h 2"/>
                    <a:gd name="T10" fmla="*/ 5 w 9"/>
                    <a:gd name="T11" fmla="*/ 2 h 2"/>
                    <a:gd name="T12" fmla="*/ 5 w 9"/>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5" y="2"/>
                      </a:moveTo>
                      <a:lnTo>
                        <a:pt x="9" y="0"/>
                      </a:lnTo>
                      <a:lnTo>
                        <a:pt x="3" y="1"/>
                      </a:lnTo>
                      <a:lnTo>
                        <a:pt x="0" y="2"/>
                      </a:lnTo>
                      <a:lnTo>
                        <a:pt x="3" y="1"/>
                      </a:lnTo>
                      <a:lnTo>
                        <a:pt x="5"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74" name="Freeform 36">
                  <a:extLst>
                    <a:ext uri="{FF2B5EF4-FFF2-40B4-BE49-F238E27FC236}">
                      <a16:creationId xmlns:a16="http://schemas.microsoft.com/office/drawing/2014/main" id="{20EF541D-E21C-231B-D56B-5BA76E449265}"/>
                    </a:ext>
                  </a:extLst>
                </p:cNvPr>
                <p:cNvSpPr>
                  <a:spLocks/>
                </p:cNvSpPr>
                <p:nvPr/>
              </p:nvSpPr>
              <p:spPr bwMode="auto">
                <a:xfrm>
                  <a:off x="2374" y="1537"/>
                  <a:ext cx="74" cy="56"/>
                </a:xfrm>
                <a:custGeom>
                  <a:avLst/>
                  <a:gdLst>
                    <a:gd name="T0" fmla="*/ 41 w 74"/>
                    <a:gd name="T1" fmla="*/ 2 h 56"/>
                    <a:gd name="T2" fmla="*/ 39 w 74"/>
                    <a:gd name="T3" fmla="*/ 1 h 56"/>
                    <a:gd name="T4" fmla="*/ 33 w 74"/>
                    <a:gd name="T5" fmla="*/ 0 h 56"/>
                    <a:gd name="T6" fmla="*/ 29 w 74"/>
                    <a:gd name="T7" fmla="*/ 0 h 56"/>
                    <a:gd name="T8" fmla="*/ 26 w 74"/>
                    <a:gd name="T9" fmla="*/ 1 h 56"/>
                    <a:gd name="T10" fmla="*/ 22 w 74"/>
                    <a:gd name="T11" fmla="*/ 1 h 56"/>
                    <a:gd name="T12" fmla="*/ 12 w 74"/>
                    <a:gd name="T13" fmla="*/ 2 h 56"/>
                    <a:gd name="T14" fmla="*/ 10 w 74"/>
                    <a:gd name="T15" fmla="*/ 3 h 56"/>
                    <a:gd name="T16" fmla="*/ 7 w 74"/>
                    <a:gd name="T17" fmla="*/ 4 h 56"/>
                    <a:gd name="T18" fmla="*/ 6 w 74"/>
                    <a:gd name="T19" fmla="*/ 7 h 56"/>
                    <a:gd name="T20" fmla="*/ 10 w 74"/>
                    <a:gd name="T21" fmla="*/ 12 h 56"/>
                    <a:gd name="T22" fmla="*/ 14 w 74"/>
                    <a:gd name="T23" fmla="*/ 13 h 56"/>
                    <a:gd name="T24" fmla="*/ 10 w 74"/>
                    <a:gd name="T25" fmla="*/ 13 h 56"/>
                    <a:gd name="T26" fmla="*/ 5 w 74"/>
                    <a:gd name="T27" fmla="*/ 11 h 56"/>
                    <a:gd name="T28" fmla="*/ 2 w 74"/>
                    <a:gd name="T29" fmla="*/ 11 h 56"/>
                    <a:gd name="T30" fmla="*/ 0 w 74"/>
                    <a:gd name="T31" fmla="*/ 13 h 56"/>
                    <a:gd name="T32" fmla="*/ 1 w 74"/>
                    <a:gd name="T33" fmla="*/ 17 h 56"/>
                    <a:gd name="T34" fmla="*/ 0 w 74"/>
                    <a:gd name="T35" fmla="*/ 19 h 56"/>
                    <a:gd name="T36" fmla="*/ 1 w 74"/>
                    <a:gd name="T37" fmla="*/ 25 h 56"/>
                    <a:gd name="T38" fmla="*/ 0 w 74"/>
                    <a:gd name="T39" fmla="*/ 30 h 56"/>
                    <a:gd name="T40" fmla="*/ 0 w 74"/>
                    <a:gd name="T41" fmla="*/ 36 h 56"/>
                    <a:gd name="T42" fmla="*/ 1 w 74"/>
                    <a:gd name="T43" fmla="*/ 38 h 56"/>
                    <a:gd name="T44" fmla="*/ 5 w 74"/>
                    <a:gd name="T45" fmla="*/ 39 h 56"/>
                    <a:gd name="T46" fmla="*/ 6 w 74"/>
                    <a:gd name="T47" fmla="*/ 43 h 56"/>
                    <a:gd name="T48" fmla="*/ 8 w 74"/>
                    <a:gd name="T49" fmla="*/ 45 h 56"/>
                    <a:gd name="T50" fmla="*/ 7 w 74"/>
                    <a:gd name="T51" fmla="*/ 51 h 56"/>
                    <a:gd name="T52" fmla="*/ 10 w 74"/>
                    <a:gd name="T53" fmla="*/ 53 h 56"/>
                    <a:gd name="T54" fmla="*/ 12 w 74"/>
                    <a:gd name="T55" fmla="*/ 53 h 56"/>
                    <a:gd name="T56" fmla="*/ 7 w 74"/>
                    <a:gd name="T57" fmla="*/ 54 h 56"/>
                    <a:gd name="T58" fmla="*/ 7 w 74"/>
                    <a:gd name="T59" fmla="*/ 56 h 56"/>
                    <a:gd name="T60" fmla="*/ 10 w 74"/>
                    <a:gd name="T61" fmla="*/ 56 h 56"/>
                    <a:gd name="T62" fmla="*/ 18 w 74"/>
                    <a:gd name="T63" fmla="*/ 56 h 56"/>
                    <a:gd name="T64" fmla="*/ 20 w 74"/>
                    <a:gd name="T65" fmla="*/ 56 h 56"/>
                    <a:gd name="T66" fmla="*/ 26 w 74"/>
                    <a:gd name="T67" fmla="*/ 49 h 56"/>
                    <a:gd name="T68" fmla="*/ 29 w 74"/>
                    <a:gd name="T69" fmla="*/ 46 h 56"/>
                    <a:gd name="T70" fmla="*/ 31 w 74"/>
                    <a:gd name="T71" fmla="*/ 44 h 56"/>
                    <a:gd name="T72" fmla="*/ 26 w 74"/>
                    <a:gd name="T73" fmla="*/ 38 h 56"/>
                    <a:gd name="T74" fmla="*/ 20 w 74"/>
                    <a:gd name="T75" fmla="*/ 38 h 56"/>
                    <a:gd name="T76" fmla="*/ 24 w 74"/>
                    <a:gd name="T77" fmla="*/ 37 h 56"/>
                    <a:gd name="T78" fmla="*/ 32 w 74"/>
                    <a:gd name="T79" fmla="*/ 36 h 56"/>
                    <a:gd name="T80" fmla="*/ 45 w 74"/>
                    <a:gd name="T81" fmla="*/ 38 h 56"/>
                    <a:gd name="T82" fmla="*/ 49 w 74"/>
                    <a:gd name="T83" fmla="*/ 38 h 56"/>
                    <a:gd name="T84" fmla="*/ 51 w 74"/>
                    <a:gd name="T85" fmla="*/ 36 h 56"/>
                    <a:gd name="T86" fmla="*/ 54 w 74"/>
                    <a:gd name="T87" fmla="*/ 33 h 56"/>
                    <a:gd name="T88" fmla="*/ 58 w 74"/>
                    <a:gd name="T89" fmla="*/ 27 h 56"/>
                    <a:gd name="T90" fmla="*/ 57 w 74"/>
                    <a:gd name="T91" fmla="*/ 25 h 56"/>
                    <a:gd name="T92" fmla="*/ 60 w 74"/>
                    <a:gd name="T93" fmla="*/ 25 h 56"/>
                    <a:gd name="T94" fmla="*/ 62 w 74"/>
                    <a:gd name="T95" fmla="*/ 21 h 56"/>
                    <a:gd name="T96" fmla="*/ 70 w 74"/>
                    <a:gd name="T97" fmla="*/ 13 h 56"/>
                    <a:gd name="T98" fmla="*/ 73 w 74"/>
                    <a:gd name="T99" fmla="*/ 11 h 56"/>
                    <a:gd name="T100" fmla="*/ 74 w 74"/>
                    <a:gd name="T101" fmla="*/ 8 h 56"/>
                    <a:gd name="T102" fmla="*/ 70 w 74"/>
                    <a:gd name="T103" fmla="*/ 5 h 56"/>
                    <a:gd name="T104" fmla="*/ 68 w 74"/>
                    <a:gd name="T105" fmla="*/ 5 h 56"/>
                    <a:gd name="T106" fmla="*/ 57 w 74"/>
                    <a:gd name="T107" fmla="*/ 3 h 56"/>
                    <a:gd name="T108" fmla="*/ 51 w 74"/>
                    <a:gd name="T109" fmla="*/ 4 h 56"/>
                    <a:gd name="T110" fmla="*/ 49 w 74"/>
                    <a:gd name="T111" fmla="*/ 5 h 56"/>
                    <a:gd name="T112" fmla="*/ 45 w 74"/>
                    <a:gd name="T113" fmla="*/ 3 h 56"/>
                    <a:gd name="T114" fmla="*/ 43 w 74"/>
                    <a:gd name="T115" fmla="*/ 2 h 56"/>
                    <a:gd name="T116" fmla="*/ 41 w 74"/>
                    <a:gd name="T117" fmla="*/ 2 h 56"/>
                    <a:gd name="T118" fmla="*/ 41 w 74"/>
                    <a:gd name="T119"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56">
                      <a:moveTo>
                        <a:pt x="41" y="2"/>
                      </a:moveTo>
                      <a:lnTo>
                        <a:pt x="39" y="1"/>
                      </a:lnTo>
                      <a:lnTo>
                        <a:pt x="33" y="0"/>
                      </a:lnTo>
                      <a:lnTo>
                        <a:pt x="29" y="0"/>
                      </a:lnTo>
                      <a:lnTo>
                        <a:pt x="26" y="1"/>
                      </a:lnTo>
                      <a:lnTo>
                        <a:pt x="22" y="1"/>
                      </a:lnTo>
                      <a:lnTo>
                        <a:pt x="12" y="2"/>
                      </a:lnTo>
                      <a:lnTo>
                        <a:pt x="10" y="3"/>
                      </a:lnTo>
                      <a:lnTo>
                        <a:pt x="7" y="4"/>
                      </a:lnTo>
                      <a:lnTo>
                        <a:pt x="6" y="7"/>
                      </a:lnTo>
                      <a:lnTo>
                        <a:pt x="10" y="12"/>
                      </a:lnTo>
                      <a:lnTo>
                        <a:pt x="14" y="13"/>
                      </a:lnTo>
                      <a:lnTo>
                        <a:pt x="10" y="13"/>
                      </a:lnTo>
                      <a:lnTo>
                        <a:pt x="5" y="11"/>
                      </a:lnTo>
                      <a:lnTo>
                        <a:pt x="2" y="11"/>
                      </a:lnTo>
                      <a:lnTo>
                        <a:pt x="0" y="13"/>
                      </a:lnTo>
                      <a:lnTo>
                        <a:pt x="1" y="17"/>
                      </a:lnTo>
                      <a:lnTo>
                        <a:pt x="0" y="19"/>
                      </a:lnTo>
                      <a:lnTo>
                        <a:pt x="1" y="25"/>
                      </a:lnTo>
                      <a:lnTo>
                        <a:pt x="0" y="30"/>
                      </a:lnTo>
                      <a:lnTo>
                        <a:pt x="0" y="36"/>
                      </a:lnTo>
                      <a:lnTo>
                        <a:pt x="1" y="38"/>
                      </a:lnTo>
                      <a:lnTo>
                        <a:pt x="5" y="39"/>
                      </a:lnTo>
                      <a:lnTo>
                        <a:pt x="6" y="43"/>
                      </a:lnTo>
                      <a:lnTo>
                        <a:pt x="8" y="45"/>
                      </a:lnTo>
                      <a:lnTo>
                        <a:pt x="7" y="51"/>
                      </a:lnTo>
                      <a:lnTo>
                        <a:pt x="10" y="53"/>
                      </a:lnTo>
                      <a:lnTo>
                        <a:pt x="12" y="53"/>
                      </a:lnTo>
                      <a:lnTo>
                        <a:pt x="7" y="54"/>
                      </a:lnTo>
                      <a:lnTo>
                        <a:pt x="7" y="56"/>
                      </a:lnTo>
                      <a:lnTo>
                        <a:pt x="10" y="56"/>
                      </a:lnTo>
                      <a:lnTo>
                        <a:pt x="18" y="56"/>
                      </a:lnTo>
                      <a:lnTo>
                        <a:pt x="20" y="56"/>
                      </a:lnTo>
                      <a:lnTo>
                        <a:pt x="26" y="49"/>
                      </a:lnTo>
                      <a:lnTo>
                        <a:pt x="29" y="46"/>
                      </a:lnTo>
                      <a:lnTo>
                        <a:pt x="31" y="44"/>
                      </a:lnTo>
                      <a:lnTo>
                        <a:pt x="26" y="38"/>
                      </a:lnTo>
                      <a:lnTo>
                        <a:pt x="20" y="38"/>
                      </a:lnTo>
                      <a:lnTo>
                        <a:pt x="24" y="37"/>
                      </a:lnTo>
                      <a:lnTo>
                        <a:pt x="32" y="36"/>
                      </a:lnTo>
                      <a:lnTo>
                        <a:pt x="45" y="38"/>
                      </a:lnTo>
                      <a:lnTo>
                        <a:pt x="49" y="38"/>
                      </a:lnTo>
                      <a:lnTo>
                        <a:pt x="51" y="36"/>
                      </a:lnTo>
                      <a:lnTo>
                        <a:pt x="54" y="33"/>
                      </a:lnTo>
                      <a:lnTo>
                        <a:pt x="58" y="27"/>
                      </a:lnTo>
                      <a:lnTo>
                        <a:pt x="57" y="25"/>
                      </a:lnTo>
                      <a:lnTo>
                        <a:pt x="60" y="25"/>
                      </a:lnTo>
                      <a:lnTo>
                        <a:pt x="62" y="21"/>
                      </a:lnTo>
                      <a:lnTo>
                        <a:pt x="70" y="13"/>
                      </a:lnTo>
                      <a:lnTo>
                        <a:pt x="73" y="11"/>
                      </a:lnTo>
                      <a:lnTo>
                        <a:pt x="74" y="8"/>
                      </a:lnTo>
                      <a:lnTo>
                        <a:pt x="70" y="5"/>
                      </a:lnTo>
                      <a:lnTo>
                        <a:pt x="68" y="5"/>
                      </a:lnTo>
                      <a:lnTo>
                        <a:pt x="57" y="3"/>
                      </a:lnTo>
                      <a:lnTo>
                        <a:pt x="51" y="4"/>
                      </a:lnTo>
                      <a:lnTo>
                        <a:pt x="49" y="5"/>
                      </a:lnTo>
                      <a:lnTo>
                        <a:pt x="45" y="3"/>
                      </a:lnTo>
                      <a:lnTo>
                        <a:pt x="43" y="2"/>
                      </a:lnTo>
                      <a:lnTo>
                        <a:pt x="41" y="2"/>
                      </a:lnTo>
                      <a:lnTo>
                        <a:pt x="41"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75" name="Freeform 37">
                  <a:extLst>
                    <a:ext uri="{FF2B5EF4-FFF2-40B4-BE49-F238E27FC236}">
                      <a16:creationId xmlns:a16="http://schemas.microsoft.com/office/drawing/2014/main" id="{0FEBB69A-92DC-05B8-6300-AF4D484D6702}"/>
                    </a:ext>
                  </a:extLst>
                </p:cNvPr>
                <p:cNvSpPr>
                  <a:spLocks/>
                </p:cNvSpPr>
                <p:nvPr/>
              </p:nvSpPr>
              <p:spPr bwMode="auto">
                <a:xfrm>
                  <a:off x="2436" y="1439"/>
                  <a:ext cx="21" cy="13"/>
                </a:xfrm>
                <a:custGeom>
                  <a:avLst/>
                  <a:gdLst>
                    <a:gd name="T0" fmla="*/ 16 w 21"/>
                    <a:gd name="T1" fmla="*/ 3 h 13"/>
                    <a:gd name="T2" fmla="*/ 11 w 21"/>
                    <a:gd name="T3" fmla="*/ 0 h 13"/>
                    <a:gd name="T4" fmla="*/ 7 w 21"/>
                    <a:gd name="T5" fmla="*/ 0 h 13"/>
                    <a:gd name="T6" fmla="*/ 5 w 21"/>
                    <a:gd name="T7" fmla="*/ 0 h 13"/>
                    <a:gd name="T8" fmla="*/ 3 w 21"/>
                    <a:gd name="T9" fmla="*/ 0 h 13"/>
                    <a:gd name="T10" fmla="*/ 0 w 21"/>
                    <a:gd name="T11" fmla="*/ 4 h 13"/>
                    <a:gd name="T12" fmla="*/ 0 w 21"/>
                    <a:gd name="T13" fmla="*/ 6 h 13"/>
                    <a:gd name="T14" fmla="*/ 1 w 21"/>
                    <a:gd name="T15" fmla="*/ 10 h 13"/>
                    <a:gd name="T16" fmla="*/ 5 w 21"/>
                    <a:gd name="T17" fmla="*/ 11 h 13"/>
                    <a:gd name="T18" fmla="*/ 13 w 21"/>
                    <a:gd name="T19" fmla="*/ 13 h 13"/>
                    <a:gd name="T20" fmla="*/ 16 w 21"/>
                    <a:gd name="T21" fmla="*/ 13 h 13"/>
                    <a:gd name="T22" fmla="*/ 18 w 21"/>
                    <a:gd name="T23" fmla="*/ 12 h 13"/>
                    <a:gd name="T24" fmla="*/ 21 w 21"/>
                    <a:gd name="T25" fmla="*/ 8 h 13"/>
                    <a:gd name="T26" fmla="*/ 21 w 21"/>
                    <a:gd name="T27" fmla="*/ 6 h 13"/>
                    <a:gd name="T28" fmla="*/ 16 w 21"/>
                    <a:gd name="T29" fmla="*/ 3 h 13"/>
                    <a:gd name="T30" fmla="*/ 16 w 21"/>
                    <a:gd name="T3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3">
                      <a:moveTo>
                        <a:pt x="16" y="3"/>
                      </a:moveTo>
                      <a:lnTo>
                        <a:pt x="11" y="0"/>
                      </a:lnTo>
                      <a:lnTo>
                        <a:pt x="7" y="0"/>
                      </a:lnTo>
                      <a:lnTo>
                        <a:pt x="5" y="0"/>
                      </a:lnTo>
                      <a:lnTo>
                        <a:pt x="3" y="0"/>
                      </a:lnTo>
                      <a:lnTo>
                        <a:pt x="0" y="4"/>
                      </a:lnTo>
                      <a:lnTo>
                        <a:pt x="0" y="6"/>
                      </a:lnTo>
                      <a:lnTo>
                        <a:pt x="1" y="10"/>
                      </a:lnTo>
                      <a:lnTo>
                        <a:pt x="5" y="11"/>
                      </a:lnTo>
                      <a:lnTo>
                        <a:pt x="13" y="13"/>
                      </a:lnTo>
                      <a:lnTo>
                        <a:pt x="16" y="13"/>
                      </a:lnTo>
                      <a:lnTo>
                        <a:pt x="18" y="12"/>
                      </a:lnTo>
                      <a:lnTo>
                        <a:pt x="21" y="8"/>
                      </a:lnTo>
                      <a:lnTo>
                        <a:pt x="21" y="6"/>
                      </a:lnTo>
                      <a:lnTo>
                        <a:pt x="16" y="3"/>
                      </a:lnTo>
                      <a:lnTo>
                        <a:pt x="1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76" name="Freeform 38">
                  <a:extLst>
                    <a:ext uri="{FF2B5EF4-FFF2-40B4-BE49-F238E27FC236}">
                      <a16:creationId xmlns:a16="http://schemas.microsoft.com/office/drawing/2014/main" id="{18C61173-D451-D645-CEFE-9C5BC8C34A8F}"/>
                    </a:ext>
                  </a:extLst>
                </p:cNvPr>
                <p:cNvSpPr>
                  <a:spLocks/>
                </p:cNvSpPr>
                <p:nvPr/>
              </p:nvSpPr>
              <p:spPr bwMode="auto">
                <a:xfrm>
                  <a:off x="2444" y="1463"/>
                  <a:ext cx="13" cy="10"/>
                </a:xfrm>
                <a:custGeom>
                  <a:avLst/>
                  <a:gdLst>
                    <a:gd name="T0" fmla="*/ 8 w 13"/>
                    <a:gd name="T1" fmla="*/ 10 h 10"/>
                    <a:gd name="T2" fmla="*/ 9 w 13"/>
                    <a:gd name="T3" fmla="*/ 9 h 10"/>
                    <a:gd name="T4" fmla="*/ 13 w 13"/>
                    <a:gd name="T5" fmla="*/ 9 h 10"/>
                    <a:gd name="T6" fmla="*/ 10 w 13"/>
                    <a:gd name="T7" fmla="*/ 7 h 10"/>
                    <a:gd name="T8" fmla="*/ 13 w 13"/>
                    <a:gd name="T9" fmla="*/ 4 h 10"/>
                    <a:gd name="T10" fmla="*/ 12 w 13"/>
                    <a:gd name="T11" fmla="*/ 1 h 10"/>
                    <a:gd name="T12" fmla="*/ 8 w 13"/>
                    <a:gd name="T13" fmla="*/ 0 h 10"/>
                    <a:gd name="T14" fmla="*/ 3 w 13"/>
                    <a:gd name="T15" fmla="*/ 0 h 10"/>
                    <a:gd name="T16" fmla="*/ 0 w 13"/>
                    <a:gd name="T17" fmla="*/ 4 h 10"/>
                    <a:gd name="T18" fmla="*/ 6 w 13"/>
                    <a:gd name="T19" fmla="*/ 9 h 10"/>
                    <a:gd name="T20" fmla="*/ 8 w 13"/>
                    <a:gd name="T21" fmla="*/ 10 h 10"/>
                    <a:gd name="T22" fmla="*/ 8 w 13"/>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0">
                      <a:moveTo>
                        <a:pt x="8" y="10"/>
                      </a:moveTo>
                      <a:lnTo>
                        <a:pt x="9" y="9"/>
                      </a:lnTo>
                      <a:lnTo>
                        <a:pt x="13" y="9"/>
                      </a:lnTo>
                      <a:lnTo>
                        <a:pt x="10" y="7"/>
                      </a:lnTo>
                      <a:lnTo>
                        <a:pt x="13" y="4"/>
                      </a:lnTo>
                      <a:lnTo>
                        <a:pt x="12" y="1"/>
                      </a:lnTo>
                      <a:lnTo>
                        <a:pt x="8" y="0"/>
                      </a:lnTo>
                      <a:lnTo>
                        <a:pt x="3" y="0"/>
                      </a:lnTo>
                      <a:lnTo>
                        <a:pt x="0" y="4"/>
                      </a:lnTo>
                      <a:lnTo>
                        <a:pt x="6" y="9"/>
                      </a:lnTo>
                      <a:lnTo>
                        <a:pt x="8" y="10"/>
                      </a:lnTo>
                      <a:lnTo>
                        <a:pt x="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77" name="Freeform 39">
                  <a:extLst>
                    <a:ext uri="{FF2B5EF4-FFF2-40B4-BE49-F238E27FC236}">
                      <a16:creationId xmlns:a16="http://schemas.microsoft.com/office/drawing/2014/main" id="{4D0E56F4-E77C-6EA9-FB22-4825B2BFD934}"/>
                    </a:ext>
                  </a:extLst>
                </p:cNvPr>
                <p:cNvSpPr>
                  <a:spLocks/>
                </p:cNvSpPr>
                <p:nvPr/>
              </p:nvSpPr>
              <p:spPr bwMode="auto">
                <a:xfrm>
                  <a:off x="2503" y="1398"/>
                  <a:ext cx="14" cy="4"/>
                </a:xfrm>
                <a:custGeom>
                  <a:avLst/>
                  <a:gdLst>
                    <a:gd name="T0" fmla="*/ 5 w 14"/>
                    <a:gd name="T1" fmla="*/ 0 h 4"/>
                    <a:gd name="T2" fmla="*/ 0 w 14"/>
                    <a:gd name="T3" fmla="*/ 2 h 4"/>
                    <a:gd name="T4" fmla="*/ 0 w 14"/>
                    <a:gd name="T5" fmla="*/ 4 h 4"/>
                    <a:gd name="T6" fmla="*/ 11 w 14"/>
                    <a:gd name="T7" fmla="*/ 2 h 4"/>
                    <a:gd name="T8" fmla="*/ 14 w 14"/>
                    <a:gd name="T9" fmla="*/ 0 h 4"/>
                    <a:gd name="T10" fmla="*/ 8 w 14"/>
                    <a:gd name="T11" fmla="*/ 0 h 4"/>
                    <a:gd name="T12" fmla="*/ 5 w 14"/>
                    <a:gd name="T13" fmla="*/ 0 h 4"/>
                    <a:gd name="T14" fmla="*/ 5 w 1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4">
                      <a:moveTo>
                        <a:pt x="5" y="0"/>
                      </a:moveTo>
                      <a:lnTo>
                        <a:pt x="0" y="2"/>
                      </a:lnTo>
                      <a:lnTo>
                        <a:pt x="0" y="4"/>
                      </a:lnTo>
                      <a:lnTo>
                        <a:pt x="11" y="2"/>
                      </a:lnTo>
                      <a:lnTo>
                        <a:pt x="14" y="0"/>
                      </a:lnTo>
                      <a:lnTo>
                        <a:pt x="8"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78" name="Freeform 40">
                  <a:extLst>
                    <a:ext uri="{FF2B5EF4-FFF2-40B4-BE49-F238E27FC236}">
                      <a16:creationId xmlns:a16="http://schemas.microsoft.com/office/drawing/2014/main" id="{CBF78309-AFD0-0960-4091-9712403A010D}"/>
                    </a:ext>
                  </a:extLst>
                </p:cNvPr>
                <p:cNvSpPr>
                  <a:spLocks/>
                </p:cNvSpPr>
                <p:nvPr/>
              </p:nvSpPr>
              <p:spPr bwMode="auto">
                <a:xfrm>
                  <a:off x="2278" y="1542"/>
                  <a:ext cx="87" cy="70"/>
                </a:xfrm>
                <a:custGeom>
                  <a:avLst/>
                  <a:gdLst>
                    <a:gd name="T0" fmla="*/ 87 w 87"/>
                    <a:gd name="T1" fmla="*/ 41 h 70"/>
                    <a:gd name="T2" fmla="*/ 85 w 87"/>
                    <a:gd name="T3" fmla="*/ 33 h 70"/>
                    <a:gd name="T4" fmla="*/ 78 w 87"/>
                    <a:gd name="T5" fmla="*/ 33 h 70"/>
                    <a:gd name="T6" fmla="*/ 74 w 87"/>
                    <a:gd name="T7" fmla="*/ 27 h 70"/>
                    <a:gd name="T8" fmla="*/ 63 w 87"/>
                    <a:gd name="T9" fmla="*/ 25 h 70"/>
                    <a:gd name="T10" fmla="*/ 59 w 87"/>
                    <a:gd name="T11" fmla="*/ 27 h 70"/>
                    <a:gd name="T12" fmla="*/ 74 w 87"/>
                    <a:gd name="T13" fmla="*/ 16 h 70"/>
                    <a:gd name="T14" fmla="*/ 72 w 87"/>
                    <a:gd name="T15" fmla="*/ 11 h 70"/>
                    <a:gd name="T16" fmla="*/ 79 w 87"/>
                    <a:gd name="T17" fmla="*/ 7 h 70"/>
                    <a:gd name="T18" fmla="*/ 65 w 87"/>
                    <a:gd name="T19" fmla="*/ 4 h 70"/>
                    <a:gd name="T20" fmla="*/ 54 w 87"/>
                    <a:gd name="T21" fmla="*/ 6 h 70"/>
                    <a:gd name="T22" fmla="*/ 46 w 87"/>
                    <a:gd name="T23" fmla="*/ 5 h 70"/>
                    <a:gd name="T24" fmla="*/ 37 w 87"/>
                    <a:gd name="T25" fmla="*/ 0 h 70"/>
                    <a:gd name="T26" fmla="*/ 37 w 87"/>
                    <a:gd name="T27" fmla="*/ 5 h 70"/>
                    <a:gd name="T28" fmla="*/ 29 w 87"/>
                    <a:gd name="T29" fmla="*/ 4 h 70"/>
                    <a:gd name="T30" fmla="*/ 22 w 87"/>
                    <a:gd name="T31" fmla="*/ 7 h 70"/>
                    <a:gd name="T32" fmla="*/ 29 w 87"/>
                    <a:gd name="T33" fmla="*/ 13 h 70"/>
                    <a:gd name="T34" fmla="*/ 26 w 87"/>
                    <a:gd name="T35" fmla="*/ 12 h 70"/>
                    <a:gd name="T36" fmla="*/ 18 w 87"/>
                    <a:gd name="T37" fmla="*/ 12 h 70"/>
                    <a:gd name="T38" fmla="*/ 24 w 87"/>
                    <a:gd name="T39" fmla="*/ 19 h 70"/>
                    <a:gd name="T40" fmla="*/ 35 w 87"/>
                    <a:gd name="T41" fmla="*/ 17 h 70"/>
                    <a:gd name="T42" fmla="*/ 37 w 87"/>
                    <a:gd name="T43" fmla="*/ 21 h 70"/>
                    <a:gd name="T44" fmla="*/ 33 w 87"/>
                    <a:gd name="T45" fmla="*/ 22 h 70"/>
                    <a:gd name="T46" fmla="*/ 34 w 87"/>
                    <a:gd name="T47" fmla="*/ 29 h 70"/>
                    <a:gd name="T48" fmla="*/ 33 w 87"/>
                    <a:gd name="T49" fmla="*/ 32 h 70"/>
                    <a:gd name="T50" fmla="*/ 24 w 87"/>
                    <a:gd name="T51" fmla="*/ 33 h 70"/>
                    <a:gd name="T52" fmla="*/ 16 w 87"/>
                    <a:gd name="T53" fmla="*/ 29 h 70"/>
                    <a:gd name="T54" fmla="*/ 10 w 87"/>
                    <a:gd name="T55" fmla="*/ 24 h 70"/>
                    <a:gd name="T56" fmla="*/ 3 w 87"/>
                    <a:gd name="T57" fmla="*/ 25 h 70"/>
                    <a:gd name="T58" fmla="*/ 0 w 87"/>
                    <a:gd name="T59" fmla="*/ 33 h 70"/>
                    <a:gd name="T60" fmla="*/ 11 w 87"/>
                    <a:gd name="T61" fmla="*/ 39 h 70"/>
                    <a:gd name="T62" fmla="*/ 14 w 87"/>
                    <a:gd name="T63" fmla="*/ 45 h 70"/>
                    <a:gd name="T64" fmla="*/ 22 w 87"/>
                    <a:gd name="T65" fmla="*/ 45 h 70"/>
                    <a:gd name="T66" fmla="*/ 29 w 87"/>
                    <a:gd name="T67" fmla="*/ 48 h 70"/>
                    <a:gd name="T68" fmla="*/ 45 w 87"/>
                    <a:gd name="T69" fmla="*/ 62 h 70"/>
                    <a:gd name="T70" fmla="*/ 53 w 87"/>
                    <a:gd name="T71" fmla="*/ 70 h 70"/>
                    <a:gd name="T72" fmla="*/ 61 w 87"/>
                    <a:gd name="T73" fmla="*/ 67 h 70"/>
                    <a:gd name="T74" fmla="*/ 59 w 87"/>
                    <a:gd name="T75" fmla="*/ 59 h 70"/>
                    <a:gd name="T76" fmla="*/ 60 w 87"/>
                    <a:gd name="T77" fmla="*/ 57 h 70"/>
                    <a:gd name="T78" fmla="*/ 70 w 87"/>
                    <a:gd name="T79" fmla="*/ 62 h 70"/>
                    <a:gd name="T80" fmla="*/ 80 w 87"/>
                    <a:gd name="T81" fmla="*/ 56 h 70"/>
                    <a:gd name="T82" fmla="*/ 82 w 87"/>
                    <a:gd name="T83" fmla="*/ 54 h 70"/>
                    <a:gd name="T84" fmla="*/ 86 w 87"/>
                    <a:gd name="T85" fmla="*/ 4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 h="70">
                      <a:moveTo>
                        <a:pt x="85" y="47"/>
                      </a:moveTo>
                      <a:lnTo>
                        <a:pt x="82" y="44"/>
                      </a:lnTo>
                      <a:lnTo>
                        <a:pt x="87" y="41"/>
                      </a:lnTo>
                      <a:lnTo>
                        <a:pt x="87" y="39"/>
                      </a:lnTo>
                      <a:lnTo>
                        <a:pt x="86" y="36"/>
                      </a:lnTo>
                      <a:lnTo>
                        <a:pt x="85" y="33"/>
                      </a:lnTo>
                      <a:lnTo>
                        <a:pt x="79" y="34"/>
                      </a:lnTo>
                      <a:lnTo>
                        <a:pt x="77" y="36"/>
                      </a:lnTo>
                      <a:lnTo>
                        <a:pt x="78" y="33"/>
                      </a:lnTo>
                      <a:lnTo>
                        <a:pt x="76" y="31"/>
                      </a:lnTo>
                      <a:lnTo>
                        <a:pt x="73" y="30"/>
                      </a:lnTo>
                      <a:lnTo>
                        <a:pt x="74" y="27"/>
                      </a:lnTo>
                      <a:lnTo>
                        <a:pt x="69" y="25"/>
                      </a:lnTo>
                      <a:lnTo>
                        <a:pt x="65" y="24"/>
                      </a:lnTo>
                      <a:lnTo>
                        <a:pt x="63" y="25"/>
                      </a:lnTo>
                      <a:lnTo>
                        <a:pt x="61" y="27"/>
                      </a:lnTo>
                      <a:lnTo>
                        <a:pt x="59" y="30"/>
                      </a:lnTo>
                      <a:lnTo>
                        <a:pt x="59" y="27"/>
                      </a:lnTo>
                      <a:lnTo>
                        <a:pt x="63" y="22"/>
                      </a:lnTo>
                      <a:lnTo>
                        <a:pt x="69" y="17"/>
                      </a:lnTo>
                      <a:lnTo>
                        <a:pt x="74" y="16"/>
                      </a:lnTo>
                      <a:lnTo>
                        <a:pt x="76" y="13"/>
                      </a:lnTo>
                      <a:lnTo>
                        <a:pt x="70" y="14"/>
                      </a:lnTo>
                      <a:lnTo>
                        <a:pt x="72" y="11"/>
                      </a:lnTo>
                      <a:lnTo>
                        <a:pt x="74" y="12"/>
                      </a:lnTo>
                      <a:lnTo>
                        <a:pt x="78" y="10"/>
                      </a:lnTo>
                      <a:lnTo>
                        <a:pt x="79" y="7"/>
                      </a:lnTo>
                      <a:lnTo>
                        <a:pt x="77" y="4"/>
                      </a:lnTo>
                      <a:lnTo>
                        <a:pt x="71" y="3"/>
                      </a:lnTo>
                      <a:lnTo>
                        <a:pt x="65" y="4"/>
                      </a:lnTo>
                      <a:lnTo>
                        <a:pt x="62" y="4"/>
                      </a:lnTo>
                      <a:lnTo>
                        <a:pt x="56" y="5"/>
                      </a:lnTo>
                      <a:lnTo>
                        <a:pt x="54" y="6"/>
                      </a:lnTo>
                      <a:lnTo>
                        <a:pt x="51" y="6"/>
                      </a:lnTo>
                      <a:lnTo>
                        <a:pt x="48" y="7"/>
                      </a:lnTo>
                      <a:lnTo>
                        <a:pt x="46" y="5"/>
                      </a:lnTo>
                      <a:lnTo>
                        <a:pt x="41" y="3"/>
                      </a:lnTo>
                      <a:lnTo>
                        <a:pt x="37" y="0"/>
                      </a:lnTo>
                      <a:lnTo>
                        <a:pt x="37" y="0"/>
                      </a:lnTo>
                      <a:lnTo>
                        <a:pt x="35" y="2"/>
                      </a:lnTo>
                      <a:lnTo>
                        <a:pt x="37" y="4"/>
                      </a:lnTo>
                      <a:lnTo>
                        <a:pt x="37" y="5"/>
                      </a:lnTo>
                      <a:lnTo>
                        <a:pt x="35" y="5"/>
                      </a:lnTo>
                      <a:lnTo>
                        <a:pt x="31" y="4"/>
                      </a:lnTo>
                      <a:lnTo>
                        <a:pt x="29" y="4"/>
                      </a:lnTo>
                      <a:lnTo>
                        <a:pt x="26" y="4"/>
                      </a:lnTo>
                      <a:lnTo>
                        <a:pt x="24" y="5"/>
                      </a:lnTo>
                      <a:lnTo>
                        <a:pt x="22" y="7"/>
                      </a:lnTo>
                      <a:lnTo>
                        <a:pt x="26" y="8"/>
                      </a:lnTo>
                      <a:lnTo>
                        <a:pt x="28" y="10"/>
                      </a:lnTo>
                      <a:lnTo>
                        <a:pt x="29" y="13"/>
                      </a:lnTo>
                      <a:lnTo>
                        <a:pt x="31" y="15"/>
                      </a:lnTo>
                      <a:lnTo>
                        <a:pt x="29" y="14"/>
                      </a:lnTo>
                      <a:lnTo>
                        <a:pt x="26" y="12"/>
                      </a:lnTo>
                      <a:lnTo>
                        <a:pt x="24" y="11"/>
                      </a:lnTo>
                      <a:lnTo>
                        <a:pt x="20" y="10"/>
                      </a:lnTo>
                      <a:lnTo>
                        <a:pt x="18" y="12"/>
                      </a:lnTo>
                      <a:lnTo>
                        <a:pt x="16" y="14"/>
                      </a:lnTo>
                      <a:lnTo>
                        <a:pt x="18" y="15"/>
                      </a:lnTo>
                      <a:lnTo>
                        <a:pt x="24" y="19"/>
                      </a:lnTo>
                      <a:lnTo>
                        <a:pt x="27" y="19"/>
                      </a:lnTo>
                      <a:lnTo>
                        <a:pt x="31" y="17"/>
                      </a:lnTo>
                      <a:lnTo>
                        <a:pt x="35" y="17"/>
                      </a:lnTo>
                      <a:lnTo>
                        <a:pt x="37" y="20"/>
                      </a:lnTo>
                      <a:lnTo>
                        <a:pt x="41" y="20"/>
                      </a:lnTo>
                      <a:lnTo>
                        <a:pt x="37" y="21"/>
                      </a:lnTo>
                      <a:lnTo>
                        <a:pt x="31" y="19"/>
                      </a:lnTo>
                      <a:lnTo>
                        <a:pt x="30" y="21"/>
                      </a:lnTo>
                      <a:lnTo>
                        <a:pt x="33" y="22"/>
                      </a:lnTo>
                      <a:lnTo>
                        <a:pt x="35" y="25"/>
                      </a:lnTo>
                      <a:lnTo>
                        <a:pt x="36" y="28"/>
                      </a:lnTo>
                      <a:lnTo>
                        <a:pt x="34" y="29"/>
                      </a:lnTo>
                      <a:lnTo>
                        <a:pt x="31" y="27"/>
                      </a:lnTo>
                      <a:lnTo>
                        <a:pt x="31" y="29"/>
                      </a:lnTo>
                      <a:lnTo>
                        <a:pt x="33" y="32"/>
                      </a:lnTo>
                      <a:lnTo>
                        <a:pt x="29" y="32"/>
                      </a:lnTo>
                      <a:lnTo>
                        <a:pt x="26" y="32"/>
                      </a:lnTo>
                      <a:lnTo>
                        <a:pt x="24" y="33"/>
                      </a:lnTo>
                      <a:lnTo>
                        <a:pt x="20" y="33"/>
                      </a:lnTo>
                      <a:lnTo>
                        <a:pt x="18" y="31"/>
                      </a:lnTo>
                      <a:lnTo>
                        <a:pt x="16" y="29"/>
                      </a:lnTo>
                      <a:lnTo>
                        <a:pt x="13" y="28"/>
                      </a:lnTo>
                      <a:lnTo>
                        <a:pt x="11" y="24"/>
                      </a:lnTo>
                      <a:lnTo>
                        <a:pt x="10" y="24"/>
                      </a:lnTo>
                      <a:lnTo>
                        <a:pt x="9" y="23"/>
                      </a:lnTo>
                      <a:lnTo>
                        <a:pt x="5" y="24"/>
                      </a:lnTo>
                      <a:lnTo>
                        <a:pt x="3" y="25"/>
                      </a:lnTo>
                      <a:lnTo>
                        <a:pt x="2" y="28"/>
                      </a:lnTo>
                      <a:lnTo>
                        <a:pt x="0" y="30"/>
                      </a:lnTo>
                      <a:lnTo>
                        <a:pt x="0" y="33"/>
                      </a:lnTo>
                      <a:lnTo>
                        <a:pt x="5" y="37"/>
                      </a:lnTo>
                      <a:lnTo>
                        <a:pt x="10" y="39"/>
                      </a:lnTo>
                      <a:lnTo>
                        <a:pt x="11" y="39"/>
                      </a:lnTo>
                      <a:lnTo>
                        <a:pt x="12" y="42"/>
                      </a:lnTo>
                      <a:lnTo>
                        <a:pt x="11" y="42"/>
                      </a:lnTo>
                      <a:lnTo>
                        <a:pt x="14" y="45"/>
                      </a:lnTo>
                      <a:lnTo>
                        <a:pt x="17" y="45"/>
                      </a:lnTo>
                      <a:lnTo>
                        <a:pt x="19" y="44"/>
                      </a:lnTo>
                      <a:lnTo>
                        <a:pt x="22" y="45"/>
                      </a:lnTo>
                      <a:lnTo>
                        <a:pt x="24" y="47"/>
                      </a:lnTo>
                      <a:lnTo>
                        <a:pt x="27" y="47"/>
                      </a:lnTo>
                      <a:lnTo>
                        <a:pt x="29" y="48"/>
                      </a:lnTo>
                      <a:lnTo>
                        <a:pt x="35" y="53"/>
                      </a:lnTo>
                      <a:lnTo>
                        <a:pt x="39" y="57"/>
                      </a:lnTo>
                      <a:lnTo>
                        <a:pt x="45" y="62"/>
                      </a:lnTo>
                      <a:lnTo>
                        <a:pt x="47" y="67"/>
                      </a:lnTo>
                      <a:lnTo>
                        <a:pt x="51" y="67"/>
                      </a:lnTo>
                      <a:lnTo>
                        <a:pt x="53" y="70"/>
                      </a:lnTo>
                      <a:lnTo>
                        <a:pt x="55" y="70"/>
                      </a:lnTo>
                      <a:lnTo>
                        <a:pt x="59" y="70"/>
                      </a:lnTo>
                      <a:lnTo>
                        <a:pt x="61" y="67"/>
                      </a:lnTo>
                      <a:lnTo>
                        <a:pt x="63" y="64"/>
                      </a:lnTo>
                      <a:lnTo>
                        <a:pt x="61" y="62"/>
                      </a:lnTo>
                      <a:lnTo>
                        <a:pt x="59" y="59"/>
                      </a:lnTo>
                      <a:lnTo>
                        <a:pt x="59" y="56"/>
                      </a:lnTo>
                      <a:lnTo>
                        <a:pt x="62" y="55"/>
                      </a:lnTo>
                      <a:lnTo>
                        <a:pt x="60" y="57"/>
                      </a:lnTo>
                      <a:lnTo>
                        <a:pt x="61" y="61"/>
                      </a:lnTo>
                      <a:lnTo>
                        <a:pt x="64" y="61"/>
                      </a:lnTo>
                      <a:lnTo>
                        <a:pt x="70" y="62"/>
                      </a:lnTo>
                      <a:lnTo>
                        <a:pt x="72" y="62"/>
                      </a:lnTo>
                      <a:lnTo>
                        <a:pt x="74" y="61"/>
                      </a:lnTo>
                      <a:lnTo>
                        <a:pt x="80" y="56"/>
                      </a:lnTo>
                      <a:lnTo>
                        <a:pt x="84" y="56"/>
                      </a:lnTo>
                      <a:lnTo>
                        <a:pt x="86" y="54"/>
                      </a:lnTo>
                      <a:lnTo>
                        <a:pt x="82" y="54"/>
                      </a:lnTo>
                      <a:lnTo>
                        <a:pt x="86" y="51"/>
                      </a:lnTo>
                      <a:lnTo>
                        <a:pt x="82" y="51"/>
                      </a:lnTo>
                      <a:lnTo>
                        <a:pt x="86" y="49"/>
                      </a:lnTo>
                      <a:lnTo>
                        <a:pt x="85"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79" name="Freeform 41">
                  <a:extLst>
                    <a:ext uri="{FF2B5EF4-FFF2-40B4-BE49-F238E27FC236}">
                      <a16:creationId xmlns:a16="http://schemas.microsoft.com/office/drawing/2014/main" id="{88DEBFD8-7B2F-0017-D250-8049F0C9DD75}"/>
                    </a:ext>
                  </a:extLst>
                </p:cNvPr>
                <p:cNvSpPr>
                  <a:spLocks/>
                </p:cNvSpPr>
                <p:nvPr/>
              </p:nvSpPr>
              <p:spPr bwMode="auto">
                <a:xfrm>
                  <a:off x="2270" y="1487"/>
                  <a:ext cx="18" cy="7"/>
                </a:xfrm>
                <a:custGeom>
                  <a:avLst/>
                  <a:gdLst>
                    <a:gd name="T0" fmla="*/ 18 w 18"/>
                    <a:gd name="T1" fmla="*/ 1 h 7"/>
                    <a:gd name="T2" fmla="*/ 12 w 18"/>
                    <a:gd name="T3" fmla="*/ 2 h 7"/>
                    <a:gd name="T4" fmla="*/ 11 w 18"/>
                    <a:gd name="T5" fmla="*/ 6 h 7"/>
                    <a:gd name="T6" fmla="*/ 5 w 18"/>
                    <a:gd name="T7" fmla="*/ 7 h 7"/>
                    <a:gd name="T8" fmla="*/ 0 w 18"/>
                    <a:gd name="T9" fmla="*/ 7 h 7"/>
                    <a:gd name="T10" fmla="*/ 5 w 18"/>
                    <a:gd name="T11" fmla="*/ 2 h 7"/>
                    <a:gd name="T12" fmla="*/ 8 w 18"/>
                    <a:gd name="T13" fmla="*/ 1 h 7"/>
                    <a:gd name="T14" fmla="*/ 13 w 18"/>
                    <a:gd name="T15" fmla="*/ 0 h 7"/>
                    <a:gd name="T16" fmla="*/ 17 w 18"/>
                    <a:gd name="T17" fmla="*/ 0 h 7"/>
                    <a:gd name="T18" fmla="*/ 18 w 18"/>
                    <a:gd name="T19" fmla="*/ 1 h 7"/>
                    <a:gd name="T20" fmla="*/ 18 w 18"/>
                    <a:gd name="T21" fmla="*/ 1 h 7"/>
                    <a:gd name="T22" fmla="*/ 18 w 18"/>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7">
                      <a:moveTo>
                        <a:pt x="18" y="1"/>
                      </a:moveTo>
                      <a:lnTo>
                        <a:pt x="12" y="2"/>
                      </a:lnTo>
                      <a:lnTo>
                        <a:pt x="11" y="6"/>
                      </a:lnTo>
                      <a:lnTo>
                        <a:pt x="5" y="7"/>
                      </a:lnTo>
                      <a:lnTo>
                        <a:pt x="0" y="7"/>
                      </a:lnTo>
                      <a:lnTo>
                        <a:pt x="5" y="2"/>
                      </a:lnTo>
                      <a:lnTo>
                        <a:pt x="8" y="1"/>
                      </a:lnTo>
                      <a:lnTo>
                        <a:pt x="13" y="0"/>
                      </a:lnTo>
                      <a:lnTo>
                        <a:pt x="17" y="0"/>
                      </a:lnTo>
                      <a:lnTo>
                        <a:pt x="18" y="1"/>
                      </a:lnTo>
                      <a:lnTo>
                        <a:pt x="18" y="1"/>
                      </a:lnTo>
                      <a:lnTo>
                        <a:pt x="1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80" name="Freeform 42">
                  <a:extLst>
                    <a:ext uri="{FF2B5EF4-FFF2-40B4-BE49-F238E27FC236}">
                      <a16:creationId xmlns:a16="http://schemas.microsoft.com/office/drawing/2014/main" id="{F3C82129-2E7F-63DB-D44C-8318F6138BAD}"/>
                    </a:ext>
                  </a:extLst>
                </p:cNvPr>
                <p:cNvSpPr>
                  <a:spLocks/>
                </p:cNvSpPr>
                <p:nvPr/>
              </p:nvSpPr>
              <p:spPr bwMode="auto">
                <a:xfrm>
                  <a:off x="2286" y="1476"/>
                  <a:ext cx="2" cy="4"/>
                </a:xfrm>
                <a:custGeom>
                  <a:avLst/>
                  <a:gdLst>
                    <a:gd name="T0" fmla="*/ 2 w 2"/>
                    <a:gd name="T1" fmla="*/ 4 h 4"/>
                    <a:gd name="T2" fmla="*/ 0 w 2"/>
                    <a:gd name="T3" fmla="*/ 4 h 4"/>
                    <a:gd name="T4" fmla="*/ 1 w 2"/>
                    <a:gd name="T5" fmla="*/ 1 h 4"/>
                    <a:gd name="T6" fmla="*/ 2 w 2"/>
                    <a:gd name="T7" fmla="*/ 0 h 4"/>
                    <a:gd name="T8" fmla="*/ 2 w 2"/>
                    <a:gd name="T9" fmla="*/ 4 h 4"/>
                    <a:gd name="T10" fmla="*/ 2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2" y="4"/>
                      </a:moveTo>
                      <a:lnTo>
                        <a:pt x="0" y="4"/>
                      </a:lnTo>
                      <a:lnTo>
                        <a:pt x="1" y="1"/>
                      </a:lnTo>
                      <a:lnTo>
                        <a:pt x="2" y="0"/>
                      </a:lnTo>
                      <a:lnTo>
                        <a:pt x="2" y="4"/>
                      </a:ln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81" name="Freeform 43">
                  <a:extLst>
                    <a:ext uri="{FF2B5EF4-FFF2-40B4-BE49-F238E27FC236}">
                      <a16:creationId xmlns:a16="http://schemas.microsoft.com/office/drawing/2014/main" id="{70E52DC7-8B3E-5513-EEA5-6640D2A00FA4}"/>
                    </a:ext>
                  </a:extLst>
                </p:cNvPr>
                <p:cNvSpPr>
                  <a:spLocks/>
                </p:cNvSpPr>
                <p:nvPr/>
              </p:nvSpPr>
              <p:spPr bwMode="auto">
                <a:xfrm>
                  <a:off x="2518" y="1737"/>
                  <a:ext cx="8" cy="10"/>
                </a:xfrm>
                <a:custGeom>
                  <a:avLst/>
                  <a:gdLst>
                    <a:gd name="T0" fmla="*/ 3 w 8"/>
                    <a:gd name="T1" fmla="*/ 0 h 10"/>
                    <a:gd name="T2" fmla="*/ 3 w 8"/>
                    <a:gd name="T3" fmla="*/ 0 h 10"/>
                    <a:gd name="T4" fmla="*/ 0 w 8"/>
                    <a:gd name="T5" fmla="*/ 1 h 10"/>
                    <a:gd name="T6" fmla="*/ 1 w 8"/>
                    <a:gd name="T7" fmla="*/ 4 h 10"/>
                    <a:gd name="T8" fmla="*/ 1 w 8"/>
                    <a:gd name="T9" fmla="*/ 7 h 10"/>
                    <a:gd name="T10" fmla="*/ 4 w 8"/>
                    <a:gd name="T11" fmla="*/ 8 h 10"/>
                    <a:gd name="T12" fmla="*/ 6 w 8"/>
                    <a:gd name="T13" fmla="*/ 10 h 10"/>
                    <a:gd name="T14" fmla="*/ 8 w 8"/>
                    <a:gd name="T15" fmla="*/ 9 h 10"/>
                    <a:gd name="T16" fmla="*/ 6 w 8"/>
                    <a:gd name="T17" fmla="*/ 4 h 10"/>
                    <a:gd name="T18" fmla="*/ 3 w 8"/>
                    <a:gd name="T19" fmla="*/ 0 h 10"/>
                    <a:gd name="T20" fmla="*/ 3 w 8"/>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0">
                      <a:moveTo>
                        <a:pt x="3" y="0"/>
                      </a:moveTo>
                      <a:lnTo>
                        <a:pt x="3" y="0"/>
                      </a:lnTo>
                      <a:lnTo>
                        <a:pt x="0" y="1"/>
                      </a:lnTo>
                      <a:lnTo>
                        <a:pt x="1" y="4"/>
                      </a:lnTo>
                      <a:lnTo>
                        <a:pt x="1" y="7"/>
                      </a:lnTo>
                      <a:lnTo>
                        <a:pt x="4" y="8"/>
                      </a:lnTo>
                      <a:lnTo>
                        <a:pt x="6" y="10"/>
                      </a:lnTo>
                      <a:lnTo>
                        <a:pt x="8" y="9"/>
                      </a:lnTo>
                      <a:lnTo>
                        <a:pt x="6" y="4"/>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82" name="Freeform 44">
                  <a:extLst>
                    <a:ext uri="{FF2B5EF4-FFF2-40B4-BE49-F238E27FC236}">
                      <a16:creationId xmlns:a16="http://schemas.microsoft.com/office/drawing/2014/main" id="{7DDE089E-1461-B500-4ED6-5FC624A383FD}"/>
                    </a:ext>
                  </a:extLst>
                </p:cNvPr>
                <p:cNvSpPr>
                  <a:spLocks/>
                </p:cNvSpPr>
                <p:nvPr/>
              </p:nvSpPr>
              <p:spPr bwMode="auto">
                <a:xfrm>
                  <a:off x="2535" y="1804"/>
                  <a:ext cx="27" cy="17"/>
                </a:xfrm>
                <a:custGeom>
                  <a:avLst/>
                  <a:gdLst>
                    <a:gd name="T0" fmla="*/ 0 w 27"/>
                    <a:gd name="T1" fmla="*/ 11 h 17"/>
                    <a:gd name="T2" fmla="*/ 3 w 27"/>
                    <a:gd name="T3" fmla="*/ 17 h 17"/>
                    <a:gd name="T4" fmla="*/ 6 w 27"/>
                    <a:gd name="T5" fmla="*/ 17 h 17"/>
                    <a:gd name="T6" fmla="*/ 9 w 27"/>
                    <a:gd name="T7" fmla="*/ 16 h 17"/>
                    <a:gd name="T8" fmla="*/ 11 w 27"/>
                    <a:gd name="T9" fmla="*/ 17 h 17"/>
                    <a:gd name="T10" fmla="*/ 17 w 27"/>
                    <a:gd name="T11" fmla="*/ 15 h 17"/>
                    <a:gd name="T12" fmla="*/ 21 w 27"/>
                    <a:gd name="T13" fmla="*/ 9 h 17"/>
                    <a:gd name="T14" fmla="*/ 25 w 27"/>
                    <a:gd name="T15" fmla="*/ 8 h 17"/>
                    <a:gd name="T16" fmla="*/ 27 w 27"/>
                    <a:gd name="T17" fmla="*/ 7 h 17"/>
                    <a:gd name="T18" fmla="*/ 27 w 27"/>
                    <a:gd name="T19" fmla="*/ 1 h 17"/>
                    <a:gd name="T20" fmla="*/ 25 w 27"/>
                    <a:gd name="T21" fmla="*/ 0 h 17"/>
                    <a:gd name="T22" fmla="*/ 17 w 27"/>
                    <a:gd name="T23" fmla="*/ 1 h 17"/>
                    <a:gd name="T24" fmla="*/ 13 w 27"/>
                    <a:gd name="T25" fmla="*/ 3 h 17"/>
                    <a:gd name="T26" fmla="*/ 11 w 27"/>
                    <a:gd name="T27" fmla="*/ 3 h 17"/>
                    <a:gd name="T28" fmla="*/ 9 w 27"/>
                    <a:gd name="T29" fmla="*/ 2 h 17"/>
                    <a:gd name="T30" fmla="*/ 6 w 27"/>
                    <a:gd name="T31" fmla="*/ 5 h 17"/>
                    <a:gd name="T32" fmla="*/ 4 w 27"/>
                    <a:gd name="T33" fmla="*/ 7 h 17"/>
                    <a:gd name="T34" fmla="*/ 0 w 27"/>
                    <a:gd name="T35" fmla="*/ 11 h 17"/>
                    <a:gd name="T36" fmla="*/ 0 w 27"/>
                    <a:gd name="T3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7">
                      <a:moveTo>
                        <a:pt x="0" y="11"/>
                      </a:moveTo>
                      <a:lnTo>
                        <a:pt x="3" y="17"/>
                      </a:lnTo>
                      <a:lnTo>
                        <a:pt x="6" y="17"/>
                      </a:lnTo>
                      <a:lnTo>
                        <a:pt x="9" y="16"/>
                      </a:lnTo>
                      <a:lnTo>
                        <a:pt x="11" y="17"/>
                      </a:lnTo>
                      <a:lnTo>
                        <a:pt x="17" y="15"/>
                      </a:lnTo>
                      <a:lnTo>
                        <a:pt x="21" y="9"/>
                      </a:lnTo>
                      <a:lnTo>
                        <a:pt x="25" y="8"/>
                      </a:lnTo>
                      <a:lnTo>
                        <a:pt x="27" y="7"/>
                      </a:lnTo>
                      <a:lnTo>
                        <a:pt x="27" y="1"/>
                      </a:lnTo>
                      <a:lnTo>
                        <a:pt x="25" y="0"/>
                      </a:lnTo>
                      <a:lnTo>
                        <a:pt x="17" y="1"/>
                      </a:lnTo>
                      <a:lnTo>
                        <a:pt x="13" y="3"/>
                      </a:lnTo>
                      <a:lnTo>
                        <a:pt x="11" y="3"/>
                      </a:lnTo>
                      <a:lnTo>
                        <a:pt x="9" y="2"/>
                      </a:lnTo>
                      <a:lnTo>
                        <a:pt x="6" y="5"/>
                      </a:lnTo>
                      <a:lnTo>
                        <a:pt x="4" y="7"/>
                      </a:lnTo>
                      <a:lnTo>
                        <a:pt x="0" y="11"/>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83" name="Freeform 45">
                  <a:extLst>
                    <a:ext uri="{FF2B5EF4-FFF2-40B4-BE49-F238E27FC236}">
                      <a16:creationId xmlns:a16="http://schemas.microsoft.com/office/drawing/2014/main" id="{9B02D193-738A-64EC-4F08-499D25ACD9ED}"/>
                    </a:ext>
                  </a:extLst>
                </p:cNvPr>
                <p:cNvSpPr>
                  <a:spLocks/>
                </p:cNvSpPr>
                <p:nvPr/>
              </p:nvSpPr>
              <p:spPr bwMode="auto">
                <a:xfrm>
                  <a:off x="2561" y="1999"/>
                  <a:ext cx="19" cy="9"/>
                </a:xfrm>
                <a:custGeom>
                  <a:avLst/>
                  <a:gdLst>
                    <a:gd name="T0" fmla="*/ 14 w 19"/>
                    <a:gd name="T1" fmla="*/ 1 h 9"/>
                    <a:gd name="T2" fmla="*/ 10 w 19"/>
                    <a:gd name="T3" fmla="*/ 0 h 9"/>
                    <a:gd name="T4" fmla="*/ 2 w 19"/>
                    <a:gd name="T5" fmla="*/ 1 h 9"/>
                    <a:gd name="T6" fmla="*/ 0 w 19"/>
                    <a:gd name="T7" fmla="*/ 3 h 9"/>
                    <a:gd name="T8" fmla="*/ 2 w 19"/>
                    <a:gd name="T9" fmla="*/ 4 h 9"/>
                    <a:gd name="T10" fmla="*/ 11 w 19"/>
                    <a:gd name="T11" fmla="*/ 7 h 9"/>
                    <a:gd name="T12" fmla="*/ 14 w 19"/>
                    <a:gd name="T13" fmla="*/ 8 h 9"/>
                    <a:gd name="T14" fmla="*/ 19 w 19"/>
                    <a:gd name="T15" fmla="*/ 9 h 9"/>
                    <a:gd name="T16" fmla="*/ 18 w 19"/>
                    <a:gd name="T17" fmla="*/ 6 h 9"/>
                    <a:gd name="T18" fmla="*/ 14 w 19"/>
                    <a:gd name="T19" fmla="*/ 1 h 9"/>
                    <a:gd name="T20" fmla="*/ 14 w 19"/>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9">
                      <a:moveTo>
                        <a:pt x="14" y="1"/>
                      </a:moveTo>
                      <a:lnTo>
                        <a:pt x="10" y="0"/>
                      </a:lnTo>
                      <a:lnTo>
                        <a:pt x="2" y="1"/>
                      </a:lnTo>
                      <a:lnTo>
                        <a:pt x="0" y="3"/>
                      </a:lnTo>
                      <a:lnTo>
                        <a:pt x="2" y="4"/>
                      </a:lnTo>
                      <a:lnTo>
                        <a:pt x="11" y="7"/>
                      </a:lnTo>
                      <a:lnTo>
                        <a:pt x="14" y="8"/>
                      </a:lnTo>
                      <a:lnTo>
                        <a:pt x="19" y="9"/>
                      </a:lnTo>
                      <a:lnTo>
                        <a:pt x="18" y="6"/>
                      </a:lnTo>
                      <a:lnTo>
                        <a:pt x="14" y="1"/>
                      </a:lnTo>
                      <a:lnTo>
                        <a:pt x="1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84" name="Freeform 46">
                  <a:extLst>
                    <a:ext uri="{FF2B5EF4-FFF2-40B4-BE49-F238E27FC236}">
                      <a16:creationId xmlns:a16="http://schemas.microsoft.com/office/drawing/2014/main" id="{17EFFBDD-B3E3-5456-F197-BF36CD1A60E5}"/>
                    </a:ext>
                  </a:extLst>
                </p:cNvPr>
                <p:cNvSpPr>
                  <a:spLocks/>
                </p:cNvSpPr>
                <p:nvPr/>
              </p:nvSpPr>
              <p:spPr bwMode="auto">
                <a:xfrm>
                  <a:off x="2578" y="1648"/>
                  <a:ext cx="19" cy="8"/>
                </a:xfrm>
                <a:custGeom>
                  <a:avLst/>
                  <a:gdLst>
                    <a:gd name="T0" fmla="*/ 11 w 19"/>
                    <a:gd name="T1" fmla="*/ 7 h 8"/>
                    <a:gd name="T2" fmla="*/ 11 w 19"/>
                    <a:gd name="T3" fmla="*/ 4 h 8"/>
                    <a:gd name="T4" fmla="*/ 13 w 19"/>
                    <a:gd name="T5" fmla="*/ 5 h 8"/>
                    <a:gd name="T6" fmla="*/ 17 w 19"/>
                    <a:gd name="T7" fmla="*/ 5 h 8"/>
                    <a:gd name="T8" fmla="*/ 19 w 19"/>
                    <a:gd name="T9" fmla="*/ 3 h 8"/>
                    <a:gd name="T10" fmla="*/ 19 w 19"/>
                    <a:gd name="T11" fmla="*/ 1 h 8"/>
                    <a:gd name="T12" fmla="*/ 16 w 19"/>
                    <a:gd name="T13" fmla="*/ 0 h 8"/>
                    <a:gd name="T14" fmla="*/ 11 w 19"/>
                    <a:gd name="T15" fmla="*/ 2 h 8"/>
                    <a:gd name="T16" fmla="*/ 8 w 19"/>
                    <a:gd name="T17" fmla="*/ 1 h 8"/>
                    <a:gd name="T18" fmla="*/ 6 w 19"/>
                    <a:gd name="T19" fmla="*/ 1 h 8"/>
                    <a:gd name="T20" fmla="*/ 6 w 19"/>
                    <a:gd name="T21" fmla="*/ 3 h 8"/>
                    <a:gd name="T22" fmla="*/ 3 w 19"/>
                    <a:gd name="T23" fmla="*/ 2 h 8"/>
                    <a:gd name="T24" fmla="*/ 0 w 19"/>
                    <a:gd name="T25" fmla="*/ 3 h 8"/>
                    <a:gd name="T26" fmla="*/ 6 w 19"/>
                    <a:gd name="T27" fmla="*/ 4 h 8"/>
                    <a:gd name="T28" fmla="*/ 9 w 19"/>
                    <a:gd name="T29" fmla="*/ 7 h 8"/>
                    <a:gd name="T30" fmla="*/ 11 w 19"/>
                    <a:gd name="T31" fmla="*/ 8 h 8"/>
                    <a:gd name="T32" fmla="*/ 11 w 19"/>
                    <a:gd name="T33" fmla="*/ 7 h 8"/>
                    <a:gd name="T34" fmla="*/ 11 w 19"/>
                    <a:gd name="T3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8">
                      <a:moveTo>
                        <a:pt x="11" y="7"/>
                      </a:moveTo>
                      <a:lnTo>
                        <a:pt x="11" y="4"/>
                      </a:lnTo>
                      <a:lnTo>
                        <a:pt x="13" y="5"/>
                      </a:lnTo>
                      <a:lnTo>
                        <a:pt x="17" y="5"/>
                      </a:lnTo>
                      <a:lnTo>
                        <a:pt x="19" y="3"/>
                      </a:lnTo>
                      <a:lnTo>
                        <a:pt x="19" y="1"/>
                      </a:lnTo>
                      <a:lnTo>
                        <a:pt x="16" y="0"/>
                      </a:lnTo>
                      <a:lnTo>
                        <a:pt x="11" y="2"/>
                      </a:lnTo>
                      <a:lnTo>
                        <a:pt x="8" y="1"/>
                      </a:lnTo>
                      <a:lnTo>
                        <a:pt x="6" y="1"/>
                      </a:lnTo>
                      <a:lnTo>
                        <a:pt x="6" y="3"/>
                      </a:lnTo>
                      <a:lnTo>
                        <a:pt x="3" y="2"/>
                      </a:lnTo>
                      <a:lnTo>
                        <a:pt x="0" y="3"/>
                      </a:lnTo>
                      <a:lnTo>
                        <a:pt x="6" y="4"/>
                      </a:lnTo>
                      <a:lnTo>
                        <a:pt x="9" y="7"/>
                      </a:lnTo>
                      <a:lnTo>
                        <a:pt x="11" y="8"/>
                      </a:lnTo>
                      <a:lnTo>
                        <a:pt x="11" y="7"/>
                      </a:lnTo>
                      <a:lnTo>
                        <a:pt x="1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85" name="Freeform 47">
                  <a:extLst>
                    <a:ext uri="{FF2B5EF4-FFF2-40B4-BE49-F238E27FC236}">
                      <a16:creationId xmlns:a16="http://schemas.microsoft.com/office/drawing/2014/main" id="{DB43ED5C-DB74-3BA7-4332-9FA94D5E02A9}"/>
                    </a:ext>
                  </a:extLst>
                </p:cNvPr>
                <p:cNvSpPr>
                  <a:spLocks/>
                </p:cNvSpPr>
                <p:nvPr/>
              </p:nvSpPr>
              <p:spPr bwMode="auto">
                <a:xfrm>
                  <a:off x="2585" y="1817"/>
                  <a:ext cx="14" cy="18"/>
                </a:xfrm>
                <a:custGeom>
                  <a:avLst/>
                  <a:gdLst>
                    <a:gd name="T0" fmla="*/ 4 w 14"/>
                    <a:gd name="T1" fmla="*/ 14 h 18"/>
                    <a:gd name="T2" fmla="*/ 6 w 14"/>
                    <a:gd name="T3" fmla="*/ 18 h 18"/>
                    <a:gd name="T4" fmla="*/ 10 w 14"/>
                    <a:gd name="T5" fmla="*/ 14 h 18"/>
                    <a:gd name="T6" fmla="*/ 12 w 14"/>
                    <a:gd name="T7" fmla="*/ 10 h 18"/>
                    <a:gd name="T8" fmla="*/ 13 w 14"/>
                    <a:gd name="T9" fmla="*/ 6 h 18"/>
                    <a:gd name="T10" fmla="*/ 14 w 14"/>
                    <a:gd name="T11" fmla="*/ 4 h 18"/>
                    <a:gd name="T12" fmla="*/ 12 w 14"/>
                    <a:gd name="T13" fmla="*/ 1 h 18"/>
                    <a:gd name="T14" fmla="*/ 10 w 14"/>
                    <a:gd name="T15" fmla="*/ 0 h 18"/>
                    <a:gd name="T16" fmla="*/ 4 w 14"/>
                    <a:gd name="T17" fmla="*/ 1 h 18"/>
                    <a:gd name="T18" fmla="*/ 1 w 14"/>
                    <a:gd name="T19" fmla="*/ 5 h 18"/>
                    <a:gd name="T20" fmla="*/ 0 w 14"/>
                    <a:gd name="T21" fmla="*/ 7 h 18"/>
                    <a:gd name="T22" fmla="*/ 2 w 14"/>
                    <a:gd name="T23" fmla="*/ 13 h 18"/>
                    <a:gd name="T24" fmla="*/ 4 w 14"/>
                    <a:gd name="T25" fmla="*/ 14 h 18"/>
                    <a:gd name="T26" fmla="*/ 4 w 14"/>
                    <a:gd name="T2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8">
                      <a:moveTo>
                        <a:pt x="4" y="14"/>
                      </a:moveTo>
                      <a:lnTo>
                        <a:pt x="6" y="18"/>
                      </a:lnTo>
                      <a:lnTo>
                        <a:pt x="10" y="14"/>
                      </a:lnTo>
                      <a:lnTo>
                        <a:pt x="12" y="10"/>
                      </a:lnTo>
                      <a:lnTo>
                        <a:pt x="13" y="6"/>
                      </a:lnTo>
                      <a:lnTo>
                        <a:pt x="14" y="4"/>
                      </a:lnTo>
                      <a:lnTo>
                        <a:pt x="12" y="1"/>
                      </a:lnTo>
                      <a:lnTo>
                        <a:pt x="10" y="0"/>
                      </a:lnTo>
                      <a:lnTo>
                        <a:pt x="4" y="1"/>
                      </a:lnTo>
                      <a:lnTo>
                        <a:pt x="1" y="5"/>
                      </a:lnTo>
                      <a:lnTo>
                        <a:pt x="0" y="7"/>
                      </a:lnTo>
                      <a:lnTo>
                        <a:pt x="2" y="13"/>
                      </a:lnTo>
                      <a:lnTo>
                        <a:pt x="4" y="14"/>
                      </a:lnTo>
                      <a:lnTo>
                        <a:pt x="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86" name="Freeform 48">
                  <a:extLst>
                    <a:ext uri="{FF2B5EF4-FFF2-40B4-BE49-F238E27FC236}">
                      <a16:creationId xmlns:a16="http://schemas.microsoft.com/office/drawing/2014/main" id="{F1745CA2-A383-C8A9-47EE-DCA78FB302A3}"/>
                    </a:ext>
                  </a:extLst>
                </p:cNvPr>
                <p:cNvSpPr>
                  <a:spLocks/>
                </p:cNvSpPr>
                <p:nvPr/>
              </p:nvSpPr>
              <p:spPr bwMode="auto">
                <a:xfrm>
                  <a:off x="2597" y="1659"/>
                  <a:ext cx="16" cy="13"/>
                </a:xfrm>
                <a:custGeom>
                  <a:avLst/>
                  <a:gdLst>
                    <a:gd name="T0" fmla="*/ 13 w 16"/>
                    <a:gd name="T1" fmla="*/ 0 h 13"/>
                    <a:gd name="T2" fmla="*/ 10 w 16"/>
                    <a:gd name="T3" fmla="*/ 0 h 13"/>
                    <a:gd name="T4" fmla="*/ 7 w 16"/>
                    <a:gd name="T5" fmla="*/ 6 h 13"/>
                    <a:gd name="T6" fmla="*/ 4 w 16"/>
                    <a:gd name="T7" fmla="*/ 7 h 13"/>
                    <a:gd name="T8" fmla="*/ 1 w 16"/>
                    <a:gd name="T9" fmla="*/ 9 h 13"/>
                    <a:gd name="T10" fmla="*/ 0 w 16"/>
                    <a:gd name="T11" fmla="*/ 13 h 13"/>
                    <a:gd name="T12" fmla="*/ 4 w 16"/>
                    <a:gd name="T13" fmla="*/ 13 h 13"/>
                    <a:gd name="T14" fmla="*/ 8 w 16"/>
                    <a:gd name="T15" fmla="*/ 10 h 13"/>
                    <a:gd name="T16" fmla="*/ 13 w 16"/>
                    <a:gd name="T17" fmla="*/ 5 h 13"/>
                    <a:gd name="T18" fmla="*/ 16 w 16"/>
                    <a:gd name="T19" fmla="*/ 2 h 13"/>
                    <a:gd name="T20" fmla="*/ 15 w 16"/>
                    <a:gd name="T21" fmla="*/ 0 h 13"/>
                    <a:gd name="T22" fmla="*/ 13 w 16"/>
                    <a:gd name="T23" fmla="*/ 0 h 13"/>
                    <a:gd name="T24" fmla="*/ 13 w 16"/>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3">
                      <a:moveTo>
                        <a:pt x="13" y="0"/>
                      </a:moveTo>
                      <a:lnTo>
                        <a:pt x="10" y="0"/>
                      </a:lnTo>
                      <a:lnTo>
                        <a:pt x="7" y="6"/>
                      </a:lnTo>
                      <a:lnTo>
                        <a:pt x="4" y="7"/>
                      </a:lnTo>
                      <a:lnTo>
                        <a:pt x="1" y="9"/>
                      </a:lnTo>
                      <a:lnTo>
                        <a:pt x="0" y="13"/>
                      </a:lnTo>
                      <a:lnTo>
                        <a:pt x="4" y="13"/>
                      </a:lnTo>
                      <a:lnTo>
                        <a:pt x="8" y="10"/>
                      </a:lnTo>
                      <a:lnTo>
                        <a:pt x="13" y="5"/>
                      </a:lnTo>
                      <a:lnTo>
                        <a:pt x="16" y="2"/>
                      </a:lnTo>
                      <a:lnTo>
                        <a:pt x="15" y="0"/>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87" name="Freeform 49">
                  <a:extLst>
                    <a:ext uri="{FF2B5EF4-FFF2-40B4-BE49-F238E27FC236}">
                      <a16:creationId xmlns:a16="http://schemas.microsoft.com/office/drawing/2014/main" id="{CF0EAE69-43B5-B952-DAB2-A103FA6762F8}"/>
                    </a:ext>
                  </a:extLst>
                </p:cNvPr>
                <p:cNvSpPr>
                  <a:spLocks/>
                </p:cNvSpPr>
                <p:nvPr/>
              </p:nvSpPr>
              <p:spPr bwMode="auto">
                <a:xfrm>
                  <a:off x="2601" y="1683"/>
                  <a:ext cx="3" cy="4"/>
                </a:xfrm>
                <a:custGeom>
                  <a:avLst/>
                  <a:gdLst>
                    <a:gd name="T0" fmla="*/ 1 w 3"/>
                    <a:gd name="T1" fmla="*/ 0 h 4"/>
                    <a:gd name="T2" fmla="*/ 0 w 3"/>
                    <a:gd name="T3" fmla="*/ 1 h 4"/>
                    <a:gd name="T4" fmla="*/ 0 w 3"/>
                    <a:gd name="T5" fmla="*/ 4 h 4"/>
                    <a:gd name="T6" fmla="*/ 3 w 3"/>
                    <a:gd name="T7" fmla="*/ 3 h 4"/>
                    <a:gd name="T8" fmla="*/ 3 w 3"/>
                    <a:gd name="T9" fmla="*/ 1 h 4"/>
                    <a:gd name="T10" fmla="*/ 1 w 3"/>
                    <a:gd name="T11" fmla="*/ 0 h 4"/>
                    <a:gd name="T12" fmla="*/ 1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0"/>
                      </a:moveTo>
                      <a:lnTo>
                        <a:pt x="0" y="1"/>
                      </a:lnTo>
                      <a:lnTo>
                        <a:pt x="0" y="4"/>
                      </a:lnTo>
                      <a:lnTo>
                        <a:pt x="3" y="3"/>
                      </a:lnTo>
                      <a:lnTo>
                        <a:pt x="3" y="1"/>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88" name="Freeform 50">
                  <a:extLst>
                    <a:ext uri="{FF2B5EF4-FFF2-40B4-BE49-F238E27FC236}">
                      <a16:creationId xmlns:a16="http://schemas.microsoft.com/office/drawing/2014/main" id="{313A1660-1411-7D5B-0870-8762C1A57F92}"/>
                    </a:ext>
                  </a:extLst>
                </p:cNvPr>
                <p:cNvSpPr>
                  <a:spLocks/>
                </p:cNvSpPr>
                <p:nvPr/>
              </p:nvSpPr>
              <p:spPr bwMode="auto">
                <a:xfrm>
                  <a:off x="2606" y="1650"/>
                  <a:ext cx="12" cy="6"/>
                </a:xfrm>
                <a:custGeom>
                  <a:avLst/>
                  <a:gdLst>
                    <a:gd name="T0" fmla="*/ 8 w 12"/>
                    <a:gd name="T1" fmla="*/ 0 h 6"/>
                    <a:gd name="T2" fmla="*/ 2 w 12"/>
                    <a:gd name="T3" fmla="*/ 2 h 6"/>
                    <a:gd name="T4" fmla="*/ 0 w 12"/>
                    <a:gd name="T5" fmla="*/ 5 h 6"/>
                    <a:gd name="T6" fmla="*/ 2 w 12"/>
                    <a:gd name="T7" fmla="*/ 6 h 6"/>
                    <a:gd name="T8" fmla="*/ 12 w 12"/>
                    <a:gd name="T9" fmla="*/ 2 h 6"/>
                    <a:gd name="T10" fmla="*/ 8 w 12"/>
                    <a:gd name="T11" fmla="*/ 0 h 6"/>
                    <a:gd name="T12" fmla="*/ 8 w 1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8" y="0"/>
                      </a:moveTo>
                      <a:lnTo>
                        <a:pt x="2" y="2"/>
                      </a:lnTo>
                      <a:lnTo>
                        <a:pt x="0" y="5"/>
                      </a:lnTo>
                      <a:lnTo>
                        <a:pt x="2" y="6"/>
                      </a:lnTo>
                      <a:lnTo>
                        <a:pt x="12" y="2"/>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89" name="Freeform 51">
                  <a:extLst>
                    <a:ext uri="{FF2B5EF4-FFF2-40B4-BE49-F238E27FC236}">
                      <a16:creationId xmlns:a16="http://schemas.microsoft.com/office/drawing/2014/main" id="{E70960AF-C90A-602D-0331-0E72012B979E}"/>
                    </a:ext>
                  </a:extLst>
                </p:cNvPr>
                <p:cNvSpPr>
                  <a:spLocks/>
                </p:cNvSpPr>
                <p:nvPr/>
              </p:nvSpPr>
              <p:spPr bwMode="auto">
                <a:xfrm>
                  <a:off x="2611" y="1793"/>
                  <a:ext cx="11" cy="9"/>
                </a:xfrm>
                <a:custGeom>
                  <a:avLst/>
                  <a:gdLst>
                    <a:gd name="T0" fmla="*/ 2 w 11"/>
                    <a:gd name="T1" fmla="*/ 0 h 9"/>
                    <a:gd name="T2" fmla="*/ 0 w 11"/>
                    <a:gd name="T3" fmla="*/ 1 h 9"/>
                    <a:gd name="T4" fmla="*/ 0 w 11"/>
                    <a:gd name="T5" fmla="*/ 3 h 9"/>
                    <a:gd name="T6" fmla="*/ 5 w 11"/>
                    <a:gd name="T7" fmla="*/ 9 h 9"/>
                    <a:gd name="T8" fmla="*/ 8 w 11"/>
                    <a:gd name="T9" fmla="*/ 9 h 9"/>
                    <a:gd name="T10" fmla="*/ 11 w 11"/>
                    <a:gd name="T11" fmla="*/ 8 h 9"/>
                    <a:gd name="T12" fmla="*/ 11 w 11"/>
                    <a:gd name="T13" fmla="*/ 4 h 9"/>
                    <a:gd name="T14" fmla="*/ 10 w 11"/>
                    <a:gd name="T15" fmla="*/ 2 h 9"/>
                    <a:gd name="T16" fmla="*/ 7 w 11"/>
                    <a:gd name="T17" fmla="*/ 1 h 9"/>
                    <a:gd name="T18" fmla="*/ 4 w 11"/>
                    <a:gd name="T19" fmla="*/ 1 h 9"/>
                    <a:gd name="T20" fmla="*/ 2 w 11"/>
                    <a:gd name="T21" fmla="*/ 0 h 9"/>
                    <a:gd name="T22" fmla="*/ 2 w 1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2" y="0"/>
                      </a:moveTo>
                      <a:lnTo>
                        <a:pt x="0" y="1"/>
                      </a:lnTo>
                      <a:lnTo>
                        <a:pt x="0" y="3"/>
                      </a:lnTo>
                      <a:lnTo>
                        <a:pt x="5" y="9"/>
                      </a:lnTo>
                      <a:lnTo>
                        <a:pt x="8" y="9"/>
                      </a:lnTo>
                      <a:lnTo>
                        <a:pt x="11" y="8"/>
                      </a:lnTo>
                      <a:lnTo>
                        <a:pt x="11" y="4"/>
                      </a:lnTo>
                      <a:lnTo>
                        <a:pt x="10" y="2"/>
                      </a:lnTo>
                      <a:lnTo>
                        <a:pt x="7" y="1"/>
                      </a:lnTo>
                      <a:lnTo>
                        <a:pt x="4" y="1"/>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90" name="Freeform 52">
                  <a:extLst>
                    <a:ext uri="{FF2B5EF4-FFF2-40B4-BE49-F238E27FC236}">
                      <a16:creationId xmlns:a16="http://schemas.microsoft.com/office/drawing/2014/main" id="{1700FC53-D1CA-6477-E003-7A49F631BDD8}"/>
                    </a:ext>
                  </a:extLst>
                </p:cNvPr>
                <p:cNvSpPr>
                  <a:spLocks/>
                </p:cNvSpPr>
                <p:nvPr/>
              </p:nvSpPr>
              <p:spPr bwMode="auto">
                <a:xfrm>
                  <a:off x="2625" y="1657"/>
                  <a:ext cx="10" cy="8"/>
                </a:xfrm>
                <a:custGeom>
                  <a:avLst/>
                  <a:gdLst>
                    <a:gd name="T0" fmla="*/ 4 w 10"/>
                    <a:gd name="T1" fmla="*/ 0 h 8"/>
                    <a:gd name="T2" fmla="*/ 0 w 10"/>
                    <a:gd name="T3" fmla="*/ 1 h 8"/>
                    <a:gd name="T4" fmla="*/ 0 w 10"/>
                    <a:gd name="T5" fmla="*/ 4 h 8"/>
                    <a:gd name="T6" fmla="*/ 0 w 10"/>
                    <a:gd name="T7" fmla="*/ 7 h 8"/>
                    <a:gd name="T8" fmla="*/ 4 w 10"/>
                    <a:gd name="T9" fmla="*/ 8 h 8"/>
                    <a:gd name="T10" fmla="*/ 6 w 10"/>
                    <a:gd name="T11" fmla="*/ 8 h 8"/>
                    <a:gd name="T12" fmla="*/ 7 w 10"/>
                    <a:gd name="T13" fmla="*/ 6 h 8"/>
                    <a:gd name="T14" fmla="*/ 10 w 10"/>
                    <a:gd name="T15" fmla="*/ 3 h 8"/>
                    <a:gd name="T16" fmla="*/ 10 w 10"/>
                    <a:gd name="T17" fmla="*/ 1 h 8"/>
                    <a:gd name="T18" fmla="*/ 6 w 10"/>
                    <a:gd name="T19" fmla="*/ 1 h 8"/>
                    <a:gd name="T20" fmla="*/ 4 w 10"/>
                    <a:gd name="T21" fmla="*/ 0 h 8"/>
                    <a:gd name="T22" fmla="*/ 4 w 10"/>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4" y="0"/>
                      </a:moveTo>
                      <a:lnTo>
                        <a:pt x="0" y="1"/>
                      </a:lnTo>
                      <a:lnTo>
                        <a:pt x="0" y="4"/>
                      </a:lnTo>
                      <a:lnTo>
                        <a:pt x="0" y="7"/>
                      </a:lnTo>
                      <a:lnTo>
                        <a:pt x="4" y="8"/>
                      </a:lnTo>
                      <a:lnTo>
                        <a:pt x="6" y="8"/>
                      </a:lnTo>
                      <a:lnTo>
                        <a:pt x="7" y="6"/>
                      </a:lnTo>
                      <a:lnTo>
                        <a:pt x="10" y="3"/>
                      </a:lnTo>
                      <a:lnTo>
                        <a:pt x="10" y="1"/>
                      </a:lnTo>
                      <a:lnTo>
                        <a:pt x="6" y="1"/>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91" name="Freeform 53">
                  <a:extLst>
                    <a:ext uri="{FF2B5EF4-FFF2-40B4-BE49-F238E27FC236}">
                      <a16:creationId xmlns:a16="http://schemas.microsoft.com/office/drawing/2014/main" id="{6220F764-DC21-FE32-DAA8-5158DC0FCE8E}"/>
                    </a:ext>
                  </a:extLst>
                </p:cNvPr>
                <p:cNvSpPr>
                  <a:spLocks/>
                </p:cNvSpPr>
                <p:nvPr/>
              </p:nvSpPr>
              <p:spPr bwMode="auto">
                <a:xfrm>
                  <a:off x="2627" y="1684"/>
                  <a:ext cx="30" cy="26"/>
                </a:xfrm>
                <a:custGeom>
                  <a:avLst/>
                  <a:gdLst>
                    <a:gd name="T0" fmla="*/ 1 w 30"/>
                    <a:gd name="T1" fmla="*/ 22 h 26"/>
                    <a:gd name="T2" fmla="*/ 2 w 30"/>
                    <a:gd name="T3" fmla="*/ 24 h 26"/>
                    <a:gd name="T4" fmla="*/ 4 w 30"/>
                    <a:gd name="T5" fmla="*/ 25 h 26"/>
                    <a:gd name="T6" fmla="*/ 8 w 30"/>
                    <a:gd name="T7" fmla="*/ 26 h 26"/>
                    <a:gd name="T8" fmla="*/ 15 w 30"/>
                    <a:gd name="T9" fmla="*/ 25 h 26"/>
                    <a:gd name="T10" fmla="*/ 18 w 30"/>
                    <a:gd name="T11" fmla="*/ 25 h 26"/>
                    <a:gd name="T12" fmla="*/ 23 w 30"/>
                    <a:gd name="T13" fmla="*/ 23 h 26"/>
                    <a:gd name="T14" fmla="*/ 27 w 30"/>
                    <a:gd name="T15" fmla="*/ 22 h 26"/>
                    <a:gd name="T16" fmla="*/ 29 w 30"/>
                    <a:gd name="T17" fmla="*/ 19 h 26"/>
                    <a:gd name="T18" fmla="*/ 30 w 30"/>
                    <a:gd name="T19" fmla="*/ 16 h 26"/>
                    <a:gd name="T20" fmla="*/ 29 w 30"/>
                    <a:gd name="T21" fmla="*/ 8 h 26"/>
                    <a:gd name="T22" fmla="*/ 30 w 30"/>
                    <a:gd name="T23" fmla="*/ 6 h 26"/>
                    <a:gd name="T24" fmla="*/ 29 w 30"/>
                    <a:gd name="T25" fmla="*/ 2 h 26"/>
                    <a:gd name="T26" fmla="*/ 21 w 30"/>
                    <a:gd name="T27" fmla="*/ 0 h 26"/>
                    <a:gd name="T28" fmla="*/ 18 w 30"/>
                    <a:gd name="T29" fmla="*/ 0 h 26"/>
                    <a:gd name="T30" fmla="*/ 15 w 30"/>
                    <a:gd name="T31" fmla="*/ 1 h 26"/>
                    <a:gd name="T32" fmla="*/ 12 w 30"/>
                    <a:gd name="T33" fmla="*/ 0 h 26"/>
                    <a:gd name="T34" fmla="*/ 8 w 30"/>
                    <a:gd name="T35" fmla="*/ 2 h 26"/>
                    <a:gd name="T36" fmla="*/ 4 w 30"/>
                    <a:gd name="T37" fmla="*/ 5 h 26"/>
                    <a:gd name="T38" fmla="*/ 1 w 30"/>
                    <a:gd name="T39" fmla="*/ 10 h 26"/>
                    <a:gd name="T40" fmla="*/ 0 w 30"/>
                    <a:gd name="T41" fmla="*/ 13 h 26"/>
                    <a:gd name="T42" fmla="*/ 0 w 30"/>
                    <a:gd name="T43" fmla="*/ 15 h 26"/>
                    <a:gd name="T44" fmla="*/ 0 w 30"/>
                    <a:gd name="T45" fmla="*/ 18 h 26"/>
                    <a:gd name="T46" fmla="*/ 0 w 30"/>
                    <a:gd name="T47" fmla="*/ 20 h 26"/>
                    <a:gd name="T48" fmla="*/ 1 w 30"/>
                    <a:gd name="T49" fmla="*/ 22 h 26"/>
                    <a:gd name="T50" fmla="*/ 1 w 30"/>
                    <a:gd name="T5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6">
                      <a:moveTo>
                        <a:pt x="1" y="22"/>
                      </a:moveTo>
                      <a:lnTo>
                        <a:pt x="2" y="24"/>
                      </a:lnTo>
                      <a:lnTo>
                        <a:pt x="4" y="25"/>
                      </a:lnTo>
                      <a:lnTo>
                        <a:pt x="8" y="26"/>
                      </a:lnTo>
                      <a:lnTo>
                        <a:pt x="15" y="25"/>
                      </a:lnTo>
                      <a:lnTo>
                        <a:pt x="18" y="25"/>
                      </a:lnTo>
                      <a:lnTo>
                        <a:pt x="23" y="23"/>
                      </a:lnTo>
                      <a:lnTo>
                        <a:pt x="27" y="22"/>
                      </a:lnTo>
                      <a:lnTo>
                        <a:pt x="29" y="19"/>
                      </a:lnTo>
                      <a:lnTo>
                        <a:pt x="30" y="16"/>
                      </a:lnTo>
                      <a:lnTo>
                        <a:pt x="29" y="8"/>
                      </a:lnTo>
                      <a:lnTo>
                        <a:pt x="30" y="6"/>
                      </a:lnTo>
                      <a:lnTo>
                        <a:pt x="29" y="2"/>
                      </a:lnTo>
                      <a:lnTo>
                        <a:pt x="21" y="0"/>
                      </a:lnTo>
                      <a:lnTo>
                        <a:pt x="18" y="0"/>
                      </a:lnTo>
                      <a:lnTo>
                        <a:pt x="15" y="1"/>
                      </a:lnTo>
                      <a:lnTo>
                        <a:pt x="12" y="0"/>
                      </a:lnTo>
                      <a:lnTo>
                        <a:pt x="8" y="2"/>
                      </a:lnTo>
                      <a:lnTo>
                        <a:pt x="4" y="5"/>
                      </a:lnTo>
                      <a:lnTo>
                        <a:pt x="1" y="10"/>
                      </a:lnTo>
                      <a:lnTo>
                        <a:pt x="0" y="13"/>
                      </a:lnTo>
                      <a:lnTo>
                        <a:pt x="0" y="15"/>
                      </a:lnTo>
                      <a:lnTo>
                        <a:pt x="0" y="18"/>
                      </a:lnTo>
                      <a:lnTo>
                        <a:pt x="0" y="20"/>
                      </a:lnTo>
                      <a:lnTo>
                        <a:pt x="1" y="22"/>
                      </a:lnTo>
                      <a:lnTo>
                        <a:pt x="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92" name="Freeform 54">
                  <a:extLst>
                    <a:ext uri="{FF2B5EF4-FFF2-40B4-BE49-F238E27FC236}">
                      <a16:creationId xmlns:a16="http://schemas.microsoft.com/office/drawing/2014/main" id="{36E78C81-0E1F-C348-224C-3B706CF46963}"/>
                    </a:ext>
                  </a:extLst>
                </p:cNvPr>
                <p:cNvSpPr>
                  <a:spLocks/>
                </p:cNvSpPr>
                <p:nvPr/>
              </p:nvSpPr>
              <p:spPr bwMode="auto">
                <a:xfrm>
                  <a:off x="2666" y="1681"/>
                  <a:ext cx="4" cy="4"/>
                </a:xfrm>
                <a:custGeom>
                  <a:avLst/>
                  <a:gdLst>
                    <a:gd name="T0" fmla="*/ 0 w 4"/>
                    <a:gd name="T1" fmla="*/ 0 h 4"/>
                    <a:gd name="T2" fmla="*/ 0 w 4"/>
                    <a:gd name="T3" fmla="*/ 2 h 4"/>
                    <a:gd name="T4" fmla="*/ 4 w 4"/>
                    <a:gd name="T5" fmla="*/ 4 h 4"/>
                    <a:gd name="T6" fmla="*/ 4 w 4"/>
                    <a:gd name="T7" fmla="*/ 2 h 4"/>
                    <a:gd name="T8" fmla="*/ 0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2"/>
                      </a:lnTo>
                      <a:lnTo>
                        <a:pt x="4" y="4"/>
                      </a:lnTo>
                      <a:lnTo>
                        <a:pt x="4"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93" name="Rectangle 55">
                  <a:extLst>
                    <a:ext uri="{FF2B5EF4-FFF2-40B4-BE49-F238E27FC236}">
                      <a16:creationId xmlns:a16="http://schemas.microsoft.com/office/drawing/2014/main" id="{E43CB8BF-9109-5995-A992-C2A2698AF710}"/>
                    </a:ext>
                  </a:extLst>
                </p:cNvPr>
                <p:cNvSpPr>
                  <a:spLocks noChangeArrowheads="1"/>
                </p:cNvSpPr>
                <p:nvPr/>
              </p:nvSpPr>
              <p:spPr bwMode="auto">
                <a:xfrm>
                  <a:off x="2521" y="139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94" name="Freeform 56">
                  <a:extLst>
                    <a:ext uri="{FF2B5EF4-FFF2-40B4-BE49-F238E27FC236}">
                      <a16:creationId xmlns:a16="http://schemas.microsoft.com/office/drawing/2014/main" id="{ED81286E-DE80-41CF-B1E1-F18C38AD705B}"/>
                    </a:ext>
                  </a:extLst>
                </p:cNvPr>
                <p:cNvSpPr>
                  <a:spLocks/>
                </p:cNvSpPr>
                <p:nvPr/>
              </p:nvSpPr>
              <p:spPr bwMode="auto">
                <a:xfrm>
                  <a:off x="2521" y="1331"/>
                  <a:ext cx="35" cy="4"/>
                </a:xfrm>
                <a:custGeom>
                  <a:avLst/>
                  <a:gdLst>
                    <a:gd name="T0" fmla="*/ 0 w 35"/>
                    <a:gd name="T1" fmla="*/ 4 h 4"/>
                    <a:gd name="T2" fmla="*/ 0 w 35"/>
                    <a:gd name="T3" fmla="*/ 3 h 4"/>
                    <a:gd name="T4" fmla="*/ 22 w 35"/>
                    <a:gd name="T5" fmla="*/ 1 h 4"/>
                    <a:gd name="T6" fmla="*/ 30 w 35"/>
                    <a:gd name="T7" fmla="*/ 0 h 4"/>
                    <a:gd name="T8" fmla="*/ 35 w 35"/>
                    <a:gd name="T9" fmla="*/ 0 h 4"/>
                    <a:gd name="T10" fmla="*/ 30 w 35"/>
                    <a:gd name="T11" fmla="*/ 2 h 4"/>
                    <a:gd name="T12" fmla="*/ 24 w 35"/>
                    <a:gd name="T13" fmla="*/ 2 h 4"/>
                    <a:gd name="T14" fmla="*/ 18 w 35"/>
                    <a:gd name="T15" fmla="*/ 3 h 4"/>
                    <a:gd name="T16" fmla="*/ 12 w 35"/>
                    <a:gd name="T17" fmla="*/ 3 h 4"/>
                    <a:gd name="T18" fmla="*/ 4 w 35"/>
                    <a:gd name="T19" fmla="*/ 4 h 4"/>
                    <a:gd name="T20" fmla="*/ 0 w 35"/>
                    <a:gd name="T21" fmla="*/ 4 h 4"/>
                    <a:gd name="T22" fmla="*/ 0 w 35"/>
                    <a:gd name="T23" fmla="*/ 4 h 4"/>
                    <a:gd name="T24" fmla="*/ 0 w 35"/>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
                      <a:moveTo>
                        <a:pt x="0" y="4"/>
                      </a:moveTo>
                      <a:lnTo>
                        <a:pt x="0" y="3"/>
                      </a:lnTo>
                      <a:lnTo>
                        <a:pt x="22" y="1"/>
                      </a:lnTo>
                      <a:lnTo>
                        <a:pt x="30" y="0"/>
                      </a:lnTo>
                      <a:lnTo>
                        <a:pt x="35" y="0"/>
                      </a:lnTo>
                      <a:lnTo>
                        <a:pt x="30" y="2"/>
                      </a:lnTo>
                      <a:lnTo>
                        <a:pt x="24" y="2"/>
                      </a:lnTo>
                      <a:lnTo>
                        <a:pt x="18" y="3"/>
                      </a:lnTo>
                      <a:lnTo>
                        <a:pt x="12" y="3"/>
                      </a:lnTo>
                      <a:lnTo>
                        <a:pt x="4"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95" name="Freeform 57">
                  <a:extLst>
                    <a:ext uri="{FF2B5EF4-FFF2-40B4-BE49-F238E27FC236}">
                      <a16:creationId xmlns:a16="http://schemas.microsoft.com/office/drawing/2014/main" id="{138E0358-BCA0-25CB-BB13-8A287039FE42}"/>
                    </a:ext>
                  </a:extLst>
                </p:cNvPr>
                <p:cNvSpPr>
                  <a:spLocks/>
                </p:cNvSpPr>
                <p:nvPr/>
              </p:nvSpPr>
              <p:spPr bwMode="auto">
                <a:xfrm>
                  <a:off x="2521" y="1326"/>
                  <a:ext cx="3" cy="2"/>
                </a:xfrm>
                <a:custGeom>
                  <a:avLst/>
                  <a:gdLst>
                    <a:gd name="T0" fmla="*/ 0 w 3"/>
                    <a:gd name="T1" fmla="*/ 2 h 2"/>
                    <a:gd name="T2" fmla="*/ 0 w 3"/>
                    <a:gd name="T3" fmla="*/ 0 h 2"/>
                    <a:gd name="T4" fmla="*/ 0 w 3"/>
                    <a:gd name="T5" fmla="*/ 0 h 2"/>
                    <a:gd name="T6" fmla="*/ 3 w 3"/>
                    <a:gd name="T7" fmla="*/ 2 h 2"/>
                    <a:gd name="T8" fmla="*/ 0 w 3"/>
                    <a:gd name="T9" fmla="*/ 2 h 2"/>
                    <a:gd name="T10" fmla="*/ 0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0" y="2"/>
                      </a:moveTo>
                      <a:lnTo>
                        <a:pt x="0" y="0"/>
                      </a:lnTo>
                      <a:lnTo>
                        <a:pt x="0" y="0"/>
                      </a:lnTo>
                      <a:lnTo>
                        <a:pt x="3"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96" name="Freeform 58">
                  <a:extLst>
                    <a:ext uri="{FF2B5EF4-FFF2-40B4-BE49-F238E27FC236}">
                      <a16:creationId xmlns:a16="http://schemas.microsoft.com/office/drawing/2014/main" id="{2C95E3BA-5521-82D9-A3A2-31693FAA5F1F}"/>
                    </a:ext>
                  </a:extLst>
                </p:cNvPr>
                <p:cNvSpPr>
                  <a:spLocks/>
                </p:cNvSpPr>
                <p:nvPr/>
              </p:nvSpPr>
              <p:spPr bwMode="auto">
                <a:xfrm>
                  <a:off x="2521" y="1306"/>
                  <a:ext cx="0" cy="1"/>
                </a:xfrm>
                <a:custGeom>
                  <a:avLst/>
                  <a:gdLst>
                    <a:gd name="T0" fmla="*/ 1 h 1"/>
                    <a:gd name="T1" fmla="*/ 0 h 1"/>
                    <a:gd name="T2" fmla="*/ 1 h 1"/>
                    <a:gd name="T3" fmla="*/ 1 h 1"/>
                    <a:gd name="T4" fmla="*/ 1 h 1"/>
                  </a:gdLst>
                  <a:ahLst/>
                  <a:cxnLst>
                    <a:cxn ang="0">
                      <a:pos x="0" y="T0"/>
                    </a:cxn>
                    <a:cxn ang="0">
                      <a:pos x="0" y="T1"/>
                    </a:cxn>
                    <a:cxn ang="0">
                      <a:pos x="0" y="T2"/>
                    </a:cxn>
                    <a:cxn ang="0">
                      <a:pos x="0" y="T3"/>
                    </a:cxn>
                    <a:cxn ang="0">
                      <a:pos x="0" y="T4"/>
                    </a:cxn>
                  </a:cxnLst>
                  <a:rect l="0" t="0" r="r" b="b"/>
                  <a:pathLst>
                    <a:path h="1">
                      <a:moveTo>
                        <a:pt x="0" y="1"/>
                      </a:moveTo>
                      <a:lnTo>
                        <a:pt x="0" y="0"/>
                      </a:lnTo>
                      <a:lnTo>
                        <a:pt x="0"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97" name="Freeform 59">
                  <a:extLst>
                    <a:ext uri="{FF2B5EF4-FFF2-40B4-BE49-F238E27FC236}">
                      <a16:creationId xmlns:a16="http://schemas.microsoft.com/office/drawing/2014/main" id="{51C633C9-A0DD-BD5C-A9CD-A8391060769C}"/>
                    </a:ext>
                  </a:extLst>
                </p:cNvPr>
                <p:cNvSpPr>
                  <a:spLocks/>
                </p:cNvSpPr>
                <p:nvPr/>
              </p:nvSpPr>
              <p:spPr bwMode="auto">
                <a:xfrm>
                  <a:off x="2520" y="1305"/>
                  <a:ext cx="1" cy="1"/>
                </a:xfrm>
                <a:custGeom>
                  <a:avLst/>
                  <a:gdLst>
                    <a:gd name="T0" fmla="*/ 1 w 1"/>
                    <a:gd name="T1" fmla="*/ 1 h 1"/>
                    <a:gd name="T2" fmla="*/ 0 w 1"/>
                    <a:gd name="T3" fmla="*/ 0 h 1"/>
                    <a:gd name="T4" fmla="*/ 1 w 1"/>
                    <a:gd name="T5" fmla="*/ 0 h 1"/>
                    <a:gd name="T6" fmla="*/ 1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0" y="0"/>
                      </a:lnTo>
                      <a:lnTo>
                        <a:pt x="1" y="0"/>
                      </a:lnTo>
                      <a:lnTo>
                        <a:pt x="1" y="1"/>
                      </a:ln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98" name="Freeform 60">
                  <a:extLst>
                    <a:ext uri="{FF2B5EF4-FFF2-40B4-BE49-F238E27FC236}">
                      <a16:creationId xmlns:a16="http://schemas.microsoft.com/office/drawing/2014/main" id="{86966C62-5528-3AB2-D679-EA67E9170C6A}"/>
                    </a:ext>
                  </a:extLst>
                </p:cNvPr>
                <p:cNvSpPr>
                  <a:spLocks/>
                </p:cNvSpPr>
                <p:nvPr/>
              </p:nvSpPr>
              <p:spPr bwMode="auto">
                <a:xfrm>
                  <a:off x="2521" y="1304"/>
                  <a:ext cx="3" cy="3"/>
                </a:xfrm>
                <a:custGeom>
                  <a:avLst/>
                  <a:gdLst>
                    <a:gd name="T0" fmla="*/ 0 w 3"/>
                    <a:gd name="T1" fmla="*/ 1 h 3"/>
                    <a:gd name="T2" fmla="*/ 0 w 3"/>
                    <a:gd name="T3" fmla="*/ 0 h 3"/>
                    <a:gd name="T4" fmla="*/ 0 w 3"/>
                    <a:gd name="T5" fmla="*/ 0 h 3"/>
                    <a:gd name="T6" fmla="*/ 3 w 3"/>
                    <a:gd name="T7" fmla="*/ 1 h 3"/>
                    <a:gd name="T8" fmla="*/ 3 w 3"/>
                    <a:gd name="T9" fmla="*/ 3 h 3"/>
                    <a:gd name="T10" fmla="*/ 1 w 3"/>
                    <a:gd name="T11" fmla="*/ 1 h 3"/>
                    <a:gd name="T12" fmla="*/ 0 w 3"/>
                    <a:gd name="T13" fmla="*/ 1 h 3"/>
                    <a:gd name="T14" fmla="*/ 0 w 3"/>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1"/>
                      </a:moveTo>
                      <a:lnTo>
                        <a:pt x="0" y="0"/>
                      </a:lnTo>
                      <a:lnTo>
                        <a:pt x="0" y="0"/>
                      </a:lnTo>
                      <a:lnTo>
                        <a:pt x="3" y="1"/>
                      </a:lnTo>
                      <a:lnTo>
                        <a:pt x="3" y="3"/>
                      </a:lnTo>
                      <a:lnTo>
                        <a:pt x="1" y="1"/>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99" name="Freeform 61">
                  <a:extLst>
                    <a:ext uri="{FF2B5EF4-FFF2-40B4-BE49-F238E27FC236}">
                      <a16:creationId xmlns:a16="http://schemas.microsoft.com/office/drawing/2014/main" id="{9F966C30-1042-4823-97EF-EC4E7CA230D5}"/>
                    </a:ext>
                  </a:extLst>
                </p:cNvPr>
                <p:cNvSpPr>
                  <a:spLocks/>
                </p:cNvSpPr>
                <p:nvPr/>
              </p:nvSpPr>
              <p:spPr bwMode="auto">
                <a:xfrm>
                  <a:off x="2764" y="2549"/>
                  <a:ext cx="21" cy="8"/>
                </a:xfrm>
                <a:custGeom>
                  <a:avLst/>
                  <a:gdLst>
                    <a:gd name="T0" fmla="*/ 18 w 21"/>
                    <a:gd name="T1" fmla="*/ 8 h 8"/>
                    <a:gd name="T2" fmla="*/ 19 w 21"/>
                    <a:gd name="T3" fmla="*/ 7 h 8"/>
                    <a:gd name="T4" fmla="*/ 21 w 21"/>
                    <a:gd name="T5" fmla="*/ 5 h 8"/>
                    <a:gd name="T6" fmla="*/ 20 w 21"/>
                    <a:gd name="T7" fmla="*/ 2 h 8"/>
                    <a:gd name="T8" fmla="*/ 18 w 21"/>
                    <a:gd name="T9" fmla="*/ 1 h 8"/>
                    <a:gd name="T10" fmla="*/ 2 w 21"/>
                    <a:gd name="T11" fmla="*/ 0 h 8"/>
                    <a:gd name="T12" fmla="*/ 0 w 21"/>
                    <a:gd name="T13" fmla="*/ 2 h 8"/>
                    <a:gd name="T14" fmla="*/ 2 w 21"/>
                    <a:gd name="T15" fmla="*/ 8 h 8"/>
                    <a:gd name="T16" fmla="*/ 4 w 21"/>
                    <a:gd name="T17" fmla="*/ 8 h 8"/>
                    <a:gd name="T18" fmla="*/ 6 w 21"/>
                    <a:gd name="T19" fmla="*/ 8 h 8"/>
                    <a:gd name="T20" fmla="*/ 12 w 21"/>
                    <a:gd name="T21" fmla="*/ 8 h 8"/>
                    <a:gd name="T22" fmla="*/ 14 w 21"/>
                    <a:gd name="T23" fmla="*/ 8 h 8"/>
                    <a:gd name="T24" fmla="*/ 18 w 21"/>
                    <a:gd name="T25" fmla="*/ 8 h 8"/>
                    <a:gd name="T26" fmla="*/ 18 w 21"/>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8">
                      <a:moveTo>
                        <a:pt x="18" y="8"/>
                      </a:moveTo>
                      <a:lnTo>
                        <a:pt x="19" y="7"/>
                      </a:lnTo>
                      <a:lnTo>
                        <a:pt x="21" y="5"/>
                      </a:lnTo>
                      <a:lnTo>
                        <a:pt x="20" y="2"/>
                      </a:lnTo>
                      <a:lnTo>
                        <a:pt x="18" y="1"/>
                      </a:lnTo>
                      <a:lnTo>
                        <a:pt x="2" y="0"/>
                      </a:lnTo>
                      <a:lnTo>
                        <a:pt x="0" y="2"/>
                      </a:lnTo>
                      <a:lnTo>
                        <a:pt x="2" y="8"/>
                      </a:lnTo>
                      <a:lnTo>
                        <a:pt x="4" y="8"/>
                      </a:lnTo>
                      <a:lnTo>
                        <a:pt x="6" y="8"/>
                      </a:lnTo>
                      <a:lnTo>
                        <a:pt x="12" y="8"/>
                      </a:lnTo>
                      <a:lnTo>
                        <a:pt x="14" y="8"/>
                      </a:lnTo>
                      <a:lnTo>
                        <a:pt x="18" y="8"/>
                      </a:lnTo>
                      <a:lnTo>
                        <a:pt x="1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00" name="Freeform 62">
                  <a:extLst>
                    <a:ext uri="{FF2B5EF4-FFF2-40B4-BE49-F238E27FC236}">
                      <a16:creationId xmlns:a16="http://schemas.microsoft.com/office/drawing/2014/main" id="{701F7DE9-738F-840F-AAAD-F9B8FBC08CEE}"/>
                    </a:ext>
                  </a:extLst>
                </p:cNvPr>
                <p:cNvSpPr>
                  <a:spLocks/>
                </p:cNvSpPr>
                <p:nvPr/>
              </p:nvSpPr>
              <p:spPr bwMode="auto">
                <a:xfrm>
                  <a:off x="2802" y="2111"/>
                  <a:ext cx="33" cy="17"/>
                </a:xfrm>
                <a:custGeom>
                  <a:avLst/>
                  <a:gdLst>
                    <a:gd name="T0" fmla="*/ 29 w 33"/>
                    <a:gd name="T1" fmla="*/ 8 h 17"/>
                    <a:gd name="T2" fmla="*/ 18 w 33"/>
                    <a:gd name="T3" fmla="*/ 9 h 17"/>
                    <a:gd name="T4" fmla="*/ 13 w 33"/>
                    <a:gd name="T5" fmla="*/ 7 h 17"/>
                    <a:gd name="T6" fmla="*/ 10 w 33"/>
                    <a:gd name="T7" fmla="*/ 8 h 17"/>
                    <a:gd name="T8" fmla="*/ 7 w 33"/>
                    <a:gd name="T9" fmla="*/ 8 h 17"/>
                    <a:gd name="T10" fmla="*/ 8 w 33"/>
                    <a:gd name="T11" fmla="*/ 6 h 17"/>
                    <a:gd name="T12" fmla="*/ 5 w 33"/>
                    <a:gd name="T13" fmla="*/ 3 h 17"/>
                    <a:gd name="T14" fmla="*/ 7 w 33"/>
                    <a:gd name="T15" fmla="*/ 1 h 17"/>
                    <a:gd name="T16" fmla="*/ 4 w 33"/>
                    <a:gd name="T17" fmla="*/ 0 h 17"/>
                    <a:gd name="T18" fmla="*/ 0 w 33"/>
                    <a:gd name="T19" fmla="*/ 6 h 17"/>
                    <a:gd name="T20" fmla="*/ 4 w 33"/>
                    <a:gd name="T21" fmla="*/ 6 h 17"/>
                    <a:gd name="T22" fmla="*/ 5 w 33"/>
                    <a:gd name="T23" fmla="*/ 9 h 17"/>
                    <a:gd name="T24" fmla="*/ 10 w 33"/>
                    <a:gd name="T25" fmla="*/ 10 h 17"/>
                    <a:gd name="T26" fmla="*/ 10 w 33"/>
                    <a:gd name="T27" fmla="*/ 12 h 17"/>
                    <a:gd name="T28" fmla="*/ 13 w 33"/>
                    <a:gd name="T29" fmla="*/ 14 h 17"/>
                    <a:gd name="T30" fmla="*/ 16 w 33"/>
                    <a:gd name="T31" fmla="*/ 14 h 17"/>
                    <a:gd name="T32" fmla="*/ 18 w 33"/>
                    <a:gd name="T33" fmla="*/ 12 h 17"/>
                    <a:gd name="T34" fmla="*/ 22 w 33"/>
                    <a:gd name="T35" fmla="*/ 14 h 17"/>
                    <a:gd name="T36" fmla="*/ 22 w 33"/>
                    <a:gd name="T37" fmla="*/ 17 h 17"/>
                    <a:gd name="T38" fmla="*/ 24 w 33"/>
                    <a:gd name="T39" fmla="*/ 17 h 17"/>
                    <a:gd name="T40" fmla="*/ 27 w 33"/>
                    <a:gd name="T41" fmla="*/ 17 h 17"/>
                    <a:gd name="T42" fmla="*/ 27 w 33"/>
                    <a:gd name="T43" fmla="*/ 14 h 17"/>
                    <a:gd name="T44" fmla="*/ 29 w 33"/>
                    <a:gd name="T45" fmla="*/ 11 h 17"/>
                    <a:gd name="T46" fmla="*/ 33 w 33"/>
                    <a:gd name="T47" fmla="*/ 9 h 17"/>
                    <a:gd name="T48" fmla="*/ 31 w 33"/>
                    <a:gd name="T49" fmla="*/ 8 h 17"/>
                    <a:gd name="T50" fmla="*/ 29 w 33"/>
                    <a:gd name="T51" fmla="*/ 8 h 17"/>
                    <a:gd name="T52" fmla="*/ 29 w 33"/>
                    <a:gd name="T5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 h="17">
                      <a:moveTo>
                        <a:pt x="29" y="8"/>
                      </a:moveTo>
                      <a:lnTo>
                        <a:pt x="18" y="9"/>
                      </a:lnTo>
                      <a:lnTo>
                        <a:pt x="13" y="7"/>
                      </a:lnTo>
                      <a:lnTo>
                        <a:pt x="10" y="8"/>
                      </a:lnTo>
                      <a:lnTo>
                        <a:pt x="7" y="8"/>
                      </a:lnTo>
                      <a:lnTo>
                        <a:pt x="8" y="6"/>
                      </a:lnTo>
                      <a:lnTo>
                        <a:pt x="5" y="3"/>
                      </a:lnTo>
                      <a:lnTo>
                        <a:pt x="7" y="1"/>
                      </a:lnTo>
                      <a:lnTo>
                        <a:pt x="4" y="0"/>
                      </a:lnTo>
                      <a:lnTo>
                        <a:pt x="0" y="6"/>
                      </a:lnTo>
                      <a:lnTo>
                        <a:pt x="4" y="6"/>
                      </a:lnTo>
                      <a:lnTo>
                        <a:pt x="5" y="9"/>
                      </a:lnTo>
                      <a:lnTo>
                        <a:pt x="10" y="10"/>
                      </a:lnTo>
                      <a:lnTo>
                        <a:pt x="10" y="12"/>
                      </a:lnTo>
                      <a:lnTo>
                        <a:pt x="13" y="14"/>
                      </a:lnTo>
                      <a:lnTo>
                        <a:pt x="16" y="14"/>
                      </a:lnTo>
                      <a:lnTo>
                        <a:pt x="18" y="12"/>
                      </a:lnTo>
                      <a:lnTo>
                        <a:pt x="22" y="14"/>
                      </a:lnTo>
                      <a:lnTo>
                        <a:pt x="22" y="17"/>
                      </a:lnTo>
                      <a:lnTo>
                        <a:pt x="24" y="17"/>
                      </a:lnTo>
                      <a:lnTo>
                        <a:pt x="27" y="17"/>
                      </a:lnTo>
                      <a:lnTo>
                        <a:pt x="27" y="14"/>
                      </a:lnTo>
                      <a:lnTo>
                        <a:pt x="29" y="11"/>
                      </a:lnTo>
                      <a:lnTo>
                        <a:pt x="33" y="9"/>
                      </a:lnTo>
                      <a:lnTo>
                        <a:pt x="31" y="8"/>
                      </a:lnTo>
                      <a:lnTo>
                        <a:pt x="29" y="8"/>
                      </a:lnTo>
                      <a:lnTo>
                        <a:pt x="2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01" name="Freeform 63">
                  <a:extLst>
                    <a:ext uri="{FF2B5EF4-FFF2-40B4-BE49-F238E27FC236}">
                      <a16:creationId xmlns:a16="http://schemas.microsoft.com/office/drawing/2014/main" id="{CC3A9956-3B69-9106-B5AC-AEC7E8AA7F19}"/>
                    </a:ext>
                  </a:extLst>
                </p:cNvPr>
                <p:cNvSpPr>
                  <a:spLocks/>
                </p:cNvSpPr>
                <p:nvPr/>
              </p:nvSpPr>
              <p:spPr bwMode="auto">
                <a:xfrm>
                  <a:off x="2932" y="1636"/>
                  <a:ext cx="42" cy="27"/>
                </a:xfrm>
                <a:custGeom>
                  <a:avLst/>
                  <a:gdLst>
                    <a:gd name="T0" fmla="*/ 4 w 42"/>
                    <a:gd name="T1" fmla="*/ 7 h 27"/>
                    <a:gd name="T2" fmla="*/ 10 w 42"/>
                    <a:gd name="T3" fmla="*/ 10 h 27"/>
                    <a:gd name="T4" fmla="*/ 4 w 42"/>
                    <a:gd name="T5" fmla="*/ 8 h 27"/>
                    <a:gd name="T6" fmla="*/ 2 w 42"/>
                    <a:gd name="T7" fmla="*/ 10 h 27"/>
                    <a:gd name="T8" fmla="*/ 0 w 42"/>
                    <a:gd name="T9" fmla="*/ 12 h 27"/>
                    <a:gd name="T10" fmla="*/ 4 w 42"/>
                    <a:gd name="T11" fmla="*/ 13 h 27"/>
                    <a:gd name="T12" fmla="*/ 6 w 42"/>
                    <a:gd name="T13" fmla="*/ 15 h 27"/>
                    <a:gd name="T14" fmla="*/ 4 w 42"/>
                    <a:gd name="T15" fmla="*/ 14 h 27"/>
                    <a:gd name="T16" fmla="*/ 0 w 42"/>
                    <a:gd name="T17" fmla="*/ 16 h 27"/>
                    <a:gd name="T18" fmla="*/ 4 w 42"/>
                    <a:gd name="T19" fmla="*/ 17 h 27"/>
                    <a:gd name="T20" fmla="*/ 6 w 42"/>
                    <a:gd name="T21" fmla="*/ 19 h 27"/>
                    <a:gd name="T22" fmla="*/ 12 w 42"/>
                    <a:gd name="T23" fmla="*/ 19 h 27"/>
                    <a:gd name="T24" fmla="*/ 17 w 42"/>
                    <a:gd name="T25" fmla="*/ 21 h 27"/>
                    <a:gd name="T26" fmla="*/ 20 w 42"/>
                    <a:gd name="T27" fmla="*/ 19 h 27"/>
                    <a:gd name="T28" fmla="*/ 22 w 42"/>
                    <a:gd name="T29" fmla="*/ 21 h 27"/>
                    <a:gd name="T30" fmla="*/ 19 w 42"/>
                    <a:gd name="T31" fmla="*/ 21 h 27"/>
                    <a:gd name="T32" fmla="*/ 16 w 42"/>
                    <a:gd name="T33" fmla="*/ 22 h 27"/>
                    <a:gd name="T34" fmla="*/ 13 w 42"/>
                    <a:gd name="T35" fmla="*/ 21 h 27"/>
                    <a:gd name="T36" fmla="*/ 11 w 42"/>
                    <a:gd name="T37" fmla="*/ 23 h 27"/>
                    <a:gd name="T38" fmla="*/ 13 w 42"/>
                    <a:gd name="T39" fmla="*/ 24 h 27"/>
                    <a:gd name="T40" fmla="*/ 16 w 42"/>
                    <a:gd name="T41" fmla="*/ 25 h 27"/>
                    <a:gd name="T42" fmla="*/ 20 w 42"/>
                    <a:gd name="T43" fmla="*/ 27 h 27"/>
                    <a:gd name="T44" fmla="*/ 37 w 42"/>
                    <a:gd name="T45" fmla="*/ 21 h 27"/>
                    <a:gd name="T46" fmla="*/ 39 w 42"/>
                    <a:gd name="T47" fmla="*/ 20 h 27"/>
                    <a:gd name="T48" fmla="*/ 42 w 42"/>
                    <a:gd name="T49" fmla="*/ 17 h 27"/>
                    <a:gd name="T50" fmla="*/ 41 w 42"/>
                    <a:gd name="T51" fmla="*/ 15 h 27"/>
                    <a:gd name="T52" fmla="*/ 40 w 42"/>
                    <a:gd name="T53" fmla="*/ 12 h 27"/>
                    <a:gd name="T54" fmla="*/ 31 w 42"/>
                    <a:gd name="T55" fmla="*/ 10 h 27"/>
                    <a:gd name="T56" fmla="*/ 29 w 42"/>
                    <a:gd name="T57" fmla="*/ 7 h 27"/>
                    <a:gd name="T58" fmla="*/ 27 w 42"/>
                    <a:gd name="T59" fmla="*/ 5 h 27"/>
                    <a:gd name="T60" fmla="*/ 21 w 42"/>
                    <a:gd name="T61" fmla="*/ 2 h 27"/>
                    <a:gd name="T62" fmla="*/ 10 w 42"/>
                    <a:gd name="T63" fmla="*/ 0 h 27"/>
                    <a:gd name="T64" fmla="*/ 7 w 42"/>
                    <a:gd name="T65" fmla="*/ 0 h 27"/>
                    <a:gd name="T66" fmla="*/ 4 w 42"/>
                    <a:gd name="T67" fmla="*/ 0 h 27"/>
                    <a:gd name="T68" fmla="*/ 2 w 42"/>
                    <a:gd name="T69" fmla="*/ 4 h 27"/>
                    <a:gd name="T70" fmla="*/ 2 w 42"/>
                    <a:gd name="T71" fmla="*/ 6 h 27"/>
                    <a:gd name="T72" fmla="*/ 4 w 42"/>
                    <a:gd name="T73" fmla="*/ 7 h 27"/>
                    <a:gd name="T74" fmla="*/ 4 w 42"/>
                    <a:gd name="T75"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27">
                      <a:moveTo>
                        <a:pt x="4" y="7"/>
                      </a:moveTo>
                      <a:lnTo>
                        <a:pt x="10" y="10"/>
                      </a:lnTo>
                      <a:lnTo>
                        <a:pt x="4" y="8"/>
                      </a:lnTo>
                      <a:lnTo>
                        <a:pt x="2" y="10"/>
                      </a:lnTo>
                      <a:lnTo>
                        <a:pt x="0" y="12"/>
                      </a:lnTo>
                      <a:lnTo>
                        <a:pt x="4" y="13"/>
                      </a:lnTo>
                      <a:lnTo>
                        <a:pt x="6" y="15"/>
                      </a:lnTo>
                      <a:lnTo>
                        <a:pt x="4" y="14"/>
                      </a:lnTo>
                      <a:lnTo>
                        <a:pt x="0" y="16"/>
                      </a:lnTo>
                      <a:lnTo>
                        <a:pt x="4" y="17"/>
                      </a:lnTo>
                      <a:lnTo>
                        <a:pt x="6" y="19"/>
                      </a:lnTo>
                      <a:lnTo>
                        <a:pt x="12" y="19"/>
                      </a:lnTo>
                      <a:lnTo>
                        <a:pt x="17" y="21"/>
                      </a:lnTo>
                      <a:lnTo>
                        <a:pt x="20" y="19"/>
                      </a:lnTo>
                      <a:lnTo>
                        <a:pt x="22" y="21"/>
                      </a:lnTo>
                      <a:lnTo>
                        <a:pt x="19" y="21"/>
                      </a:lnTo>
                      <a:lnTo>
                        <a:pt x="16" y="22"/>
                      </a:lnTo>
                      <a:lnTo>
                        <a:pt x="13" y="21"/>
                      </a:lnTo>
                      <a:lnTo>
                        <a:pt x="11" y="23"/>
                      </a:lnTo>
                      <a:lnTo>
                        <a:pt x="13" y="24"/>
                      </a:lnTo>
                      <a:lnTo>
                        <a:pt x="16" y="25"/>
                      </a:lnTo>
                      <a:lnTo>
                        <a:pt x="20" y="27"/>
                      </a:lnTo>
                      <a:lnTo>
                        <a:pt x="37" y="21"/>
                      </a:lnTo>
                      <a:lnTo>
                        <a:pt x="39" y="20"/>
                      </a:lnTo>
                      <a:lnTo>
                        <a:pt x="42" y="17"/>
                      </a:lnTo>
                      <a:lnTo>
                        <a:pt x="41" y="15"/>
                      </a:lnTo>
                      <a:lnTo>
                        <a:pt x="40" y="12"/>
                      </a:lnTo>
                      <a:lnTo>
                        <a:pt x="31" y="10"/>
                      </a:lnTo>
                      <a:lnTo>
                        <a:pt x="29" y="7"/>
                      </a:lnTo>
                      <a:lnTo>
                        <a:pt x="27" y="5"/>
                      </a:lnTo>
                      <a:lnTo>
                        <a:pt x="21" y="2"/>
                      </a:lnTo>
                      <a:lnTo>
                        <a:pt x="10" y="0"/>
                      </a:lnTo>
                      <a:lnTo>
                        <a:pt x="7" y="0"/>
                      </a:lnTo>
                      <a:lnTo>
                        <a:pt x="4" y="0"/>
                      </a:lnTo>
                      <a:lnTo>
                        <a:pt x="2" y="4"/>
                      </a:lnTo>
                      <a:lnTo>
                        <a:pt x="2" y="6"/>
                      </a:lnTo>
                      <a:lnTo>
                        <a:pt x="4" y="7"/>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02" name="Freeform 64">
                  <a:extLst>
                    <a:ext uri="{FF2B5EF4-FFF2-40B4-BE49-F238E27FC236}">
                      <a16:creationId xmlns:a16="http://schemas.microsoft.com/office/drawing/2014/main" id="{2795E217-1DD2-5FD5-D90C-D0D19AAEFE00}"/>
                    </a:ext>
                  </a:extLst>
                </p:cNvPr>
                <p:cNvSpPr>
                  <a:spLocks/>
                </p:cNvSpPr>
                <p:nvPr/>
              </p:nvSpPr>
              <p:spPr bwMode="auto">
                <a:xfrm>
                  <a:off x="2801" y="2059"/>
                  <a:ext cx="39" cy="15"/>
                </a:xfrm>
                <a:custGeom>
                  <a:avLst/>
                  <a:gdLst>
                    <a:gd name="T0" fmla="*/ 35 w 39"/>
                    <a:gd name="T1" fmla="*/ 10 h 15"/>
                    <a:gd name="T2" fmla="*/ 33 w 39"/>
                    <a:gd name="T3" fmla="*/ 9 h 15"/>
                    <a:gd name="T4" fmla="*/ 27 w 39"/>
                    <a:gd name="T5" fmla="*/ 6 h 15"/>
                    <a:gd name="T6" fmla="*/ 19 w 39"/>
                    <a:gd name="T7" fmla="*/ 2 h 15"/>
                    <a:gd name="T8" fmla="*/ 16 w 39"/>
                    <a:gd name="T9" fmla="*/ 2 h 15"/>
                    <a:gd name="T10" fmla="*/ 14 w 39"/>
                    <a:gd name="T11" fmla="*/ 1 h 15"/>
                    <a:gd name="T12" fmla="*/ 9 w 39"/>
                    <a:gd name="T13" fmla="*/ 1 h 15"/>
                    <a:gd name="T14" fmla="*/ 6 w 39"/>
                    <a:gd name="T15" fmla="*/ 0 h 15"/>
                    <a:gd name="T16" fmla="*/ 0 w 39"/>
                    <a:gd name="T17" fmla="*/ 1 h 15"/>
                    <a:gd name="T18" fmla="*/ 3 w 39"/>
                    <a:gd name="T19" fmla="*/ 2 h 15"/>
                    <a:gd name="T20" fmla="*/ 9 w 39"/>
                    <a:gd name="T21" fmla="*/ 4 h 15"/>
                    <a:gd name="T22" fmla="*/ 11 w 39"/>
                    <a:gd name="T23" fmla="*/ 7 h 15"/>
                    <a:gd name="T24" fmla="*/ 13 w 39"/>
                    <a:gd name="T25" fmla="*/ 9 h 15"/>
                    <a:gd name="T26" fmla="*/ 16 w 39"/>
                    <a:gd name="T27" fmla="*/ 10 h 15"/>
                    <a:gd name="T28" fmla="*/ 24 w 39"/>
                    <a:gd name="T29" fmla="*/ 13 h 15"/>
                    <a:gd name="T30" fmla="*/ 32 w 39"/>
                    <a:gd name="T31" fmla="*/ 15 h 15"/>
                    <a:gd name="T32" fmla="*/ 37 w 39"/>
                    <a:gd name="T33" fmla="*/ 15 h 15"/>
                    <a:gd name="T34" fmla="*/ 39 w 39"/>
                    <a:gd name="T35" fmla="*/ 12 h 15"/>
                    <a:gd name="T36" fmla="*/ 35 w 39"/>
                    <a:gd name="T3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5">
                      <a:moveTo>
                        <a:pt x="35" y="10"/>
                      </a:moveTo>
                      <a:lnTo>
                        <a:pt x="33" y="9"/>
                      </a:lnTo>
                      <a:lnTo>
                        <a:pt x="27" y="6"/>
                      </a:lnTo>
                      <a:lnTo>
                        <a:pt x="19" y="2"/>
                      </a:lnTo>
                      <a:lnTo>
                        <a:pt x="16" y="2"/>
                      </a:lnTo>
                      <a:lnTo>
                        <a:pt x="14" y="1"/>
                      </a:lnTo>
                      <a:lnTo>
                        <a:pt x="9" y="1"/>
                      </a:lnTo>
                      <a:lnTo>
                        <a:pt x="6" y="0"/>
                      </a:lnTo>
                      <a:lnTo>
                        <a:pt x="0" y="1"/>
                      </a:lnTo>
                      <a:lnTo>
                        <a:pt x="3" y="2"/>
                      </a:lnTo>
                      <a:lnTo>
                        <a:pt x="9" y="4"/>
                      </a:lnTo>
                      <a:lnTo>
                        <a:pt x="11" y="7"/>
                      </a:lnTo>
                      <a:lnTo>
                        <a:pt x="13" y="9"/>
                      </a:lnTo>
                      <a:lnTo>
                        <a:pt x="16" y="10"/>
                      </a:lnTo>
                      <a:lnTo>
                        <a:pt x="24" y="13"/>
                      </a:lnTo>
                      <a:lnTo>
                        <a:pt x="32" y="15"/>
                      </a:lnTo>
                      <a:lnTo>
                        <a:pt x="37" y="15"/>
                      </a:lnTo>
                      <a:lnTo>
                        <a:pt x="39" y="12"/>
                      </a:lnTo>
                      <a:lnTo>
                        <a:pt x="3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03" name="Freeform 65">
                  <a:extLst>
                    <a:ext uri="{FF2B5EF4-FFF2-40B4-BE49-F238E27FC236}">
                      <a16:creationId xmlns:a16="http://schemas.microsoft.com/office/drawing/2014/main" id="{5D6D8CB8-691B-8A7C-C411-3327C6C4E50A}"/>
                    </a:ext>
                  </a:extLst>
                </p:cNvPr>
                <p:cNvSpPr>
                  <a:spLocks/>
                </p:cNvSpPr>
                <p:nvPr/>
              </p:nvSpPr>
              <p:spPr bwMode="auto">
                <a:xfrm>
                  <a:off x="3022" y="1274"/>
                  <a:ext cx="11" cy="4"/>
                </a:xfrm>
                <a:custGeom>
                  <a:avLst/>
                  <a:gdLst>
                    <a:gd name="T0" fmla="*/ 1 w 11"/>
                    <a:gd name="T1" fmla="*/ 4 h 4"/>
                    <a:gd name="T2" fmla="*/ 8 w 11"/>
                    <a:gd name="T3" fmla="*/ 4 h 4"/>
                    <a:gd name="T4" fmla="*/ 11 w 11"/>
                    <a:gd name="T5" fmla="*/ 2 h 4"/>
                    <a:gd name="T6" fmla="*/ 9 w 11"/>
                    <a:gd name="T7" fmla="*/ 1 h 4"/>
                    <a:gd name="T8" fmla="*/ 2 w 11"/>
                    <a:gd name="T9" fmla="*/ 0 h 4"/>
                    <a:gd name="T10" fmla="*/ 0 w 11"/>
                    <a:gd name="T11" fmla="*/ 1 h 4"/>
                    <a:gd name="T12" fmla="*/ 1 w 11"/>
                    <a:gd name="T13" fmla="*/ 4 h 4"/>
                    <a:gd name="T14" fmla="*/ 1 w 11"/>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1" y="4"/>
                      </a:moveTo>
                      <a:lnTo>
                        <a:pt x="8" y="4"/>
                      </a:lnTo>
                      <a:lnTo>
                        <a:pt x="11" y="2"/>
                      </a:lnTo>
                      <a:lnTo>
                        <a:pt x="9" y="1"/>
                      </a:lnTo>
                      <a:lnTo>
                        <a:pt x="2" y="0"/>
                      </a:lnTo>
                      <a:lnTo>
                        <a:pt x="0" y="1"/>
                      </a:lnTo>
                      <a:lnTo>
                        <a:pt x="1" y="4"/>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04" name="Freeform 66">
                  <a:extLst>
                    <a:ext uri="{FF2B5EF4-FFF2-40B4-BE49-F238E27FC236}">
                      <a16:creationId xmlns:a16="http://schemas.microsoft.com/office/drawing/2014/main" id="{CFF13951-ACB7-8217-61C6-575FA92F1425}"/>
                    </a:ext>
                  </a:extLst>
                </p:cNvPr>
                <p:cNvSpPr>
                  <a:spLocks/>
                </p:cNvSpPr>
                <p:nvPr/>
              </p:nvSpPr>
              <p:spPr bwMode="auto">
                <a:xfrm>
                  <a:off x="3032" y="1281"/>
                  <a:ext cx="43" cy="21"/>
                </a:xfrm>
                <a:custGeom>
                  <a:avLst/>
                  <a:gdLst>
                    <a:gd name="T0" fmla="*/ 6 w 43"/>
                    <a:gd name="T1" fmla="*/ 6 h 21"/>
                    <a:gd name="T2" fmla="*/ 11 w 43"/>
                    <a:gd name="T3" fmla="*/ 11 h 21"/>
                    <a:gd name="T4" fmla="*/ 28 w 43"/>
                    <a:gd name="T5" fmla="*/ 16 h 21"/>
                    <a:gd name="T6" fmla="*/ 31 w 43"/>
                    <a:gd name="T7" fmla="*/ 17 h 21"/>
                    <a:gd name="T8" fmla="*/ 34 w 43"/>
                    <a:gd name="T9" fmla="*/ 20 h 21"/>
                    <a:gd name="T10" fmla="*/ 36 w 43"/>
                    <a:gd name="T11" fmla="*/ 21 h 21"/>
                    <a:gd name="T12" fmla="*/ 39 w 43"/>
                    <a:gd name="T13" fmla="*/ 20 h 21"/>
                    <a:gd name="T14" fmla="*/ 36 w 43"/>
                    <a:gd name="T15" fmla="*/ 15 h 21"/>
                    <a:gd name="T16" fmla="*/ 39 w 43"/>
                    <a:gd name="T17" fmla="*/ 13 h 21"/>
                    <a:gd name="T18" fmla="*/ 42 w 43"/>
                    <a:gd name="T19" fmla="*/ 12 h 21"/>
                    <a:gd name="T20" fmla="*/ 43 w 43"/>
                    <a:gd name="T21" fmla="*/ 9 h 21"/>
                    <a:gd name="T22" fmla="*/ 41 w 43"/>
                    <a:gd name="T23" fmla="*/ 8 h 21"/>
                    <a:gd name="T24" fmla="*/ 38 w 43"/>
                    <a:gd name="T25" fmla="*/ 7 h 21"/>
                    <a:gd name="T26" fmla="*/ 35 w 43"/>
                    <a:gd name="T27" fmla="*/ 6 h 21"/>
                    <a:gd name="T28" fmla="*/ 24 w 43"/>
                    <a:gd name="T29" fmla="*/ 2 h 21"/>
                    <a:gd name="T30" fmla="*/ 18 w 43"/>
                    <a:gd name="T31" fmla="*/ 0 h 21"/>
                    <a:gd name="T32" fmla="*/ 13 w 43"/>
                    <a:gd name="T33" fmla="*/ 0 h 21"/>
                    <a:gd name="T34" fmla="*/ 9 w 43"/>
                    <a:gd name="T35" fmla="*/ 1 h 21"/>
                    <a:gd name="T36" fmla="*/ 0 w 43"/>
                    <a:gd name="T37" fmla="*/ 1 h 21"/>
                    <a:gd name="T38" fmla="*/ 6 w 43"/>
                    <a:gd name="T39" fmla="*/ 6 h 21"/>
                    <a:gd name="T40" fmla="*/ 6 w 43"/>
                    <a:gd name="T41"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21">
                      <a:moveTo>
                        <a:pt x="6" y="6"/>
                      </a:moveTo>
                      <a:lnTo>
                        <a:pt x="11" y="11"/>
                      </a:lnTo>
                      <a:lnTo>
                        <a:pt x="28" y="16"/>
                      </a:lnTo>
                      <a:lnTo>
                        <a:pt x="31" y="17"/>
                      </a:lnTo>
                      <a:lnTo>
                        <a:pt x="34" y="20"/>
                      </a:lnTo>
                      <a:lnTo>
                        <a:pt x="36" y="21"/>
                      </a:lnTo>
                      <a:lnTo>
                        <a:pt x="39" y="20"/>
                      </a:lnTo>
                      <a:lnTo>
                        <a:pt x="36" y="15"/>
                      </a:lnTo>
                      <a:lnTo>
                        <a:pt x="39" y="13"/>
                      </a:lnTo>
                      <a:lnTo>
                        <a:pt x="42" y="12"/>
                      </a:lnTo>
                      <a:lnTo>
                        <a:pt x="43" y="9"/>
                      </a:lnTo>
                      <a:lnTo>
                        <a:pt x="41" y="8"/>
                      </a:lnTo>
                      <a:lnTo>
                        <a:pt x="38" y="7"/>
                      </a:lnTo>
                      <a:lnTo>
                        <a:pt x="35" y="6"/>
                      </a:lnTo>
                      <a:lnTo>
                        <a:pt x="24" y="2"/>
                      </a:lnTo>
                      <a:lnTo>
                        <a:pt x="18" y="0"/>
                      </a:lnTo>
                      <a:lnTo>
                        <a:pt x="13" y="0"/>
                      </a:lnTo>
                      <a:lnTo>
                        <a:pt x="9" y="1"/>
                      </a:lnTo>
                      <a:lnTo>
                        <a:pt x="0" y="1"/>
                      </a:lnTo>
                      <a:lnTo>
                        <a:pt x="6" y="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05" name="Freeform 67">
                  <a:extLst>
                    <a:ext uri="{FF2B5EF4-FFF2-40B4-BE49-F238E27FC236}">
                      <a16:creationId xmlns:a16="http://schemas.microsoft.com/office/drawing/2014/main" id="{42264805-62C5-64A3-DCD6-62EDD42DD379}"/>
                    </a:ext>
                  </a:extLst>
                </p:cNvPr>
                <p:cNvSpPr>
                  <a:spLocks/>
                </p:cNvSpPr>
                <p:nvPr/>
              </p:nvSpPr>
              <p:spPr bwMode="auto">
                <a:xfrm>
                  <a:off x="3118" y="1264"/>
                  <a:ext cx="21" cy="7"/>
                </a:xfrm>
                <a:custGeom>
                  <a:avLst/>
                  <a:gdLst>
                    <a:gd name="T0" fmla="*/ 21 w 21"/>
                    <a:gd name="T1" fmla="*/ 7 h 7"/>
                    <a:gd name="T2" fmla="*/ 19 w 21"/>
                    <a:gd name="T3" fmla="*/ 6 h 7"/>
                    <a:gd name="T4" fmla="*/ 16 w 21"/>
                    <a:gd name="T5" fmla="*/ 4 h 7"/>
                    <a:gd name="T6" fmla="*/ 13 w 21"/>
                    <a:gd name="T7" fmla="*/ 3 h 7"/>
                    <a:gd name="T8" fmla="*/ 9 w 21"/>
                    <a:gd name="T9" fmla="*/ 2 h 7"/>
                    <a:gd name="T10" fmla="*/ 7 w 21"/>
                    <a:gd name="T11" fmla="*/ 0 h 7"/>
                    <a:gd name="T12" fmla="*/ 4 w 21"/>
                    <a:gd name="T13" fmla="*/ 0 h 7"/>
                    <a:gd name="T14" fmla="*/ 0 w 21"/>
                    <a:gd name="T15" fmla="*/ 1 h 7"/>
                    <a:gd name="T16" fmla="*/ 12 w 21"/>
                    <a:gd name="T17" fmla="*/ 7 h 7"/>
                    <a:gd name="T18" fmla="*/ 21 w 21"/>
                    <a:gd name="T19" fmla="*/ 7 h 7"/>
                    <a:gd name="T20" fmla="*/ 21 w 21"/>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7">
                      <a:moveTo>
                        <a:pt x="21" y="7"/>
                      </a:moveTo>
                      <a:lnTo>
                        <a:pt x="19" y="6"/>
                      </a:lnTo>
                      <a:lnTo>
                        <a:pt x="16" y="4"/>
                      </a:lnTo>
                      <a:lnTo>
                        <a:pt x="13" y="3"/>
                      </a:lnTo>
                      <a:lnTo>
                        <a:pt x="9" y="2"/>
                      </a:lnTo>
                      <a:lnTo>
                        <a:pt x="7" y="0"/>
                      </a:lnTo>
                      <a:lnTo>
                        <a:pt x="4" y="0"/>
                      </a:lnTo>
                      <a:lnTo>
                        <a:pt x="0" y="1"/>
                      </a:lnTo>
                      <a:lnTo>
                        <a:pt x="12" y="7"/>
                      </a:lnTo>
                      <a:lnTo>
                        <a:pt x="21" y="7"/>
                      </a:lnTo>
                      <a:lnTo>
                        <a:pt x="2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06" name="Freeform 68">
                  <a:extLst>
                    <a:ext uri="{FF2B5EF4-FFF2-40B4-BE49-F238E27FC236}">
                      <a16:creationId xmlns:a16="http://schemas.microsoft.com/office/drawing/2014/main" id="{33C71F63-D287-5752-A7BB-2F2C476B651D}"/>
                    </a:ext>
                  </a:extLst>
                </p:cNvPr>
                <p:cNvSpPr>
                  <a:spLocks/>
                </p:cNvSpPr>
                <p:nvPr/>
              </p:nvSpPr>
              <p:spPr bwMode="auto">
                <a:xfrm>
                  <a:off x="3128" y="1258"/>
                  <a:ext cx="26" cy="8"/>
                </a:xfrm>
                <a:custGeom>
                  <a:avLst/>
                  <a:gdLst>
                    <a:gd name="T0" fmla="*/ 23 w 26"/>
                    <a:gd name="T1" fmla="*/ 8 h 8"/>
                    <a:gd name="T2" fmla="*/ 24 w 26"/>
                    <a:gd name="T3" fmla="*/ 8 h 8"/>
                    <a:gd name="T4" fmla="*/ 26 w 26"/>
                    <a:gd name="T5" fmla="*/ 8 h 8"/>
                    <a:gd name="T6" fmla="*/ 24 w 26"/>
                    <a:gd name="T7" fmla="*/ 6 h 8"/>
                    <a:gd name="T8" fmla="*/ 17 w 26"/>
                    <a:gd name="T9" fmla="*/ 5 h 8"/>
                    <a:gd name="T10" fmla="*/ 15 w 26"/>
                    <a:gd name="T11" fmla="*/ 5 h 8"/>
                    <a:gd name="T12" fmla="*/ 12 w 26"/>
                    <a:gd name="T13" fmla="*/ 3 h 8"/>
                    <a:gd name="T14" fmla="*/ 3 w 26"/>
                    <a:gd name="T15" fmla="*/ 0 h 8"/>
                    <a:gd name="T16" fmla="*/ 0 w 26"/>
                    <a:gd name="T17" fmla="*/ 4 h 8"/>
                    <a:gd name="T18" fmla="*/ 8 w 26"/>
                    <a:gd name="T19" fmla="*/ 4 h 8"/>
                    <a:gd name="T20" fmla="*/ 12 w 26"/>
                    <a:gd name="T21" fmla="*/ 6 h 8"/>
                    <a:gd name="T22" fmla="*/ 15 w 26"/>
                    <a:gd name="T23" fmla="*/ 7 h 8"/>
                    <a:gd name="T24" fmla="*/ 23 w 26"/>
                    <a:gd name="T25" fmla="*/ 8 h 8"/>
                    <a:gd name="T26" fmla="*/ 23 w 2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8">
                      <a:moveTo>
                        <a:pt x="23" y="8"/>
                      </a:moveTo>
                      <a:lnTo>
                        <a:pt x="24" y="8"/>
                      </a:lnTo>
                      <a:lnTo>
                        <a:pt x="26" y="8"/>
                      </a:lnTo>
                      <a:lnTo>
                        <a:pt x="24" y="6"/>
                      </a:lnTo>
                      <a:lnTo>
                        <a:pt x="17" y="5"/>
                      </a:lnTo>
                      <a:lnTo>
                        <a:pt x="15" y="5"/>
                      </a:lnTo>
                      <a:lnTo>
                        <a:pt x="12" y="3"/>
                      </a:lnTo>
                      <a:lnTo>
                        <a:pt x="3" y="0"/>
                      </a:lnTo>
                      <a:lnTo>
                        <a:pt x="0" y="4"/>
                      </a:lnTo>
                      <a:lnTo>
                        <a:pt x="8" y="4"/>
                      </a:lnTo>
                      <a:lnTo>
                        <a:pt x="12" y="6"/>
                      </a:lnTo>
                      <a:lnTo>
                        <a:pt x="15" y="7"/>
                      </a:lnTo>
                      <a:lnTo>
                        <a:pt x="23" y="8"/>
                      </a:lnTo>
                      <a:lnTo>
                        <a:pt x="2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07" name="Freeform 69">
                  <a:extLst>
                    <a:ext uri="{FF2B5EF4-FFF2-40B4-BE49-F238E27FC236}">
                      <a16:creationId xmlns:a16="http://schemas.microsoft.com/office/drawing/2014/main" id="{E941BEFF-42AF-DCE0-BA04-A30109F0068B}"/>
                    </a:ext>
                  </a:extLst>
                </p:cNvPr>
                <p:cNvSpPr>
                  <a:spLocks/>
                </p:cNvSpPr>
                <p:nvPr/>
              </p:nvSpPr>
              <p:spPr bwMode="auto">
                <a:xfrm>
                  <a:off x="3131" y="1264"/>
                  <a:ext cx="16" cy="7"/>
                </a:xfrm>
                <a:custGeom>
                  <a:avLst/>
                  <a:gdLst>
                    <a:gd name="T0" fmla="*/ 11 w 16"/>
                    <a:gd name="T1" fmla="*/ 7 h 7"/>
                    <a:gd name="T2" fmla="*/ 13 w 16"/>
                    <a:gd name="T3" fmla="*/ 6 h 7"/>
                    <a:gd name="T4" fmla="*/ 16 w 16"/>
                    <a:gd name="T5" fmla="*/ 3 h 7"/>
                    <a:gd name="T6" fmla="*/ 9 w 16"/>
                    <a:gd name="T7" fmla="*/ 2 h 7"/>
                    <a:gd name="T8" fmla="*/ 6 w 16"/>
                    <a:gd name="T9" fmla="*/ 1 h 7"/>
                    <a:gd name="T10" fmla="*/ 3 w 16"/>
                    <a:gd name="T11" fmla="*/ 0 h 7"/>
                    <a:gd name="T12" fmla="*/ 0 w 16"/>
                    <a:gd name="T13" fmla="*/ 2 h 7"/>
                    <a:gd name="T14" fmla="*/ 3 w 16"/>
                    <a:gd name="T15" fmla="*/ 3 h 7"/>
                    <a:gd name="T16" fmla="*/ 5 w 16"/>
                    <a:gd name="T17" fmla="*/ 3 h 7"/>
                    <a:gd name="T18" fmla="*/ 9 w 16"/>
                    <a:gd name="T19" fmla="*/ 6 h 7"/>
                    <a:gd name="T20" fmla="*/ 11 w 16"/>
                    <a:gd name="T21" fmla="*/ 7 h 7"/>
                    <a:gd name="T22" fmla="*/ 11 w 16"/>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7">
                      <a:moveTo>
                        <a:pt x="11" y="7"/>
                      </a:moveTo>
                      <a:lnTo>
                        <a:pt x="13" y="6"/>
                      </a:lnTo>
                      <a:lnTo>
                        <a:pt x="16" y="3"/>
                      </a:lnTo>
                      <a:lnTo>
                        <a:pt x="9" y="2"/>
                      </a:lnTo>
                      <a:lnTo>
                        <a:pt x="6" y="1"/>
                      </a:lnTo>
                      <a:lnTo>
                        <a:pt x="3" y="0"/>
                      </a:lnTo>
                      <a:lnTo>
                        <a:pt x="0" y="2"/>
                      </a:lnTo>
                      <a:lnTo>
                        <a:pt x="3" y="3"/>
                      </a:lnTo>
                      <a:lnTo>
                        <a:pt x="5" y="3"/>
                      </a:lnTo>
                      <a:lnTo>
                        <a:pt x="9" y="6"/>
                      </a:lnTo>
                      <a:lnTo>
                        <a:pt x="11" y="7"/>
                      </a:lnTo>
                      <a:lnTo>
                        <a:pt x="1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08" name="Freeform 70">
                  <a:extLst>
                    <a:ext uri="{FF2B5EF4-FFF2-40B4-BE49-F238E27FC236}">
                      <a16:creationId xmlns:a16="http://schemas.microsoft.com/office/drawing/2014/main" id="{9F03F496-A06F-B4A6-ABC6-999566D9CBD4}"/>
                    </a:ext>
                  </a:extLst>
                </p:cNvPr>
                <p:cNvSpPr>
                  <a:spLocks/>
                </p:cNvSpPr>
                <p:nvPr/>
              </p:nvSpPr>
              <p:spPr bwMode="auto">
                <a:xfrm>
                  <a:off x="2965" y="1297"/>
                  <a:ext cx="18" cy="8"/>
                </a:xfrm>
                <a:custGeom>
                  <a:avLst/>
                  <a:gdLst>
                    <a:gd name="T0" fmla="*/ 0 w 18"/>
                    <a:gd name="T1" fmla="*/ 5 h 8"/>
                    <a:gd name="T2" fmla="*/ 0 w 18"/>
                    <a:gd name="T3" fmla="*/ 0 h 8"/>
                    <a:gd name="T4" fmla="*/ 3 w 18"/>
                    <a:gd name="T5" fmla="*/ 1 h 8"/>
                    <a:gd name="T6" fmla="*/ 6 w 18"/>
                    <a:gd name="T7" fmla="*/ 1 h 8"/>
                    <a:gd name="T8" fmla="*/ 9 w 18"/>
                    <a:gd name="T9" fmla="*/ 2 h 8"/>
                    <a:gd name="T10" fmla="*/ 17 w 18"/>
                    <a:gd name="T11" fmla="*/ 7 h 8"/>
                    <a:gd name="T12" fmla="*/ 18 w 18"/>
                    <a:gd name="T13" fmla="*/ 8 h 8"/>
                    <a:gd name="T14" fmla="*/ 13 w 18"/>
                    <a:gd name="T15" fmla="*/ 8 h 8"/>
                    <a:gd name="T16" fmla="*/ 9 w 18"/>
                    <a:gd name="T17" fmla="*/ 8 h 8"/>
                    <a:gd name="T18" fmla="*/ 0 w 18"/>
                    <a:gd name="T19" fmla="*/ 5 h 8"/>
                    <a:gd name="T20" fmla="*/ 0 w 18"/>
                    <a:gd name="T21"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8">
                      <a:moveTo>
                        <a:pt x="0" y="5"/>
                      </a:moveTo>
                      <a:lnTo>
                        <a:pt x="0" y="0"/>
                      </a:lnTo>
                      <a:lnTo>
                        <a:pt x="3" y="1"/>
                      </a:lnTo>
                      <a:lnTo>
                        <a:pt x="6" y="1"/>
                      </a:lnTo>
                      <a:lnTo>
                        <a:pt x="9" y="2"/>
                      </a:lnTo>
                      <a:lnTo>
                        <a:pt x="17" y="7"/>
                      </a:lnTo>
                      <a:lnTo>
                        <a:pt x="18" y="8"/>
                      </a:lnTo>
                      <a:lnTo>
                        <a:pt x="13" y="8"/>
                      </a:lnTo>
                      <a:lnTo>
                        <a:pt x="9" y="8"/>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09" name="Freeform 71">
                  <a:extLst>
                    <a:ext uri="{FF2B5EF4-FFF2-40B4-BE49-F238E27FC236}">
                      <a16:creationId xmlns:a16="http://schemas.microsoft.com/office/drawing/2014/main" id="{BF7220C4-3935-F427-9ECA-280C9B7EEA79}"/>
                    </a:ext>
                  </a:extLst>
                </p:cNvPr>
                <p:cNvSpPr>
                  <a:spLocks/>
                </p:cNvSpPr>
                <p:nvPr/>
              </p:nvSpPr>
              <p:spPr bwMode="auto">
                <a:xfrm>
                  <a:off x="2954" y="1293"/>
                  <a:ext cx="11" cy="9"/>
                </a:xfrm>
                <a:custGeom>
                  <a:avLst/>
                  <a:gdLst>
                    <a:gd name="T0" fmla="*/ 11 w 11"/>
                    <a:gd name="T1" fmla="*/ 9 h 9"/>
                    <a:gd name="T2" fmla="*/ 3 w 11"/>
                    <a:gd name="T3" fmla="*/ 7 h 9"/>
                    <a:gd name="T4" fmla="*/ 1 w 11"/>
                    <a:gd name="T5" fmla="*/ 5 h 9"/>
                    <a:gd name="T6" fmla="*/ 0 w 11"/>
                    <a:gd name="T7" fmla="*/ 3 h 9"/>
                    <a:gd name="T8" fmla="*/ 3 w 11"/>
                    <a:gd name="T9" fmla="*/ 0 h 9"/>
                    <a:gd name="T10" fmla="*/ 7 w 11"/>
                    <a:gd name="T11" fmla="*/ 0 h 9"/>
                    <a:gd name="T12" fmla="*/ 9 w 11"/>
                    <a:gd name="T13" fmla="*/ 0 h 9"/>
                    <a:gd name="T14" fmla="*/ 11 w 11"/>
                    <a:gd name="T15" fmla="*/ 4 h 9"/>
                    <a:gd name="T16" fmla="*/ 11 w 11"/>
                    <a:gd name="T17" fmla="*/ 4 h 9"/>
                    <a:gd name="T18" fmla="*/ 11 w 11"/>
                    <a:gd name="T19" fmla="*/ 9 h 9"/>
                    <a:gd name="T20" fmla="*/ 11 w 11"/>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9">
                      <a:moveTo>
                        <a:pt x="11" y="9"/>
                      </a:moveTo>
                      <a:lnTo>
                        <a:pt x="3" y="7"/>
                      </a:lnTo>
                      <a:lnTo>
                        <a:pt x="1" y="5"/>
                      </a:lnTo>
                      <a:lnTo>
                        <a:pt x="0" y="3"/>
                      </a:lnTo>
                      <a:lnTo>
                        <a:pt x="3" y="0"/>
                      </a:lnTo>
                      <a:lnTo>
                        <a:pt x="7" y="0"/>
                      </a:lnTo>
                      <a:lnTo>
                        <a:pt x="9" y="0"/>
                      </a:lnTo>
                      <a:lnTo>
                        <a:pt x="11" y="4"/>
                      </a:lnTo>
                      <a:lnTo>
                        <a:pt x="11" y="4"/>
                      </a:lnTo>
                      <a:lnTo>
                        <a:pt x="11" y="9"/>
                      </a:lnTo>
                      <a:lnTo>
                        <a:pt x="1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10" name="Freeform 72">
                  <a:extLst>
                    <a:ext uri="{FF2B5EF4-FFF2-40B4-BE49-F238E27FC236}">
                      <a16:creationId xmlns:a16="http://schemas.microsoft.com/office/drawing/2014/main" id="{0183917E-1A9A-7A5A-752E-B364C508AB1C}"/>
                    </a:ext>
                  </a:extLst>
                </p:cNvPr>
                <p:cNvSpPr>
                  <a:spLocks/>
                </p:cNvSpPr>
                <p:nvPr/>
              </p:nvSpPr>
              <p:spPr bwMode="auto">
                <a:xfrm>
                  <a:off x="3252" y="1297"/>
                  <a:ext cx="15" cy="1"/>
                </a:xfrm>
                <a:custGeom>
                  <a:avLst/>
                  <a:gdLst>
                    <a:gd name="T0" fmla="*/ 12 w 15"/>
                    <a:gd name="T1" fmla="*/ 1 h 1"/>
                    <a:gd name="T2" fmla="*/ 15 w 15"/>
                    <a:gd name="T3" fmla="*/ 1 h 1"/>
                    <a:gd name="T4" fmla="*/ 6 w 15"/>
                    <a:gd name="T5" fmla="*/ 1 h 1"/>
                    <a:gd name="T6" fmla="*/ 0 w 15"/>
                    <a:gd name="T7" fmla="*/ 1 h 1"/>
                    <a:gd name="T8" fmla="*/ 9 w 15"/>
                    <a:gd name="T9" fmla="*/ 0 h 1"/>
                    <a:gd name="T10" fmla="*/ 12 w 15"/>
                    <a:gd name="T11" fmla="*/ 1 h 1"/>
                    <a:gd name="T12" fmla="*/ 12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2" y="1"/>
                      </a:moveTo>
                      <a:lnTo>
                        <a:pt x="15" y="1"/>
                      </a:lnTo>
                      <a:lnTo>
                        <a:pt x="6" y="1"/>
                      </a:lnTo>
                      <a:lnTo>
                        <a:pt x="0" y="1"/>
                      </a:lnTo>
                      <a:lnTo>
                        <a:pt x="9" y="0"/>
                      </a:lnTo>
                      <a:lnTo>
                        <a:pt x="12" y="1"/>
                      </a:lnTo>
                      <a:lnTo>
                        <a:pt x="1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11" name="Freeform 73">
                  <a:extLst>
                    <a:ext uri="{FF2B5EF4-FFF2-40B4-BE49-F238E27FC236}">
                      <a16:creationId xmlns:a16="http://schemas.microsoft.com/office/drawing/2014/main" id="{946372FE-B79E-2A74-B7EB-2DC542B97204}"/>
                    </a:ext>
                  </a:extLst>
                </p:cNvPr>
                <p:cNvSpPr>
                  <a:spLocks/>
                </p:cNvSpPr>
                <p:nvPr/>
              </p:nvSpPr>
              <p:spPr bwMode="auto">
                <a:xfrm>
                  <a:off x="3302" y="1617"/>
                  <a:ext cx="36" cy="16"/>
                </a:xfrm>
                <a:custGeom>
                  <a:avLst/>
                  <a:gdLst>
                    <a:gd name="T0" fmla="*/ 31 w 36"/>
                    <a:gd name="T1" fmla="*/ 0 h 16"/>
                    <a:gd name="T2" fmla="*/ 28 w 36"/>
                    <a:gd name="T3" fmla="*/ 1 h 16"/>
                    <a:gd name="T4" fmla="*/ 25 w 36"/>
                    <a:gd name="T5" fmla="*/ 2 h 16"/>
                    <a:gd name="T6" fmla="*/ 22 w 36"/>
                    <a:gd name="T7" fmla="*/ 4 h 16"/>
                    <a:gd name="T8" fmla="*/ 20 w 36"/>
                    <a:gd name="T9" fmla="*/ 5 h 16"/>
                    <a:gd name="T10" fmla="*/ 12 w 36"/>
                    <a:gd name="T11" fmla="*/ 5 h 16"/>
                    <a:gd name="T12" fmla="*/ 9 w 36"/>
                    <a:gd name="T13" fmla="*/ 7 h 16"/>
                    <a:gd name="T14" fmla="*/ 7 w 36"/>
                    <a:gd name="T15" fmla="*/ 8 h 16"/>
                    <a:gd name="T16" fmla="*/ 3 w 36"/>
                    <a:gd name="T17" fmla="*/ 10 h 16"/>
                    <a:gd name="T18" fmla="*/ 1 w 36"/>
                    <a:gd name="T19" fmla="*/ 12 h 16"/>
                    <a:gd name="T20" fmla="*/ 0 w 36"/>
                    <a:gd name="T21" fmla="*/ 14 h 16"/>
                    <a:gd name="T22" fmla="*/ 2 w 36"/>
                    <a:gd name="T23" fmla="*/ 16 h 16"/>
                    <a:gd name="T24" fmla="*/ 11 w 36"/>
                    <a:gd name="T25" fmla="*/ 15 h 16"/>
                    <a:gd name="T26" fmla="*/ 13 w 36"/>
                    <a:gd name="T27" fmla="*/ 14 h 16"/>
                    <a:gd name="T28" fmla="*/ 19 w 36"/>
                    <a:gd name="T29" fmla="*/ 14 h 16"/>
                    <a:gd name="T30" fmla="*/ 21 w 36"/>
                    <a:gd name="T31" fmla="*/ 13 h 16"/>
                    <a:gd name="T32" fmla="*/ 25 w 36"/>
                    <a:gd name="T33" fmla="*/ 13 h 16"/>
                    <a:gd name="T34" fmla="*/ 27 w 36"/>
                    <a:gd name="T35" fmla="*/ 13 h 16"/>
                    <a:gd name="T36" fmla="*/ 29 w 36"/>
                    <a:gd name="T37" fmla="*/ 12 h 16"/>
                    <a:gd name="T38" fmla="*/ 35 w 36"/>
                    <a:gd name="T39" fmla="*/ 10 h 16"/>
                    <a:gd name="T40" fmla="*/ 36 w 36"/>
                    <a:gd name="T41" fmla="*/ 8 h 16"/>
                    <a:gd name="T42" fmla="*/ 35 w 36"/>
                    <a:gd name="T43" fmla="*/ 5 h 16"/>
                    <a:gd name="T44" fmla="*/ 33 w 36"/>
                    <a:gd name="T45" fmla="*/ 2 h 16"/>
                    <a:gd name="T46" fmla="*/ 31 w 36"/>
                    <a:gd name="T47" fmla="*/ 0 h 16"/>
                    <a:gd name="T48" fmla="*/ 31 w 36"/>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16">
                      <a:moveTo>
                        <a:pt x="31" y="0"/>
                      </a:moveTo>
                      <a:lnTo>
                        <a:pt x="28" y="1"/>
                      </a:lnTo>
                      <a:lnTo>
                        <a:pt x="25" y="2"/>
                      </a:lnTo>
                      <a:lnTo>
                        <a:pt x="22" y="4"/>
                      </a:lnTo>
                      <a:lnTo>
                        <a:pt x="20" y="5"/>
                      </a:lnTo>
                      <a:lnTo>
                        <a:pt x="12" y="5"/>
                      </a:lnTo>
                      <a:lnTo>
                        <a:pt x="9" y="7"/>
                      </a:lnTo>
                      <a:lnTo>
                        <a:pt x="7" y="8"/>
                      </a:lnTo>
                      <a:lnTo>
                        <a:pt x="3" y="10"/>
                      </a:lnTo>
                      <a:lnTo>
                        <a:pt x="1" y="12"/>
                      </a:lnTo>
                      <a:lnTo>
                        <a:pt x="0" y="14"/>
                      </a:lnTo>
                      <a:lnTo>
                        <a:pt x="2" y="16"/>
                      </a:lnTo>
                      <a:lnTo>
                        <a:pt x="11" y="15"/>
                      </a:lnTo>
                      <a:lnTo>
                        <a:pt x="13" y="14"/>
                      </a:lnTo>
                      <a:lnTo>
                        <a:pt x="19" y="14"/>
                      </a:lnTo>
                      <a:lnTo>
                        <a:pt x="21" y="13"/>
                      </a:lnTo>
                      <a:lnTo>
                        <a:pt x="25" y="13"/>
                      </a:lnTo>
                      <a:lnTo>
                        <a:pt x="27" y="13"/>
                      </a:lnTo>
                      <a:lnTo>
                        <a:pt x="29" y="12"/>
                      </a:lnTo>
                      <a:lnTo>
                        <a:pt x="35" y="10"/>
                      </a:lnTo>
                      <a:lnTo>
                        <a:pt x="36" y="8"/>
                      </a:lnTo>
                      <a:lnTo>
                        <a:pt x="35" y="5"/>
                      </a:lnTo>
                      <a:lnTo>
                        <a:pt x="33" y="2"/>
                      </a:lnTo>
                      <a:lnTo>
                        <a:pt x="31"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12" name="Freeform 74">
                  <a:extLst>
                    <a:ext uri="{FF2B5EF4-FFF2-40B4-BE49-F238E27FC236}">
                      <a16:creationId xmlns:a16="http://schemas.microsoft.com/office/drawing/2014/main" id="{9CFD0175-32DB-57FB-8CF8-C198508E9EBB}"/>
                    </a:ext>
                  </a:extLst>
                </p:cNvPr>
                <p:cNvSpPr>
                  <a:spLocks/>
                </p:cNvSpPr>
                <p:nvPr/>
              </p:nvSpPr>
              <p:spPr bwMode="auto">
                <a:xfrm>
                  <a:off x="3305" y="1622"/>
                  <a:ext cx="6" cy="3"/>
                </a:xfrm>
                <a:custGeom>
                  <a:avLst/>
                  <a:gdLst>
                    <a:gd name="T0" fmla="*/ 6 w 6"/>
                    <a:gd name="T1" fmla="*/ 0 h 3"/>
                    <a:gd name="T2" fmla="*/ 2 w 6"/>
                    <a:gd name="T3" fmla="*/ 0 h 3"/>
                    <a:gd name="T4" fmla="*/ 0 w 6"/>
                    <a:gd name="T5" fmla="*/ 1 h 3"/>
                    <a:gd name="T6" fmla="*/ 0 w 6"/>
                    <a:gd name="T7" fmla="*/ 3 h 3"/>
                    <a:gd name="T8" fmla="*/ 4 w 6"/>
                    <a:gd name="T9" fmla="*/ 2 h 3"/>
                    <a:gd name="T10" fmla="*/ 6 w 6"/>
                    <a:gd name="T11" fmla="*/ 0 h 3"/>
                    <a:gd name="T12" fmla="*/ 6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2" y="0"/>
                      </a:lnTo>
                      <a:lnTo>
                        <a:pt x="0" y="1"/>
                      </a:lnTo>
                      <a:lnTo>
                        <a:pt x="0" y="3"/>
                      </a:lnTo>
                      <a:lnTo>
                        <a:pt x="4" y="2"/>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13" name="Freeform 75">
                  <a:extLst>
                    <a:ext uri="{FF2B5EF4-FFF2-40B4-BE49-F238E27FC236}">
                      <a16:creationId xmlns:a16="http://schemas.microsoft.com/office/drawing/2014/main" id="{7A215170-F6C2-1BB2-868E-757F49BF0900}"/>
                    </a:ext>
                  </a:extLst>
                </p:cNvPr>
                <p:cNvSpPr>
                  <a:spLocks/>
                </p:cNvSpPr>
                <p:nvPr/>
              </p:nvSpPr>
              <p:spPr bwMode="auto">
                <a:xfrm>
                  <a:off x="3324" y="1631"/>
                  <a:ext cx="4" cy="1"/>
                </a:xfrm>
                <a:custGeom>
                  <a:avLst/>
                  <a:gdLst>
                    <a:gd name="T0" fmla="*/ 4 w 4"/>
                    <a:gd name="T1" fmla="*/ 0 h 1"/>
                    <a:gd name="T2" fmla="*/ 3 w 4"/>
                    <a:gd name="T3" fmla="*/ 0 h 1"/>
                    <a:gd name="T4" fmla="*/ 0 w 4"/>
                    <a:gd name="T5" fmla="*/ 1 h 1"/>
                    <a:gd name="T6" fmla="*/ 4 w 4"/>
                    <a:gd name="T7" fmla="*/ 0 h 1"/>
                    <a:gd name="T8" fmla="*/ 4 w 4"/>
                    <a:gd name="T9" fmla="*/ 0 h 1"/>
                  </a:gdLst>
                  <a:ahLst/>
                  <a:cxnLst>
                    <a:cxn ang="0">
                      <a:pos x="T0" y="T1"/>
                    </a:cxn>
                    <a:cxn ang="0">
                      <a:pos x="T2" y="T3"/>
                    </a:cxn>
                    <a:cxn ang="0">
                      <a:pos x="T4" y="T5"/>
                    </a:cxn>
                    <a:cxn ang="0">
                      <a:pos x="T6" y="T7"/>
                    </a:cxn>
                    <a:cxn ang="0">
                      <a:pos x="T8" y="T9"/>
                    </a:cxn>
                  </a:cxnLst>
                  <a:rect l="0" t="0" r="r" b="b"/>
                  <a:pathLst>
                    <a:path w="4" h="1">
                      <a:moveTo>
                        <a:pt x="4" y="0"/>
                      </a:moveTo>
                      <a:lnTo>
                        <a:pt x="3" y="0"/>
                      </a:lnTo>
                      <a:lnTo>
                        <a:pt x="0" y="1"/>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14" name="Freeform 76">
                  <a:extLst>
                    <a:ext uri="{FF2B5EF4-FFF2-40B4-BE49-F238E27FC236}">
                      <a16:creationId xmlns:a16="http://schemas.microsoft.com/office/drawing/2014/main" id="{20184E39-3ED6-E3ED-07C5-B9ECBD526710}"/>
                    </a:ext>
                  </a:extLst>
                </p:cNvPr>
                <p:cNvSpPr>
                  <a:spLocks/>
                </p:cNvSpPr>
                <p:nvPr/>
              </p:nvSpPr>
              <p:spPr bwMode="auto">
                <a:xfrm>
                  <a:off x="3338" y="1571"/>
                  <a:ext cx="7" cy="2"/>
                </a:xfrm>
                <a:custGeom>
                  <a:avLst/>
                  <a:gdLst>
                    <a:gd name="T0" fmla="*/ 7 w 7"/>
                    <a:gd name="T1" fmla="*/ 0 h 2"/>
                    <a:gd name="T2" fmla="*/ 6 w 7"/>
                    <a:gd name="T3" fmla="*/ 0 h 2"/>
                    <a:gd name="T4" fmla="*/ 3 w 7"/>
                    <a:gd name="T5" fmla="*/ 0 h 2"/>
                    <a:gd name="T6" fmla="*/ 0 w 7"/>
                    <a:gd name="T7" fmla="*/ 1 h 2"/>
                    <a:gd name="T8" fmla="*/ 6 w 7"/>
                    <a:gd name="T9" fmla="*/ 2 h 2"/>
                    <a:gd name="T10" fmla="*/ 7 w 7"/>
                    <a:gd name="T11" fmla="*/ 0 h 2"/>
                    <a:gd name="T12" fmla="*/ 7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7" y="0"/>
                      </a:moveTo>
                      <a:lnTo>
                        <a:pt x="6" y="0"/>
                      </a:lnTo>
                      <a:lnTo>
                        <a:pt x="3" y="0"/>
                      </a:lnTo>
                      <a:lnTo>
                        <a:pt x="0" y="1"/>
                      </a:lnTo>
                      <a:lnTo>
                        <a:pt x="6" y="2"/>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15" name="Freeform 77">
                  <a:extLst>
                    <a:ext uri="{FF2B5EF4-FFF2-40B4-BE49-F238E27FC236}">
                      <a16:creationId xmlns:a16="http://schemas.microsoft.com/office/drawing/2014/main" id="{7C1EC1C9-A0D0-F31B-E987-BDEDF927F1D2}"/>
                    </a:ext>
                  </a:extLst>
                </p:cNvPr>
                <p:cNvSpPr>
                  <a:spLocks/>
                </p:cNvSpPr>
                <p:nvPr/>
              </p:nvSpPr>
              <p:spPr bwMode="auto">
                <a:xfrm>
                  <a:off x="3340" y="1557"/>
                  <a:ext cx="24" cy="5"/>
                </a:xfrm>
                <a:custGeom>
                  <a:avLst/>
                  <a:gdLst>
                    <a:gd name="T0" fmla="*/ 2 w 24"/>
                    <a:gd name="T1" fmla="*/ 2 h 5"/>
                    <a:gd name="T2" fmla="*/ 13 w 24"/>
                    <a:gd name="T3" fmla="*/ 4 h 5"/>
                    <a:gd name="T4" fmla="*/ 18 w 24"/>
                    <a:gd name="T5" fmla="*/ 5 h 5"/>
                    <a:gd name="T6" fmla="*/ 22 w 24"/>
                    <a:gd name="T7" fmla="*/ 5 h 5"/>
                    <a:gd name="T8" fmla="*/ 24 w 24"/>
                    <a:gd name="T9" fmla="*/ 4 h 5"/>
                    <a:gd name="T10" fmla="*/ 18 w 24"/>
                    <a:gd name="T11" fmla="*/ 1 h 5"/>
                    <a:gd name="T12" fmla="*/ 10 w 24"/>
                    <a:gd name="T13" fmla="*/ 0 h 5"/>
                    <a:gd name="T14" fmla="*/ 2 w 24"/>
                    <a:gd name="T15" fmla="*/ 0 h 5"/>
                    <a:gd name="T16" fmla="*/ 0 w 24"/>
                    <a:gd name="T17" fmla="*/ 2 h 5"/>
                    <a:gd name="T18" fmla="*/ 2 w 24"/>
                    <a:gd name="T19" fmla="*/ 2 h 5"/>
                    <a:gd name="T20" fmla="*/ 2 w 24"/>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5">
                      <a:moveTo>
                        <a:pt x="2" y="2"/>
                      </a:moveTo>
                      <a:lnTo>
                        <a:pt x="13" y="4"/>
                      </a:lnTo>
                      <a:lnTo>
                        <a:pt x="18" y="5"/>
                      </a:lnTo>
                      <a:lnTo>
                        <a:pt x="22" y="5"/>
                      </a:lnTo>
                      <a:lnTo>
                        <a:pt x="24" y="4"/>
                      </a:lnTo>
                      <a:lnTo>
                        <a:pt x="18" y="1"/>
                      </a:lnTo>
                      <a:lnTo>
                        <a:pt x="10" y="0"/>
                      </a:lnTo>
                      <a:lnTo>
                        <a:pt x="2" y="0"/>
                      </a:lnTo>
                      <a:lnTo>
                        <a:pt x="0" y="2"/>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16" name="Freeform 78">
                  <a:extLst>
                    <a:ext uri="{FF2B5EF4-FFF2-40B4-BE49-F238E27FC236}">
                      <a16:creationId xmlns:a16="http://schemas.microsoft.com/office/drawing/2014/main" id="{2B8595FD-1D87-37D3-BB21-757D3ECCD1A4}"/>
                    </a:ext>
                  </a:extLst>
                </p:cNvPr>
                <p:cNvSpPr>
                  <a:spLocks/>
                </p:cNvSpPr>
                <p:nvPr/>
              </p:nvSpPr>
              <p:spPr bwMode="auto">
                <a:xfrm>
                  <a:off x="3350" y="1566"/>
                  <a:ext cx="34" cy="9"/>
                </a:xfrm>
                <a:custGeom>
                  <a:avLst/>
                  <a:gdLst>
                    <a:gd name="T0" fmla="*/ 34 w 34"/>
                    <a:gd name="T1" fmla="*/ 4 h 9"/>
                    <a:gd name="T2" fmla="*/ 28 w 34"/>
                    <a:gd name="T3" fmla="*/ 1 h 9"/>
                    <a:gd name="T4" fmla="*/ 22 w 34"/>
                    <a:gd name="T5" fmla="*/ 1 h 9"/>
                    <a:gd name="T6" fmla="*/ 20 w 34"/>
                    <a:gd name="T7" fmla="*/ 1 h 9"/>
                    <a:gd name="T8" fmla="*/ 16 w 34"/>
                    <a:gd name="T9" fmla="*/ 0 h 9"/>
                    <a:gd name="T10" fmla="*/ 11 w 34"/>
                    <a:gd name="T11" fmla="*/ 1 h 9"/>
                    <a:gd name="T12" fmla="*/ 3 w 34"/>
                    <a:gd name="T13" fmla="*/ 1 h 9"/>
                    <a:gd name="T14" fmla="*/ 0 w 34"/>
                    <a:gd name="T15" fmla="*/ 5 h 9"/>
                    <a:gd name="T16" fmla="*/ 6 w 34"/>
                    <a:gd name="T17" fmla="*/ 4 h 9"/>
                    <a:gd name="T18" fmla="*/ 12 w 34"/>
                    <a:gd name="T19" fmla="*/ 5 h 9"/>
                    <a:gd name="T20" fmla="*/ 20 w 34"/>
                    <a:gd name="T21" fmla="*/ 6 h 9"/>
                    <a:gd name="T22" fmla="*/ 22 w 34"/>
                    <a:gd name="T23" fmla="*/ 7 h 9"/>
                    <a:gd name="T24" fmla="*/ 24 w 34"/>
                    <a:gd name="T25" fmla="*/ 9 h 9"/>
                    <a:gd name="T26" fmla="*/ 29 w 34"/>
                    <a:gd name="T27" fmla="*/ 9 h 9"/>
                    <a:gd name="T28" fmla="*/ 34 w 34"/>
                    <a:gd name="T29" fmla="*/ 9 h 9"/>
                    <a:gd name="T30" fmla="*/ 32 w 34"/>
                    <a:gd name="T31" fmla="*/ 6 h 9"/>
                    <a:gd name="T32" fmla="*/ 34 w 34"/>
                    <a:gd name="T33" fmla="*/ 4 h 9"/>
                    <a:gd name="T34" fmla="*/ 34 w 34"/>
                    <a:gd name="T3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9">
                      <a:moveTo>
                        <a:pt x="34" y="4"/>
                      </a:moveTo>
                      <a:lnTo>
                        <a:pt x="28" y="1"/>
                      </a:lnTo>
                      <a:lnTo>
                        <a:pt x="22" y="1"/>
                      </a:lnTo>
                      <a:lnTo>
                        <a:pt x="20" y="1"/>
                      </a:lnTo>
                      <a:lnTo>
                        <a:pt x="16" y="0"/>
                      </a:lnTo>
                      <a:lnTo>
                        <a:pt x="11" y="1"/>
                      </a:lnTo>
                      <a:lnTo>
                        <a:pt x="3" y="1"/>
                      </a:lnTo>
                      <a:lnTo>
                        <a:pt x="0" y="5"/>
                      </a:lnTo>
                      <a:lnTo>
                        <a:pt x="6" y="4"/>
                      </a:lnTo>
                      <a:lnTo>
                        <a:pt x="12" y="5"/>
                      </a:lnTo>
                      <a:lnTo>
                        <a:pt x="20" y="6"/>
                      </a:lnTo>
                      <a:lnTo>
                        <a:pt x="22" y="7"/>
                      </a:lnTo>
                      <a:lnTo>
                        <a:pt x="24" y="9"/>
                      </a:lnTo>
                      <a:lnTo>
                        <a:pt x="29" y="9"/>
                      </a:lnTo>
                      <a:lnTo>
                        <a:pt x="34" y="9"/>
                      </a:lnTo>
                      <a:lnTo>
                        <a:pt x="32" y="6"/>
                      </a:lnTo>
                      <a:lnTo>
                        <a:pt x="34" y="4"/>
                      </a:lnTo>
                      <a:lnTo>
                        <a:pt x="3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17" name="Freeform 79">
                  <a:extLst>
                    <a:ext uri="{FF2B5EF4-FFF2-40B4-BE49-F238E27FC236}">
                      <a16:creationId xmlns:a16="http://schemas.microsoft.com/office/drawing/2014/main" id="{DF3A730D-3AC1-2B28-074D-22CE61109AA6}"/>
                    </a:ext>
                  </a:extLst>
                </p:cNvPr>
                <p:cNvSpPr>
                  <a:spLocks/>
                </p:cNvSpPr>
                <p:nvPr/>
              </p:nvSpPr>
              <p:spPr bwMode="auto">
                <a:xfrm>
                  <a:off x="3350" y="1571"/>
                  <a:ext cx="33" cy="19"/>
                </a:xfrm>
                <a:custGeom>
                  <a:avLst/>
                  <a:gdLst>
                    <a:gd name="T0" fmla="*/ 26 w 33"/>
                    <a:gd name="T1" fmla="*/ 13 h 19"/>
                    <a:gd name="T2" fmla="*/ 24 w 33"/>
                    <a:gd name="T3" fmla="*/ 13 h 19"/>
                    <a:gd name="T4" fmla="*/ 24 w 33"/>
                    <a:gd name="T5" fmla="*/ 11 h 19"/>
                    <a:gd name="T6" fmla="*/ 26 w 33"/>
                    <a:gd name="T7" fmla="*/ 11 h 19"/>
                    <a:gd name="T8" fmla="*/ 30 w 33"/>
                    <a:gd name="T9" fmla="*/ 11 h 19"/>
                    <a:gd name="T10" fmla="*/ 32 w 33"/>
                    <a:gd name="T11" fmla="*/ 12 h 19"/>
                    <a:gd name="T12" fmla="*/ 33 w 33"/>
                    <a:gd name="T13" fmla="*/ 10 h 19"/>
                    <a:gd name="T14" fmla="*/ 31 w 33"/>
                    <a:gd name="T15" fmla="*/ 10 h 19"/>
                    <a:gd name="T16" fmla="*/ 28 w 33"/>
                    <a:gd name="T17" fmla="*/ 8 h 19"/>
                    <a:gd name="T18" fmla="*/ 25 w 33"/>
                    <a:gd name="T19" fmla="*/ 7 h 19"/>
                    <a:gd name="T20" fmla="*/ 23 w 33"/>
                    <a:gd name="T21" fmla="*/ 5 h 19"/>
                    <a:gd name="T22" fmla="*/ 20 w 33"/>
                    <a:gd name="T23" fmla="*/ 4 h 19"/>
                    <a:gd name="T24" fmla="*/ 17 w 33"/>
                    <a:gd name="T25" fmla="*/ 1 h 19"/>
                    <a:gd name="T26" fmla="*/ 12 w 33"/>
                    <a:gd name="T27" fmla="*/ 1 h 19"/>
                    <a:gd name="T28" fmla="*/ 7 w 33"/>
                    <a:gd name="T29" fmla="*/ 0 h 19"/>
                    <a:gd name="T30" fmla="*/ 2 w 33"/>
                    <a:gd name="T31" fmla="*/ 1 h 19"/>
                    <a:gd name="T32" fmla="*/ 0 w 33"/>
                    <a:gd name="T33" fmla="*/ 3 h 19"/>
                    <a:gd name="T34" fmla="*/ 0 w 33"/>
                    <a:gd name="T35" fmla="*/ 5 h 19"/>
                    <a:gd name="T36" fmla="*/ 3 w 33"/>
                    <a:gd name="T37" fmla="*/ 9 h 19"/>
                    <a:gd name="T38" fmla="*/ 6 w 33"/>
                    <a:gd name="T39" fmla="*/ 9 h 19"/>
                    <a:gd name="T40" fmla="*/ 8 w 33"/>
                    <a:gd name="T41" fmla="*/ 11 h 19"/>
                    <a:gd name="T42" fmla="*/ 16 w 33"/>
                    <a:gd name="T43" fmla="*/ 13 h 19"/>
                    <a:gd name="T44" fmla="*/ 22 w 33"/>
                    <a:gd name="T45" fmla="*/ 17 h 19"/>
                    <a:gd name="T46" fmla="*/ 28 w 33"/>
                    <a:gd name="T47" fmla="*/ 19 h 19"/>
                    <a:gd name="T48" fmla="*/ 30 w 33"/>
                    <a:gd name="T49" fmla="*/ 19 h 19"/>
                    <a:gd name="T50" fmla="*/ 31 w 33"/>
                    <a:gd name="T51" fmla="*/ 17 h 19"/>
                    <a:gd name="T52" fmla="*/ 26 w 33"/>
                    <a:gd name="T53" fmla="*/ 13 h 19"/>
                    <a:gd name="T54" fmla="*/ 26 w 33"/>
                    <a:gd name="T55"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19">
                      <a:moveTo>
                        <a:pt x="26" y="13"/>
                      </a:moveTo>
                      <a:lnTo>
                        <a:pt x="24" y="13"/>
                      </a:lnTo>
                      <a:lnTo>
                        <a:pt x="24" y="11"/>
                      </a:lnTo>
                      <a:lnTo>
                        <a:pt x="26" y="11"/>
                      </a:lnTo>
                      <a:lnTo>
                        <a:pt x="30" y="11"/>
                      </a:lnTo>
                      <a:lnTo>
                        <a:pt x="32" y="12"/>
                      </a:lnTo>
                      <a:lnTo>
                        <a:pt x="33" y="10"/>
                      </a:lnTo>
                      <a:lnTo>
                        <a:pt x="31" y="10"/>
                      </a:lnTo>
                      <a:lnTo>
                        <a:pt x="28" y="8"/>
                      </a:lnTo>
                      <a:lnTo>
                        <a:pt x="25" y="7"/>
                      </a:lnTo>
                      <a:lnTo>
                        <a:pt x="23" y="5"/>
                      </a:lnTo>
                      <a:lnTo>
                        <a:pt x="20" y="4"/>
                      </a:lnTo>
                      <a:lnTo>
                        <a:pt x="17" y="1"/>
                      </a:lnTo>
                      <a:lnTo>
                        <a:pt x="12" y="1"/>
                      </a:lnTo>
                      <a:lnTo>
                        <a:pt x="7" y="0"/>
                      </a:lnTo>
                      <a:lnTo>
                        <a:pt x="2" y="1"/>
                      </a:lnTo>
                      <a:lnTo>
                        <a:pt x="0" y="3"/>
                      </a:lnTo>
                      <a:lnTo>
                        <a:pt x="0" y="5"/>
                      </a:lnTo>
                      <a:lnTo>
                        <a:pt x="3" y="9"/>
                      </a:lnTo>
                      <a:lnTo>
                        <a:pt x="6" y="9"/>
                      </a:lnTo>
                      <a:lnTo>
                        <a:pt x="8" y="11"/>
                      </a:lnTo>
                      <a:lnTo>
                        <a:pt x="16" y="13"/>
                      </a:lnTo>
                      <a:lnTo>
                        <a:pt x="22" y="17"/>
                      </a:lnTo>
                      <a:lnTo>
                        <a:pt x="28" y="19"/>
                      </a:lnTo>
                      <a:lnTo>
                        <a:pt x="30" y="19"/>
                      </a:lnTo>
                      <a:lnTo>
                        <a:pt x="31" y="17"/>
                      </a:lnTo>
                      <a:lnTo>
                        <a:pt x="26" y="13"/>
                      </a:lnTo>
                      <a:lnTo>
                        <a:pt x="2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18" name="Freeform 80">
                  <a:extLst>
                    <a:ext uri="{FF2B5EF4-FFF2-40B4-BE49-F238E27FC236}">
                      <a16:creationId xmlns:a16="http://schemas.microsoft.com/office/drawing/2014/main" id="{DFFE8B0F-0765-5F60-4B53-ED08F7C00605}"/>
                    </a:ext>
                  </a:extLst>
                </p:cNvPr>
                <p:cNvSpPr>
                  <a:spLocks/>
                </p:cNvSpPr>
                <p:nvPr/>
              </p:nvSpPr>
              <p:spPr bwMode="auto">
                <a:xfrm>
                  <a:off x="3383" y="1529"/>
                  <a:ext cx="26" cy="10"/>
                </a:xfrm>
                <a:custGeom>
                  <a:avLst/>
                  <a:gdLst>
                    <a:gd name="T0" fmla="*/ 15 w 26"/>
                    <a:gd name="T1" fmla="*/ 0 h 10"/>
                    <a:gd name="T2" fmla="*/ 9 w 26"/>
                    <a:gd name="T3" fmla="*/ 0 h 10"/>
                    <a:gd name="T4" fmla="*/ 4 w 26"/>
                    <a:gd name="T5" fmla="*/ 2 h 10"/>
                    <a:gd name="T6" fmla="*/ 0 w 26"/>
                    <a:gd name="T7" fmla="*/ 6 h 10"/>
                    <a:gd name="T8" fmla="*/ 4 w 26"/>
                    <a:gd name="T9" fmla="*/ 8 h 10"/>
                    <a:gd name="T10" fmla="*/ 12 w 26"/>
                    <a:gd name="T11" fmla="*/ 10 h 10"/>
                    <a:gd name="T12" fmla="*/ 23 w 26"/>
                    <a:gd name="T13" fmla="*/ 8 h 10"/>
                    <a:gd name="T14" fmla="*/ 26 w 26"/>
                    <a:gd name="T15" fmla="*/ 7 h 10"/>
                    <a:gd name="T16" fmla="*/ 23 w 26"/>
                    <a:gd name="T17" fmla="*/ 6 h 10"/>
                    <a:gd name="T18" fmla="*/ 22 w 26"/>
                    <a:gd name="T19" fmla="*/ 3 h 10"/>
                    <a:gd name="T20" fmla="*/ 18 w 26"/>
                    <a:gd name="T21" fmla="*/ 1 h 10"/>
                    <a:gd name="T22" fmla="*/ 15 w 26"/>
                    <a:gd name="T23" fmla="*/ 0 h 10"/>
                    <a:gd name="T24" fmla="*/ 15 w 26"/>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0">
                      <a:moveTo>
                        <a:pt x="15" y="0"/>
                      </a:moveTo>
                      <a:lnTo>
                        <a:pt x="9" y="0"/>
                      </a:lnTo>
                      <a:lnTo>
                        <a:pt x="4" y="2"/>
                      </a:lnTo>
                      <a:lnTo>
                        <a:pt x="0" y="6"/>
                      </a:lnTo>
                      <a:lnTo>
                        <a:pt x="4" y="8"/>
                      </a:lnTo>
                      <a:lnTo>
                        <a:pt x="12" y="10"/>
                      </a:lnTo>
                      <a:lnTo>
                        <a:pt x="23" y="8"/>
                      </a:lnTo>
                      <a:lnTo>
                        <a:pt x="26" y="7"/>
                      </a:lnTo>
                      <a:lnTo>
                        <a:pt x="23" y="6"/>
                      </a:lnTo>
                      <a:lnTo>
                        <a:pt x="22" y="3"/>
                      </a:lnTo>
                      <a:lnTo>
                        <a:pt x="18"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19" name="Freeform 81">
                  <a:extLst>
                    <a:ext uri="{FF2B5EF4-FFF2-40B4-BE49-F238E27FC236}">
                      <a16:creationId xmlns:a16="http://schemas.microsoft.com/office/drawing/2014/main" id="{461A9659-B361-219B-6C0E-7C10FE01687B}"/>
                    </a:ext>
                  </a:extLst>
                </p:cNvPr>
                <p:cNvSpPr>
                  <a:spLocks/>
                </p:cNvSpPr>
                <p:nvPr/>
              </p:nvSpPr>
              <p:spPr bwMode="auto">
                <a:xfrm>
                  <a:off x="3393" y="1429"/>
                  <a:ext cx="3" cy="3"/>
                </a:xfrm>
                <a:custGeom>
                  <a:avLst/>
                  <a:gdLst>
                    <a:gd name="T0" fmla="*/ 3 w 3"/>
                    <a:gd name="T1" fmla="*/ 0 h 3"/>
                    <a:gd name="T2" fmla="*/ 0 w 3"/>
                    <a:gd name="T3" fmla="*/ 0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0"/>
                      </a:lnTo>
                      <a:lnTo>
                        <a:pt x="0" y="3"/>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20" name="Freeform 82">
                  <a:extLst>
                    <a:ext uri="{FF2B5EF4-FFF2-40B4-BE49-F238E27FC236}">
                      <a16:creationId xmlns:a16="http://schemas.microsoft.com/office/drawing/2014/main" id="{B91F3238-A7B6-90B7-68DC-6D156E57CE83}"/>
                    </a:ext>
                  </a:extLst>
                </p:cNvPr>
                <p:cNvSpPr>
                  <a:spLocks/>
                </p:cNvSpPr>
                <p:nvPr/>
              </p:nvSpPr>
              <p:spPr bwMode="auto">
                <a:xfrm>
                  <a:off x="3400" y="1298"/>
                  <a:ext cx="14" cy="10"/>
                </a:xfrm>
                <a:custGeom>
                  <a:avLst/>
                  <a:gdLst>
                    <a:gd name="T0" fmla="*/ 8 w 14"/>
                    <a:gd name="T1" fmla="*/ 9 h 10"/>
                    <a:gd name="T2" fmla="*/ 12 w 14"/>
                    <a:gd name="T3" fmla="*/ 10 h 10"/>
                    <a:gd name="T4" fmla="*/ 14 w 14"/>
                    <a:gd name="T5" fmla="*/ 9 h 10"/>
                    <a:gd name="T6" fmla="*/ 12 w 14"/>
                    <a:gd name="T7" fmla="*/ 6 h 10"/>
                    <a:gd name="T8" fmla="*/ 9 w 14"/>
                    <a:gd name="T9" fmla="*/ 4 h 10"/>
                    <a:gd name="T10" fmla="*/ 7 w 14"/>
                    <a:gd name="T11" fmla="*/ 1 h 10"/>
                    <a:gd name="T12" fmla="*/ 4 w 14"/>
                    <a:gd name="T13" fmla="*/ 0 h 10"/>
                    <a:gd name="T14" fmla="*/ 0 w 14"/>
                    <a:gd name="T15" fmla="*/ 2 h 10"/>
                    <a:gd name="T16" fmla="*/ 3 w 14"/>
                    <a:gd name="T17" fmla="*/ 4 h 10"/>
                    <a:gd name="T18" fmla="*/ 8 w 14"/>
                    <a:gd name="T19" fmla="*/ 9 h 10"/>
                    <a:gd name="T20" fmla="*/ 8 w 14"/>
                    <a:gd name="T21"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0">
                      <a:moveTo>
                        <a:pt x="8" y="9"/>
                      </a:moveTo>
                      <a:lnTo>
                        <a:pt x="12" y="10"/>
                      </a:lnTo>
                      <a:lnTo>
                        <a:pt x="14" y="9"/>
                      </a:lnTo>
                      <a:lnTo>
                        <a:pt x="12" y="6"/>
                      </a:lnTo>
                      <a:lnTo>
                        <a:pt x="9" y="4"/>
                      </a:lnTo>
                      <a:lnTo>
                        <a:pt x="7" y="1"/>
                      </a:lnTo>
                      <a:lnTo>
                        <a:pt x="4" y="0"/>
                      </a:lnTo>
                      <a:lnTo>
                        <a:pt x="0" y="2"/>
                      </a:lnTo>
                      <a:lnTo>
                        <a:pt x="3" y="4"/>
                      </a:lnTo>
                      <a:lnTo>
                        <a:pt x="8" y="9"/>
                      </a:lnTo>
                      <a:lnTo>
                        <a:pt x="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21" name="Freeform 83">
                  <a:extLst>
                    <a:ext uri="{FF2B5EF4-FFF2-40B4-BE49-F238E27FC236}">
                      <a16:creationId xmlns:a16="http://schemas.microsoft.com/office/drawing/2014/main" id="{62B4FC3F-FA7B-E9DC-A3DB-05FE5DC8F133}"/>
                    </a:ext>
                  </a:extLst>
                </p:cNvPr>
                <p:cNvSpPr>
                  <a:spLocks/>
                </p:cNvSpPr>
                <p:nvPr/>
              </p:nvSpPr>
              <p:spPr bwMode="auto">
                <a:xfrm>
                  <a:off x="3403" y="1513"/>
                  <a:ext cx="11" cy="9"/>
                </a:xfrm>
                <a:custGeom>
                  <a:avLst/>
                  <a:gdLst>
                    <a:gd name="T0" fmla="*/ 7 w 11"/>
                    <a:gd name="T1" fmla="*/ 3 h 9"/>
                    <a:gd name="T2" fmla="*/ 5 w 11"/>
                    <a:gd name="T3" fmla="*/ 3 h 9"/>
                    <a:gd name="T4" fmla="*/ 7 w 11"/>
                    <a:gd name="T5" fmla="*/ 2 h 9"/>
                    <a:gd name="T6" fmla="*/ 7 w 11"/>
                    <a:gd name="T7" fmla="*/ 1 h 9"/>
                    <a:gd name="T8" fmla="*/ 5 w 11"/>
                    <a:gd name="T9" fmla="*/ 0 h 9"/>
                    <a:gd name="T10" fmla="*/ 2 w 11"/>
                    <a:gd name="T11" fmla="*/ 0 h 9"/>
                    <a:gd name="T12" fmla="*/ 0 w 11"/>
                    <a:gd name="T13" fmla="*/ 2 h 9"/>
                    <a:gd name="T14" fmla="*/ 0 w 11"/>
                    <a:gd name="T15" fmla="*/ 5 h 9"/>
                    <a:gd name="T16" fmla="*/ 0 w 11"/>
                    <a:gd name="T17" fmla="*/ 7 h 9"/>
                    <a:gd name="T18" fmla="*/ 3 w 11"/>
                    <a:gd name="T19" fmla="*/ 9 h 9"/>
                    <a:gd name="T20" fmla="*/ 6 w 11"/>
                    <a:gd name="T21" fmla="*/ 9 h 9"/>
                    <a:gd name="T22" fmla="*/ 7 w 11"/>
                    <a:gd name="T23" fmla="*/ 9 h 9"/>
                    <a:gd name="T24" fmla="*/ 11 w 11"/>
                    <a:gd name="T25" fmla="*/ 7 h 9"/>
                    <a:gd name="T26" fmla="*/ 9 w 11"/>
                    <a:gd name="T27" fmla="*/ 3 h 9"/>
                    <a:gd name="T28" fmla="*/ 7 w 11"/>
                    <a:gd name="T29" fmla="*/ 3 h 9"/>
                    <a:gd name="T30" fmla="*/ 7 w 11"/>
                    <a:gd name="T31"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9">
                      <a:moveTo>
                        <a:pt x="7" y="3"/>
                      </a:moveTo>
                      <a:lnTo>
                        <a:pt x="5" y="3"/>
                      </a:lnTo>
                      <a:lnTo>
                        <a:pt x="7" y="2"/>
                      </a:lnTo>
                      <a:lnTo>
                        <a:pt x="7" y="1"/>
                      </a:lnTo>
                      <a:lnTo>
                        <a:pt x="5" y="0"/>
                      </a:lnTo>
                      <a:lnTo>
                        <a:pt x="2" y="0"/>
                      </a:lnTo>
                      <a:lnTo>
                        <a:pt x="0" y="2"/>
                      </a:lnTo>
                      <a:lnTo>
                        <a:pt x="0" y="5"/>
                      </a:lnTo>
                      <a:lnTo>
                        <a:pt x="0" y="7"/>
                      </a:lnTo>
                      <a:lnTo>
                        <a:pt x="3" y="9"/>
                      </a:lnTo>
                      <a:lnTo>
                        <a:pt x="6" y="9"/>
                      </a:lnTo>
                      <a:lnTo>
                        <a:pt x="7" y="9"/>
                      </a:lnTo>
                      <a:lnTo>
                        <a:pt x="11" y="7"/>
                      </a:lnTo>
                      <a:lnTo>
                        <a:pt x="9" y="3"/>
                      </a:lnTo>
                      <a:lnTo>
                        <a:pt x="7" y="3"/>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22" name="Freeform 84">
                  <a:extLst>
                    <a:ext uri="{FF2B5EF4-FFF2-40B4-BE49-F238E27FC236}">
                      <a16:creationId xmlns:a16="http://schemas.microsoft.com/office/drawing/2014/main" id="{58543006-E7EF-911D-92E4-7FA2E95B014C}"/>
                    </a:ext>
                  </a:extLst>
                </p:cNvPr>
                <p:cNvSpPr>
                  <a:spLocks/>
                </p:cNvSpPr>
                <p:nvPr/>
              </p:nvSpPr>
              <p:spPr bwMode="auto">
                <a:xfrm>
                  <a:off x="3405" y="1429"/>
                  <a:ext cx="15" cy="6"/>
                </a:xfrm>
                <a:custGeom>
                  <a:avLst/>
                  <a:gdLst>
                    <a:gd name="T0" fmla="*/ 5 w 15"/>
                    <a:gd name="T1" fmla="*/ 0 h 6"/>
                    <a:gd name="T2" fmla="*/ 0 w 15"/>
                    <a:gd name="T3" fmla="*/ 0 h 6"/>
                    <a:gd name="T4" fmla="*/ 3 w 15"/>
                    <a:gd name="T5" fmla="*/ 3 h 6"/>
                    <a:gd name="T6" fmla="*/ 5 w 15"/>
                    <a:gd name="T7" fmla="*/ 4 h 6"/>
                    <a:gd name="T8" fmla="*/ 9 w 15"/>
                    <a:gd name="T9" fmla="*/ 5 h 6"/>
                    <a:gd name="T10" fmla="*/ 13 w 15"/>
                    <a:gd name="T11" fmla="*/ 6 h 6"/>
                    <a:gd name="T12" fmla="*/ 15 w 15"/>
                    <a:gd name="T13" fmla="*/ 4 h 6"/>
                    <a:gd name="T14" fmla="*/ 9 w 15"/>
                    <a:gd name="T15" fmla="*/ 4 h 6"/>
                    <a:gd name="T16" fmla="*/ 5 w 15"/>
                    <a:gd name="T17" fmla="*/ 1 h 6"/>
                    <a:gd name="T18" fmla="*/ 5 w 15"/>
                    <a:gd name="T19" fmla="*/ 0 h 6"/>
                    <a:gd name="T20" fmla="*/ 5 w 15"/>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6">
                      <a:moveTo>
                        <a:pt x="5" y="0"/>
                      </a:moveTo>
                      <a:lnTo>
                        <a:pt x="0" y="0"/>
                      </a:lnTo>
                      <a:lnTo>
                        <a:pt x="3" y="3"/>
                      </a:lnTo>
                      <a:lnTo>
                        <a:pt x="5" y="4"/>
                      </a:lnTo>
                      <a:lnTo>
                        <a:pt x="9" y="5"/>
                      </a:lnTo>
                      <a:lnTo>
                        <a:pt x="13" y="6"/>
                      </a:lnTo>
                      <a:lnTo>
                        <a:pt x="15" y="4"/>
                      </a:lnTo>
                      <a:lnTo>
                        <a:pt x="9" y="4"/>
                      </a:lnTo>
                      <a:lnTo>
                        <a:pt x="5" y="1"/>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23" name="Freeform 85">
                  <a:extLst>
                    <a:ext uri="{FF2B5EF4-FFF2-40B4-BE49-F238E27FC236}">
                      <a16:creationId xmlns:a16="http://schemas.microsoft.com/office/drawing/2014/main" id="{1CA42CC9-907A-761C-BFB0-9FA2F65FB1DF}"/>
                    </a:ext>
                  </a:extLst>
                </p:cNvPr>
                <p:cNvSpPr>
                  <a:spLocks/>
                </p:cNvSpPr>
                <p:nvPr/>
              </p:nvSpPr>
              <p:spPr bwMode="auto">
                <a:xfrm>
                  <a:off x="3423" y="1310"/>
                  <a:ext cx="10" cy="6"/>
                </a:xfrm>
                <a:custGeom>
                  <a:avLst/>
                  <a:gdLst>
                    <a:gd name="T0" fmla="*/ 8 w 10"/>
                    <a:gd name="T1" fmla="*/ 6 h 6"/>
                    <a:gd name="T2" fmla="*/ 10 w 10"/>
                    <a:gd name="T3" fmla="*/ 4 h 6"/>
                    <a:gd name="T4" fmla="*/ 4 w 10"/>
                    <a:gd name="T5" fmla="*/ 0 h 6"/>
                    <a:gd name="T6" fmla="*/ 2 w 10"/>
                    <a:gd name="T7" fmla="*/ 0 h 6"/>
                    <a:gd name="T8" fmla="*/ 0 w 10"/>
                    <a:gd name="T9" fmla="*/ 1 h 6"/>
                    <a:gd name="T10" fmla="*/ 8 w 10"/>
                    <a:gd name="T11" fmla="*/ 6 h 6"/>
                    <a:gd name="T12" fmla="*/ 8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6"/>
                      </a:moveTo>
                      <a:lnTo>
                        <a:pt x="10" y="4"/>
                      </a:lnTo>
                      <a:lnTo>
                        <a:pt x="4" y="0"/>
                      </a:lnTo>
                      <a:lnTo>
                        <a:pt x="2" y="0"/>
                      </a:lnTo>
                      <a:lnTo>
                        <a:pt x="0" y="1"/>
                      </a:lnTo>
                      <a:lnTo>
                        <a:pt x="8" y="6"/>
                      </a:ln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24" name="Freeform 86">
                  <a:extLst>
                    <a:ext uri="{FF2B5EF4-FFF2-40B4-BE49-F238E27FC236}">
                      <a16:creationId xmlns:a16="http://schemas.microsoft.com/office/drawing/2014/main" id="{F4098DE0-BA37-DDBD-EC1A-53A0BBC7F4EF}"/>
                    </a:ext>
                  </a:extLst>
                </p:cNvPr>
                <p:cNvSpPr>
                  <a:spLocks/>
                </p:cNvSpPr>
                <p:nvPr/>
              </p:nvSpPr>
              <p:spPr bwMode="auto">
                <a:xfrm>
                  <a:off x="3426" y="1503"/>
                  <a:ext cx="22" cy="12"/>
                </a:xfrm>
                <a:custGeom>
                  <a:avLst/>
                  <a:gdLst>
                    <a:gd name="T0" fmla="*/ 14 w 22"/>
                    <a:gd name="T1" fmla="*/ 0 h 12"/>
                    <a:gd name="T2" fmla="*/ 11 w 22"/>
                    <a:gd name="T3" fmla="*/ 2 h 12"/>
                    <a:gd name="T4" fmla="*/ 8 w 22"/>
                    <a:gd name="T5" fmla="*/ 3 h 12"/>
                    <a:gd name="T6" fmla="*/ 5 w 22"/>
                    <a:gd name="T7" fmla="*/ 1 h 12"/>
                    <a:gd name="T8" fmla="*/ 0 w 22"/>
                    <a:gd name="T9" fmla="*/ 2 h 12"/>
                    <a:gd name="T10" fmla="*/ 1 w 22"/>
                    <a:gd name="T11" fmla="*/ 6 h 12"/>
                    <a:gd name="T12" fmla="*/ 0 w 22"/>
                    <a:gd name="T13" fmla="*/ 11 h 12"/>
                    <a:gd name="T14" fmla="*/ 6 w 22"/>
                    <a:gd name="T15" fmla="*/ 12 h 12"/>
                    <a:gd name="T16" fmla="*/ 8 w 22"/>
                    <a:gd name="T17" fmla="*/ 11 h 12"/>
                    <a:gd name="T18" fmla="*/ 11 w 22"/>
                    <a:gd name="T19" fmla="*/ 11 h 12"/>
                    <a:gd name="T20" fmla="*/ 16 w 22"/>
                    <a:gd name="T21" fmla="*/ 11 h 12"/>
                    <a:gd name="T22" fmla="*/ 20 w 22"/>
                    <a:gd name="T23" fmla="*/ 12 h 12"/>
                    <a:gd name="T24" fmla="*/ 22 w 22"/>
                    <a:gd name="T25" fmla="*/ 10 h 12"/>
                    <a:gd name="T26" fmla="*/ 22 w 22"/>
                    <a:gd name="T27" fmla="*/ 8 h 12"/>
                    <a:gd name="T28" fmla="*/ 20 w 22"/>
                    <a:gd name="T29" fmla="*/ 8 h 12"/>
                    <a:gd name="T30" fmla="*/ 16 w 22"/>
                    <a:gd name="T31" fmla="*/ 9 h 12"/>
                    <a:gd name="T32" fmla="*/ 14 w 22"/>
                    <a:gd name="T33" fmla="*/ 8 h 12"/>
                    <a:gd name="T34" fmla="*/ 13 w 22"/>
                    <a:gd name="T35" fmla="*/ 4 h 12"/>
                    <a:gd name="T36" fmla="*/ 9 w 22"/>
                    <a:gd name="T37" fmla="*/ 6 h 12"/>
                    <a:gd name="T38" fmla="*/ 13 w 22"/>
                    <a:gd name="T39" fmla="*/ 4 h 12"/>
                    <a:gd name="T40" fmla="*/ 15 w 22"/>
                    <a:gd name="T41" fmla="*/ 3 h 12"/>
                    <a:gd name="T42" fmla="*/ 14 w 22"/>
                    <a:gd name="T43" fmla="*/ 0 h 12"/>
                    <a:gd name="T44" fmla="*/ 14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14" y="0"/>
                      </a:moveTo>
                      <a:lnTo>
                        <a:pt x="11" y="2"/>
                      </a:lnTo>
                      <a:lnTo>
                        <a:pt x="8" y="3"/>
                      </a:lnTo>
                      <a:lnTo>
                        <a:pt x="5" y="1"/>
                      </a:lnTo>
                      <a:lnTo>
                        <a:pt x="0" y="2"/>
                      </a:lnTo>
                      <a:lnTo>
                        <a:pt x="1" y="6"/>
                      </a:lnTo>
                      <a:lnTo>
                        <a:pt x="0" y="11"/>
                      </a:lnTo>
                      <a:lnTo>
                        <a:pt x="6" y="12"/>
                      </a:lnTo>
                      <a:lnTo>
                        <a:pt x="8" y="11"/>
                      </a:lnTo>
                      <a:lnTo>
                        <a:pt x="11" y="11"/>
                      </a:lnTo>
                      <a:lnTo>
                        <a:pt x="16" y="11"/>
                      </a:lnTo>
                      <a:lnTo>
                        <a:pt x="20" y="12"/>
                      </a:lnTo>
                      <a:lnTo>
                        <a:pt x="22" y="10"/>
                      </a:lnTo>
                      <a:lnTo>
                        <a:pt x="22" y="8"/>
                      </a:lnTo>
                      <a:lnTo>
                        <a:pt x="20" y="8"/>
                      </a:lnTo>
                      <a:lnTo>
                        <a:pt x="16" y="9"/>
                      </a:lnTo>
                      <a:lnTo>
                        <a:pt x="14" y="8"/>
                      </a:lnTo>
                      <a:lnTo>
                        <a:pt x="13" y="4"/>
                      </a:lnTo>
                      <a:lnTo>
                        <a:pt x="9" y="6"/>
                      </a:lnTo>
                      <a:lnTo>
                        <a:pt x="13" y="4"/>
                      </a:lnTo>
                      <a:lnTo>
                        <a:pt x="15" y="3"/>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25" name="Freeform 87">
                  <a:extLst>
                    <a:ext uri="{FF2B5EF4-FFF2-40B4-BE49-F238E27FC236}">
                      <a16:creationId xmlns:a16="http://schemas.microsoft.com/office/drawing/2014/main" id="{6AB89FEE-0F41-432C-F3B0-532C30D60E0E}"/>
                    </a:ext>
                  </a:extLst>
                </p:cNvPr>
                <p:cNvSpPr>
                  <a:spLocks/>
                </p:cNvSpPr>
                <p:nvPr/>
              </p:nvSpPr>
              <p:spPr bwMode="auto">
                <a:xfrm>
                  <a:off x="3797" y="2207"/>
                  <a:ext cx="22" cy="39"/>
                </a:xfrm>
                <a:custGeom>
                  <a:avLst/>
                  <a:gdLst>
                    <a:gd name="T0" fmla="*/ 4 w 22"/>
                    <a:gd name="T1" fmla="*/ 25 h 39"/>
                    <a:gd name="T2" fmla="*/ 3 w 22"/>
                    <a:gd name="T3" fmla="*/ 25 h 39"/>
                    <a:gd name="T4" fmla="*/ 2 w 22"/>
                    <a:gd name="T5" fmla="*/ 35 h 39"/>
                    <a:gd name="T6" fmla="*/ 5 w 22"/>
                    <a:gd name="T7" fmla="*/ 35 h 39"/>
                    <a:gd name="T8" fmla="*/ 5 w 22"/>
                    <a:gd name="T9" fmla="*/ 39 h 39"/>
                    <a:gd name="T10" fmla="*/ 9 w 22"/>
                    <a:gd name="T11" fmla="*/ 38 h 39"/>
                    <a:gd name="T12" fmla="*/ 11 w 22"/>
                    <a:gd name="T13" fmla="*/ 35 h 39"/>
                    <a:gd name="T14" fmla="*/ 12 w 22"/>
                    <a:gd name="T15" fmla="*/ 33 h 39"/>
                    <a:gd name="T16" fmla="*/ 11 w 22"/>
                    <a:gd name="T17" fmla="*/ 32 h 39"/>
                    <a:gd name="T18" fmla="*/ 12 w 22"/>
                    <a:gd name="T19" fmla="*/ 33 h 39"/>
                    <a:gd name="T20" fmla="*/ 16 w 22"/>
                    <a:gd name="T21" fmla="*/ 33 h 39"/>
                    <a:gd name="T22" fmla="*/ 19 w 22"/>
                    <a:gd name="T23" fmla="*/ 33 h 39"/>
                    <a:gd name="T24" fmla="*/ 20 w 22"/>
                    <a:gd name="T25" fmla="*/ 27 h 39"/>
                    <a:gd name="T26" fmla="*/ 20 w 22"/>
                    <a:gd name="T27" fmla="*/ 21 h 39"/>
                    <a:gd name="T28" fmla="*/ 20 w 22"/>
                    <a:gd name="T29" fmla="*/ 19 h 39"/>
                    <a:gd name="T30" fmla="*/ 19 w 22"/>
                    <a:gd name="T31" fmla="*/ 17 h 39"/>
                    <a:gd name="T32" fmla="*/ 20 w 22"/>
                    <a:gd name="T33" fmla="*/ 14 h 39"/>
                    <a:gd name="T34" fmla="*/ 22 w 22"/>
                    <a:gd name="T35" fmla="*/ 12 h 39"/>
                    <a:gd name="T36" fmla="*/ 19 w 22"/>
                    <a:gd name="T37" fmla="*/ 4 h 39"/>
                    <a:gd name="T38" fmla="*/ 17 w 22"/>
                    <a:gd name="T39" fmla="*/ 1 h 39"/>
                    <a:gd name="T40" fmla="*/ 13 w 22"/>
                    <a:gd name="T41" fmla="*/ 0 h 39"/>
                    <a:gd name="T42" fmla="*/ 11 w 22"/>
                    <a:gd name="T43" fmla="*/ 1 h 39"/>
                    <a:gd name="T44" fmla="*/ 9 w 22"/>
                    <a:gd name="T45" fmla="*/ 5 h 39"/>
                    <a:gd name="T46" fmla="*/ 5 w 22"/>
                    <a:gd name="T47" fmla="*/ 6 h 39"/>
                    <a:gd name="T48" fmla="*/ 3 w 22"/>
                    <a:gd name="T49" fmla="*/ 7 h 39"/>
                    <a:gd name="T50" fmla="*/ 0 w 22"/>
                    <a:gd name="T51" fmla="*/ 5 h 39"/>
                    <a:gd name="T52" fmla="*/ 0 w 22"/>
                    <a:gd name="T53" fmla="*/ 9 h 39"/>
                    <a:gd name="T54" fmla="*/ 2 w 22"/>
                    <a:gd name="T55" fmla="*/ 13 h 39"/>
                    <a:gd name="T56" fmla="*/ 4 w 22"/>
                    <a:gd name="T57" fmla="*/ 15 h 39"/>
                    <a:gd name="T58" fmla="*/ 3 w 22"/>
                    <a:gd name="T59" fmla="*/ 21 h 39"/>
                    <a:gd name="T60" fmla="*/ 4 w 22"/>
                    <a:gd name="T61" fmla="*/ 22 h 39"/>
                    <a:gd name="T62" fmla="*/ 4 w 22"/>
                    <a:gd name="T63" fmla="*/ 25 h 39"/>
                    <a:gd name="T64" fmla="*/ 4 w 22"/>
                    <a:gd name="T65"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39">
                      <a:moveTo>
                        <a:pt x="4" y="25"/>
                      </a:moveTo>
                      <a:lnTo>
                        <a:pt x="3" y="25"/>
                      </a:lnTo>
                      <a:lnTo>
                        <a:pt x="2" y="35"/>
                      </a:lnTo>
                      <a:lnTo>
                        <a:pt x="5" y="35"/>
                      </a:lnTo>
                      <a:lnTo>
                        <a:pt x="5" y="39"/>
                      </a:lnTo>
                      <a:lnTo>
                        <a:pt x="9" y="38"/>
                      </a:lnTo>
                      <a:lnTo>
                        <a:pt x="11" y="35"/>
                      </a:lnTo>
                      <a:lnTo>
                        <a:pt x="12" y="33"/>
                      </a:lnTo>
                      <a:lnTo>
                        <a:pt x="11" y="32"/>
                      </a:lnTo>
                      <a:lnTo>
                        <a:pt x="12" y="33"/>
                      </a:lnTo>
                      <a:lnTo>
                        <a:pt x="16" y="33"/>
                      </a:lnTo>
                      <a:lnTo>
                        <a:pt x="19" y="33"/>
                      </a:lnTo>
                      <a:lnTo>
                        <a:pt x="20" y="27"/>
                      </a:lnTo>
                      <a:lnTo>
                        <a:pt x="20" y="21"/>
                      </a:lnTo>
                      <a:lnTo>
                        <a:pt x="20" y="19"/>
                      </a:lnTo>
                      <a:lnTo>
                        <a:pt x="19" y="17"/>
                      </a:lnTo>
                      <a:lnTo>
                        <a:pt x="20" y="14"/>
                      </a:lnTo>
                      <a:lnTo>
                        <a:pt x="22" y="12"/>
                      </a:lnTo>
                      <a:lnTo>
                        <a:pt x="19" y="4"/>
                      </a:lnTo>
                      <a:lnTo>
                        <a:pt x="17" y="1"/>
                      </a:lnTo>
                      <a:lnTo>
                        <a:pt x="13" y="0"/>
                      </a:lnTo>
                      <a:lnTo>
                        <a:pt x="11" y="1"/>
                      </a:lnTo>
                      <a:lnTo>
                        <a:pt x="9" y="5"/>
                      </a:lnTo>
                      <a:lnTo>
                        <a:pt x="5" y="6"/>
                      </a:lnTo>
                      <a:lnTo>
                        <a:pt x="3" y="7"/>
                      </a:lnTo>
                      <a:lnTo>
                        <a:pt x="0" y="5"/>
                      </a:lnTo>
                      <a:lnTo>
                        <a:pt x="0" y="9"/>
                      </a:lnTo>
                      <a:lnTo>
                        <a:pt x="2" y="13"/>
                      </a:lnTo>
                      <a:lnTo>
                        <a:pt x="4" y="15"/>
                      </a:lnTo>
                      <a:lnTo>
                        <a:pt x="3" y="21"/>
                      </a:lnTo>
                      <a:lnTo>
                        <a:pt x="4" y="22"/>
                      </a:lnTo>
                      <a:lnTo>
                        <a:pt x="4" y="25"/>
                      </a:ln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26" name="Freeform 88">
                  <a:extLst>
                    <a:ext uri="{FF2B5EF4-FFF2-40B4-BE49-F238E27FC236}">
                      <a16:creationId xmlns:a16="http://schemas.microsoft.com/office/drawing/2014/main" id="{E54C64DC-B57A-03A3-708B-4FAE1122D81A}"/>
                    </a:ext>
                  </a:extLst>
                </p:cNvPr>
                <p:cNvSpPr>
                  <a:spLocks/>
                </p:cNvSpPr>
                <p:nvPr/>
              </p:nvSpPr>
              <p:spPr bwMode="auto">
                <a:xfrm>
                  <a:off x="3802" y="2178"/>
                  <a:ext cx="14" cy="27"/>
                </a:xfrm>
                <a:custGeom>
                  <a:avLst/>
                  <a:gdLst>
                    <a:gd name="T0" fmla="*/ 0 w 14"/>
                    <a:gd name="T1" fmla="*/ 10 h 27"/>
                    <a:gd name="T2" fmla="*/ 2 w 14"/>
                    <a:gd name="T3" fmla="*/ 12 h 27"/>
                    <a:gd name="T4" fmla="*/ 0 w 14"/>
                    <a:gd name="T5" fmla="*/ 17 h 27"/>
                    <a:gd name="T6" fmla="*/ 3 w 14"/>
                    <a:gd name="T7" fmla="*/ 18 h 27"/>
                    <a:gd name="T8" fmla="*/ 2 w 14"/>
                    <a:gd name="T9" fmla="*/ 21 h 27"/>
                    <a:gd name="T10" fmla="*/ 4 w 14"/>
                    <a:gd name="T11" fmla="*/ 22 h 27"/>
                    <a:gd name="T12" fmla="*/ 5 w 14"/>
                    <a:gd name="T13" fmla="*/ 25 h 27"/>
                    <a:gd name="T14" fmla="*/ 8 w 14"/>
                    <a:gd name="T15" fmla="*/ 27 h 27"/>
                    <a:gd name="T16" fmla="*/ 9 w 14"/>
                    <a:gd name="T17" fmla="*/ 27 h 27"/>
                    <a:gd name="T18" fmla="*/ 12 w 14"/>
                    <a:gd name="T19" fmla="*/ 21 h 27"/>
                    <a:gd name="T20" fmla="*/ 12 w 14"/>
                    <a:gd name="T21" fmla="*/ 18 h 27"/>
                    <a:gd name="T22" fmla="*/ 13 w 14"/>
                    <a:gd name="T23" fmla="*/ 15 h 27"/>
                    <a:gd name="T24" fmla="*/ 14 w 14"/>
                    <a:gd name="T25" fmla="*/ 13 h 27"/>
                    <a:gd name="T26" fmla="*/ 13 w 14"/>
                    <a:gd name="T27" fmla="*/ 8 h 27"/>
                    <a:gd name="T28" fmla="*/ 12 w 14"/>
                    <a:gd name="T29" fmla="*/ 5 h 27"/>
                    <a:gd name="T30" fmla="*/ 13 w 14"/>
                    <a:gd name="T31" fmla="*/ 3 h 27"/>
                    <a:gd name="T32" fmla="*/ 12 w 14"/>
                    <a:gd name="T33" fmla="*/ 0 h 27"/>
                    <a:gd name="T34" fmla="*/ 11 w 14"/>
                    <a:gd name="T35" fmla="*/ 2 h 27"/>
                    <a:gd name="T36" fmla="*/ 9 w 14"/>
                    <a:gd name="T37" fmla="*/ 5 h 27"/>
                    <a:gd name="T38" fmla="*/ 7 w 14"/>
                    <a:gd name="T39" fmla="*/ 4 h 27"/>
                    <a:gd name="T40" fmla="*/ 2 w 14"/>
                    <a:gd name="T41" fmla="*/ 8 h 27"/>
                    <a:gd name="T42" fmla="*/ 0 w 14"/>
                    <a:gd name="T43" fmla="*/ 10 h 27"/>
                    <a:gd name="T44" fmla="*/ 0 w 14"/>
                    <a:gd name="T4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27">
                      <a:moveTo>
                        <a:pt x="0" y="10"/>
                      </a:moveTo>
                      <a:lnTo>
                        <a:pt x="2" y="12"/>
                      </a:lnTo>
                      <a:lnTo>
                        <a:pt x="0" y="17"/>
                      </a:lnTo>
                      <a:lnTo>
                        <a:pt x="3" y="18"/>
                      </a:lnTo>
                      <a:lnTo>
                        <a:pt x="2" y="21"/>
                      </a:lnTo>
                      <a:lnTo>
                        <a:pt x="4" y="22"/>
                      </a:lnTo>
                      <a:lnTo>
                        <a:pt x="5" y="25"/>
                      </a:lnTo>
                      <a:lnTo>
                        <a:pt x="8" y="27"/>
                      </a:lnTo>
                      <a:lnTo>
                        <a:pt x="9" y="27"/>
                      </a:lnTo>
                      <a:lnTo>
                        <a:pt x="12" y="21"/>
                      </a:lnTo>
                      <a:lnTo>
                        <a:pt x="12" y="18"/>
                      </a:lnTo>
                      <a:lnTo>
                        <a:pt x="13" y="15"/>
                      </a:lnTo>
                      <a:lnTo>
                        <a:pt x="14" y="13"/>
                      </a:lnTo>
                      <a:lnTo>
                        <a:pt x="13" y="8"/>
                      </a:lnTo>
                      <a:lnTo>
                        <a:pt x="12" y="5"/>
                      </a:lnTo>
                      <a:lnTo>
                        <a:pt x="13" y="3"/>
                      </a:lnTo>
                      <a:lnTo>
                        <a:pt x="12" y="0"/>
                      </a:lnTo>
                      <a:lnTo>
                        <a:pt x="11" y="2"/>
                      </a:lnTo>
                      <a:lnTo>
                        <a:pt x="9" y="5"/>
                      </a:lnTo>
                      <a:lnTo>
                        <a:pt x="7" y="4"/>
                      </a:lnTo>
                      <a:lnTo>
                        <a:pt x="2" y="8"/>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27" name="Freeform 89">
                  <a:extLst>
                    <a:ext uri="{FF2B5EF4-FFF2-40B4-BE49-F238E27FC236}">
                      <a16:creationId xmlns:a16="http://schemas.microsoft.com/office/drawing/2014/main" id="{02B90618-5D19-788E-D69D-DE60F4E69136}"/>
                    </a:ext>
                  </a:extLst>
                </p:cNvPr>
                <p:cNvSpPr>
                  <a:spLocks/>
                </p:cNvSpPr>
                <p:nvPr/>
              </p:nvSpPr>
              <p:spPr bwMode="auto">
                <a:xfrm>
                  <a:off x="3856" y="2255"/>
                  <a:ext cx="42" cy="25"/>
                </a:xfrm>
                <a:custGeom>
                  <a:avLst/>
                  <a:gdLst>
                    <a:gd name="T0" fmla="*/ 26 w 42"/>
                    <a:gd name="T1" fmla="*/ 20 h 25"/>
                    <a:gd name="T2" fmla="*/ 26 w 42"/>
                    <a:gd name="T3" fmla="*/ 21 h 25"/>
                    <a:gd name="T4" fmla="*/ 29 w 42"/>
                    <a:gd name="T5" fmla="*/ 24 h 25"/>
                    <a:gd name="T6" fmla="*/ 34 w 42"/>
                    <a:gd name="T7" fmla="*/ 25 h 25"/>
                    <a:gd name="T8" fmla="*/ 36 w 42"/>
                    <a:gd name="T9" fmla="*/ 25 h 25"/>
                    <a:gd name="T10" fmla="*/ 36 w 42"/>
                    <a:gd name="T11" fmla="*/ 21 h 25"/>
                    <a:gd name="T12" fmla="*/ 38 w 42"/>
                    <a:gd name="T13" fmla="*/ 19 h 25"/>
                    <a:gd name="T14" fmla="*/ 37 w 42"/>
                    <a:gd name="T15" fmla="*/ 17 h 25"/>
                    <a:gd name="T16" fmla="*/ 36 w 42"/>
                    <a:gd name="T17" fmla="*/ 15 h 25"/>
                    <a:gd name="T18" fmla="*/ 35 w 42"/>
                    <a:gd name="T19" fmla="*/ 12 h 25"/>
                    <a:gd name="T20" fmla="*/ 37 w 42"/>
                    <a:gd name="T21" fmla="*/ 8 h 25"/>
                    <a:gd name="T22" fmla="*/ 42 w 42"/>
                    <a:gd name="T23" fmla="*/ 2 h 25"/>
                    <a:gd name="T24" fmla="*/ 42 w 42"/>
                    <a:gd name="T25" fmla="*/ 0 h 25"/>
                    <a:gd name="T26" fmla="*/ 37 w 42"/>
                    <a:gd name="T27" fmla="*/ 2 h 25"/>
                    <a:gd name="T28" fmla="*/ 31 w 42"/>
                    <a:gd name="T29" fmla="*/ 2 h 25"/>
                    <a:gd name="T30" fmla="*/ 26 w 42"/>
                    <a:gd name="T31" fmla="*/ 4 h 25"/>
                    <a:gd name="T32" fmla="*/ 20 w 42"/>
                    <a:gd name="T33" fmla="*/ 3 h 25"/>
                    <a:gd name="T34" fmla="*/ 17 w 42"/>
                    <a:gd name="T35" fmla="*/ 4 h 25"/>
                    <a:gd name="T36" fmla="*/ 12 w 42"/>
                    <a:gd name="T37" fmla="*/ 1 h 25"/>
                    <a:gd name="T38" fmla="*/ 9 w 42"/>
                    <a:gd name="T39" fmla="*/ 1 h 25"/>
                    <a:gd name="T40" fmla="*/ 6 w 42"/>
                    <a:gd name="T41" fmla="*/ 3 h 25"/>
                    <a:gd name="T42" fmla="*/ 4 w 42"/>
                    <a:gd name="T43" fmla="*/ 3 h 25"/>
                    <a:gd name="T44" fmla="*/ 2 w 42"/>
                    <a:gd name="T45" fmla="*/ 3 h 25"/>
                    <a:gd name="T46" fmla="*/ 0 w 42"/>
                    <a:gd name="T47" fmla="*/ 5 h 25"/>
                    <a:gd name="T48" fmla="*/ 0 w 42"/>
                    <a:gd name="T49" fmla="*/ 9 h 25"/>
                    <a:gd name="T50" fmla="*/ 2 w 42"/>
                    <a:gd name="T51" fmla="*/ 11 h 25"/>
                    <a:gd name="T52" fmla="*/ 5 w 42"/>
                    <a:gd name="T53" fmla="*/ 11 h 25"/>
                    <a:gd name="T54" fmla="*/ 14 w 42"/>
                    <a:gd name="T55" fmla="*/ 16 h 25"/>
                    <a:gd name="T56" fmla="*/ 17 w 42"/>
                    <a:gd name="T57" fmla="*/ 18 h 25"/>
                    <a:gd name="T58" fmla="*/ 20 w 42"/>
                    <a:gd name="T59" fmla="*/ 18 h 25"/>
                    <a:gd name="T60" fmla="*/ 22 w 42"/>
                    <a:gd name="T61" fmla="*/ 18 h 25"/>
                    <a:gd name="T62" fmla="*/ 26 w 42"/>
                    <a:gd name="T63" fmla="*/ 20 h 25"/>
                    <a:gd name="T64" fmla="*/ 26 w 42"/>
                    <a:gd name="T65"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25">
                      <a:moveTo>
                        <a:pt x="26" y="20"/>
                      </a:moveTo>
                      <a:lnTo>
                        <a:pt x="26" y="21"/>
                      </a:lnTo>
                      <a:lnTo>
                        <a:pt x="29" y="24"/>
                      </a:lnTo>
                      <a:lnTo>
                        <a:pt x="34" y="25"/>
                      </a:lnTo>
                      <a:lnTo>
                        <a:pt x="36" y="25"/>
                      </a:lnTo>
                      <a:lnTo>
                        <a:pt x="36" y="21"/>
                      </a:lnTo>
                      <a:lnTo>
                        <a:pt x="38" y="19"/>
                      </a:lnTo>
                      <a:lnTo>
                        <a:pt x="37" y="17"/>
                      </a:lnTo>
                      <a:lnTo>
                        <a:pt x="36" y="15"/>
                      </a:lnTo>
                      <a:lnTo>
                        <a:pt x="35" y="12"/>
                      </a:lnTo>
                      <a:lnTo>
                        <a:pt x="37" y="8"/>
                      </a:lnTo>
                      <a:lnTo>
                        <a:pt x="42" y="2"/>
                      </a:lnTo>
                      <a:lnTo>
                        <a:pt x="42" y="0"/>
                      </a:lnTo>
                      <a:lnTo>
                        <a:pt x="37" y="2"/>
                      </a:lnTo>
                      <a:lnTo>
                        <a:pt x="31" y="2"/>
                      </a:lnTo>
                      <a:lnTo>
                        <a:pt x="26" y="4"/>
                      </a:lnTo>
                      <a:lnTo>
                        <a:pt x="20" y="3"/>
                      </a:lnTo>
                      <a:lnTo>
                        <a:pt x="17" y="4"/>
                      </a:lnTo>
                      <a:lnTo>
                        <a:pt x="12" y="1"/>
                      </a:lnTo>
                      <a:lnTo>
                        <a:pt x="9" y="1"/>
                      </a:lnTo>
                      <a:lnTo>
                        <a:pt x="6" y="3"/>
                      </a:lnTo>
                      <a:lnTo>
                        <a:pt x="4" y="3"/>
                      </a:lnTo>
                      <a:lnTo>
                        <a:pt x="2" y="3"/>
                      </a:lnTo>
                      <a:lnTo>
                        <a:pt x="0" y="5"/>
                      </a:lnTo>
                      <a:lnTo>
                        <a:pt x="0" y="9"/>
                      </a:lnTo>
                      <a:lnTo>
                        <a:pt x="2" y="11"/>
                      </a:lnTo>
                      <a:lnTo>
                        <a:pt x="5" y="11"/>
                      </a:lnTo>
                      <a:lnTo>
                        <a:pt x="14" y="16"/>
                      </a:lnTo>
                      <a:lnTo>
                        <a:pt x="17" y="18"/>
                      </a:lnTo>
                      <a:lnTo>
                        <a:pt x="20" y="18"/>
                      </a:lnTo>
                      <a:lnTo>
                        <a:pt x="22" y="18"/>
                      </a:lnTo>
                      <a:lnTo>
                        <a:pt x="26" y="20"/>
                      </a:lnTo>
                      <a:lnTo>
                        <a:pt x="2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28" name="Freeform 90">
                  <a:extLst>
                    <a:ext uri="{FF2B5EF4-FFF2-40B4-BE49-F238E27FC236}">
                      <a16:creationId xmlns:a16="http://schemas.microsoft.com/office/drawing/2014/main" id="{9AD80D6D-6598-C3AA-4FDA-53CC67AE64B6}"/>
                    </a:ext>
                  </a:extLst>
                </p:cNvPr>
                <p:cNvSpPr>
                  <a:spLocks noEditPoints="1"/>
                </p:cNvSpPr>
                <p:nvPr/>
              </p:nvSpPr>
              <p:spPr bwMode="auto">
                <a:xfrm>
                  <a:off x="3542" y="1894"/>
                  <a:ext cx="166" cy="164"/>
                </a:xfrm>
                <a:custGeom>
                  <a:avLst/>
                  <a:gdLst>
                    <a:gd name="T0" fmla="*/ 51 w 166"/>
                    <a:gd name="T1" fmla="*/ 12 h 164"/>
                    <a:gd name="T2" fmla="*/ 52 w 166"/>
                    <a:gd name="T3" fmla="*/ 6 h 164"/>
                    <a:gd name="T4" fmla="*/ 54 w 166"/>
                    <a:gd name="T5" fmla="*/ 20 h 164"/>
                    <a:gd name="T6" fmla="*/ 62 w 166"/>
                    <a:gd name="T7" fmla="*/ 30 h 164"/>
                    <a:gd name="T8" fmla="*/ 56 w 166"/>
                    <a:gd name="T9" fmla="*/ 47 h 164"/>
                    <a:gd name="T10" fmla="*/ 60 w 166"/>
                    <a:gd name="T11" fmla="*/ 45 h 164"/>
                    <a:gd name="T12" fmla="*/ 148 w 166"/>
                    <a:gd name="T13" fmla="*/ 113 h 164"/>
                    <a:gd name="T14" fmla="*/ 134 w 166"/>
                    <a:gd name="T15" fmla="*/ 96 h 164"/>
                    <a:gd name="T16" fmla="*/ 135 w 166"/>
                    <a:gd name="T17" fmla="*/ 81 h 164"/>
                    <a:gd name="T18" fmla="*/ 118 w 166"/>
                    <a:gd name="T19" fmla="*/ 60 h 164"/>
                    <a:gd name="T20" fmla="*/ 90 w 166"/>
                    <a:gd name="T21" fmla="*/ 51 h 164"/>
                    <a:gd name="T22" fmla="*/ 103 w 166"/>
                    <a:gd name="T23" fmla="*/ 44 h 164"/>
                    <a:gd name="T24" fmla="*/ 115 w 166"/>
                    <a:gd name="T25" fmla="*/ 28 h 164"/>
                    <a:gd name="T26" fmla="*/ 90 w 166"/>
                    <a:gd name="T27" fmla="*/ 21 h 164"/>
                    <a:gd name="T28" fmla="*/ 87 w 166"/>
                    <a:gd name="T29" fmla="*/ 14 h 164"/>
                    <a:gd name="T30" fmla="*/ 87 w 166"/>
                    <a:gd name="T31" fmla="*/ 2 h 164"/>
                    <a:gd name="T32" fmla="*/ 69 w 166"/>
                    <a:gd name="T33" fmla="*/ 9 h 164"/>
                    <a:gd name="T34" fmla="*/ 62 w 166"/>
                    <a:gd name="T35" fmla="*/ 23 h 164"/>
                    <a:gd name="T36" fmla="*/ 69 w 166"/>
                    <a:gd name="T37" fmla="*/ 30 h 164"/>
                    <a:gd name="T38" fmla="*/ 59 w 166"/>
                    <a:gd name="T39" fmla="*/ 39 h 164"/>
                    <a:gd name="T40" fmla="*/ 72 w 166"/>
                    <a:gd name="T41" fmla="*/ 39 h 164"/>
                    <a:gd name="T42" fmla="*/ 67 w 166"/>
                    <a:gd name="T43" fmla="*/ 48 h 164"/>
                    <a:gd name="T44" fmla="*/ 68 w 166"/>
                    <a:gd name="T45" fmla="*/ 61 h 164"/>
                    <a:gd name="T46" fmla="*/ 77 w 166"/>
                    <a:gd name="T47" fmla="*/ 49 h 164"/>
                    <a:gd name="T48" fmla="*/ 78 w 166"/>
                    <a:gd name="T49" fmla="*/ 63 h 164"/>
                    <a:gd name="T50" fmla="*/ 76 w 166"/>
                    <a:gd name="T51" fmla="*/ 78 h 164"/>
                    <a:gd name="T52" fmla="*/ 87 w 166"/>
                    <a:gd name="T53" fmla="*/ 75 h 164"/>
                    <a:gd name="T54" fmla="*/ 96 w 166"/>
                    <a:gd name="T55" fmla="*/ 83 h 164"/>
                    <a:gd name="T56" fmla="*/ 103 w 166"/>
                    <a:gd name="T57" fmla="*/ 96 h 164"/>
                    <a:gd name="T58" fmla="*/ 92 w 166"/>
                    <a:gd name="T59" fmla="*/ 104 h 164"/>
                    <a:gd name="T60" fmla="*/ 80 w 166"/>
                    <a:gd name="T61" fmla="*/ 111 h 164"/>
                    <a:gd name="T62" fmla="*/ 87 w 166"/>
                    <a:gd name="T63" fmla="*/ 118 h 164"/>
                    <a:gd name="T64" fmla="*/ 75 w 166"/>
                    <a:gd name="T65" fmla="*/ 133 h 164"/>
                    <a:gd name="T66" fmla="*/ 84 w 166"/>
                    <a:gd name="T67" fmla="*/ 135 h 164"/>
                    <a:gd name="T68" fmla="*/ 103 w 166"/>
                    <a:gd name="T69" fmla="*/ 135 h 164"/>
                    <a:gd name="T70" fmla="*/ 94 w 166"/>
                    <a:gd name="T71" fmla="*/ 141 h 164"/>
                    <a:gd name="T72" fmla="*/ 71 w 166"/>
                    <a:gd name="T73" fmla="*/ 158 h 164"/>
                    <a:gd name="T74" fmla="*/ 77 w 166"/>
                    <a:gd name="T75" fmla="*/ 159 h 164"/>
                    <a:gd name="T76" fmla="*/ 95 w 166"/>
                    <a:gd name="T77" fmla="*/ 151 h 164"/>
                    <a:gd name="T78" fmla="*/ 122 w 166"/>
                    <a:gd name="T79" fmla="*/ 150 h 164"/>
                    <a:gd name="T80" fmla="*/ 155 w 166"/>
                    <a:gd name="T81" fmla="*/ 147 h 164"/>
                    <a:gd name="T82" fmla="*/ 148 w 166"/>
                    <a:gd name="T83" fmla="*/ 138 h 164"/>
                    <a:gd name="T84" fmla="*/ 157 w 166"/>
                    <a:gd name="T85" fmla="*/ 129 h 164"/>
                    <a:gd name="T86" fmla="*/ 68 w 166"/>
                    <a:gd name="T87" fmla="*/ 83 h 164"/>
                    <a:gd name="T88" fmla="*/ 61 w 166"/>
                    <a:gd name="T89" fmla="*/ 70 h 164"/>
                    <a:gd name="T90" fmla="*/ 43 w 166"/>
                    <a:gd name="T91" fmla="*/ 70 h 164"/>
                    <a:gd name="T92" fmla="*/ 38 w 166"/>
                    <a:gd name="T93" fmla="*/ 71 h 164"/>
                    <a:gd name="T94" fmla="*/ 32 w 166"/>
                    <a:gd name="T95" fmla="*/ 79 h 164"/>
                    <a:gd name="T96" fmla="*/ 17 w 166"/>
                    <a:gd name="T97" fmla="*/ 87 h 164"/>
                    <a:gd name="T98" fmla="*/ 7 w 166"/>
                    <a:gd name="T99" fmla="*/ 92 h 164"/>
                    <a:gd name="T100" fmla="*/ 3 w 166"/>
                    <a:gd name="T101" fmla="*/ 99 h 164"/>
                    <a:gd name="T102" fmla="*/ 16 w 166"/>
                    <a:gd name="T103" fmla="*/ 106 h 164"/>
                    <a:gd name="T104" fmla="*/ 23 w 166"/>
                    <a:gd name="T105" fmla="*/ 115 h 164"/>
                    <a:gd name="T106" fmla="*/ 9 w 166"/>
                    <a:gd name="T107" fmla="*/ 125 h 164"/>
                    <a:gd name="T108" fmla="*/ 6 w 166"/>
                    <a:gd name="T109" fmla="*/ 134 h 164"/>
                    <a:gd name="T110" fmla="*/ 27 w 166"/>
                    <a:gd name="T111" fmla="*/ 130 h 164"/>
                    <a:gd name="T112" fmla="*/ 43 w 166"/>
                    <a:gd name="T113" fmla="*/ 125 h 164"/>
                    <a:gd name="T114" fmla="*/ 55 w 166"/>
                    <a:gd name="T115" fmla="*/ 121 h 164"/>
                    <a:gd name="T116" fmla="*/ 59 w 166"/>
                    <a:gd name="T117" fmla="*/ 100 h 164"/>
                    <a:gd name="T118" fmla="*/ 67 w 166"/>
                    <a:gd name="T119" fmla="*/ 8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6" h="164">
                      <a:moveTo>
                        <a:pt x="50" y="15"/>
                      </a:moveTo>
                      <a:lnTo>
                        <a:pt x="49" y="15"/>
                      </a:lnTo>
                      <a:lnTo>
                        <a:pt x="45" y="17"/>
                      </a:lnTo>
                      <a:lnTo>
                        <a:pt x="49" y="18"/>
                      </a:lnTo>
                      <a:lnTo>
                        <a:pt x="50" y="15"/>
                      </a:lnTo>
                      <a:close/>
                      <a:moveTo>
                        <a:pt x="50" y="15"/>
                      </a:moveTo>
                      <a:lnTo>
                        <a:pt x="51" y="14"/>
                      </a:lnTo>
                      <a:lnTo>
                        <a:pt x="51" y="12"/>
                      </a:lnTo>
                      <a:lnTo>
                        <a:pt x="52" y="14"/>
                      </a:lnTo>
                      <a:lnTo>
                        <a:pt x="54" y="14"/>
                      </a:lnTo>
                      <a:lnTo>
                        <a:pt x="54" y="11"/>
                      </a:lnTo>
                      <a:lnTo>
                        <a:pt x="56" y="9"/>
                      </a:lnTo>
                      <a:lnTo>
                        <a:pt x="58" y="6"/>
                      </a:lnTo>
                      <a:lnTo>
                        <a:pt x="58" y="4"/>
                      </a:lnTo>
                      <a:lnTo>
                        <a:pt x="55" y="4"/>
                      </a:lnTo>
                      <a:lnTo>
                        <a:pt x="52" y="6"/>
                      </a:lnTo>
                      <a:lnTo>
                        <a:pt x="50" y="9"/>
                      </a:lnTo>
                      <a:lnTo>
                        <a:pt x="49" y="11"/>
                      </a:lnTo>
                      <a:lnTo>
                        <a:pt x="46" y="9"/>
                      </a:lnTo>
                      <a:lnTo>
                        <a:pt x="45" y="11"/>
                      </a:lnTo>
                      <a:lnTo>
                        <a:pt x="46" y="14"/>
                      </a:lnTo>
                      <a:lnTo>
                        <a:pt x="50" y="15"/>
                      </a:lnTo>
                      <a:close/>
                      <a:moveTo>
                        <a:pt x="58" y="20"/>
                      </a:moveTo>
                      <a:lnTo>
                        <a:pt x="54" y="20"/>
                      </a:lnTo>
                      <a:lnTo>
                        <a:pt x="55" y="23"/>
                      </a:lnTo>
                      <a:lnTo>
                        <a:pt x="53" y="22"/>
                      </a:lnTo>
                      <a:lnTo>
                        <a:pt x="50" y="23"/>
                      </a:lnTo>
                      <a:lnTo>
                        <a:pt x="51" y="26"/>
                      </a:lnTo>
                      <a:lnTo>
                        <a:pt x="54" y="27"/>
                      </a:lnTo>
                      <a:lnTo>
                        <a:pt x="56" y="30"/>
                      </a:lnTo>
                      <a:lnTo>
                        <a:pt x="59" y="30"/>
                      </a:lnTo>
                      <a:lnTo>
                        <a:pt x="62" y="30"/>
                      </a:lnTo>
                      <a:lnTo>
                        <a:pt x="60" y="32"/>
                      </a:lnTo>
                      <a:lnTo>
                        <a:pt x="63" y="30"/>
                      </a:lnTo>
                      <a:lnTo>
                        <a:pt x="64" y="28"/>
                      </a:lnTo>
                      <a:lnTo>
                        <a:pt x="61" y="28"/>
                      </a:lnTo>
                      <a:lnTo>
                        <a:pt x="59" y="26"/>
                      </a:lnTo>
                      <a:lnTo>
                        <a:pt x="59" y="23"/>
                      </a:lnTo>
                      <a:lnTo>
                        <a:pt x="58" y="20"/>
                      </a:lnTo>
                      <a:close/>
                      <a:moveTo>
                        <a:pt x="56" y="47"/>
                      </a:moveTo>
                      <a:lnTo>
                        <a:pt x="61" y="46"/>
                      </a:lnTo>
                      <a:lnTo>
                        <a:pt x="64" y="46"/>
                      </a:lnTo>
                      <a:lnTo>
                        <a:pt x="64" y="43"/>
                      </a:lnTo>
                      <a:lnTo>
                        <a:pt x="61" y="43"/>
                      </a:lnTo>
                      <a:lnTo>
                        <a:pt x="59" y="39"/>
                      </a:lnTo>
                      <a:lnTo>
                        <a:pt x="58" y="43"/>
                      </a:lnTo>
                      <a:lnTo>
                        <a:pt x="60" y="43"/>
                      </a:lnTo>
                      <a:lnTo>
                        <a:pt x="60" y="45"/>
                      </a:lnTo>
                      <a:lnTo>
                        <a:pt x="56" y="47"/>
                      </a:lnTo>
                      <a:close/>
                      <a:moveTo>
                        <a:pt x="166" y="116"/>
                      </a:moveTo>
                      <a:lnTo>
                        <a:pt x="165" y="113"/>
                      </a:lnTo>
                      <a:lnTo>
                        <a:pt x="160" y="111"/>
                      </a:lnTo>
                      <a:lnTo>
                        <a:pt x="155" y="109"/>
                      </a:lnTo>
                      <a:lnTo>
                        <a:pt x="152" y="109"/>
                      </a:lnTo>
                      <a:lnTo>
                        <a:pt x="149" y="111"/>
                      </a:lnTo>
                      <a:lnTo>
                        <a:pt x="148" y="113"/>
                      </a:lnTo>
                      <a:lnTo>
                        <a:pt x="143" y="112"/>
                      </a:lnTo>
                      <a:lnTo>
                        <a:pt x="147" y="106"/>
                      </a:lnTo>
                      <a:lnTo>
                        <a:pt x="147" y="104"/>
                      </a:lnTo>
                      <a:lnTo>
                        <a:pt x="146" y="101"/>
                      </a:lnTo>
                      <a:lnTo>
                        <a:pt x="138" y="96"/>
                      </a:lnTo>
                      <a:lnTo>
                        <a:pt x="136" y="96"/>
                      </a:lnTo>
                      <a:lnTo>
                        <a:pt x="132" y="96"/>
                      </a:lnTo>
                      <a:lnTo>
                        <a:pt x="134" y="96"/>
                      </a:lnTo>
                      <a:lnTo>
                        <a:pt x="137" y="96"/>
                      </a:lnTo>
                      <a:lnTo>
                        <a:pt x="138" y="96"/>
                      </a:lnTo>
                      <a:lnTo>
                        <a:pt x="143" y="97"/>
                      </a:lnTo>
                      <a:lnTo>
                        <a:pt x="145" y="97"/>
                      </a:lnTo>
                      <a:lnTo>
                        <a:pt x="141" y="92"/>
                      </a:lnTo>
                      <a:lnTo>
                        <a:pt x="140" y="90"/>
                      </a:lnTo>
                      <a:lnTo>
                        <a:pt x="140" y="88"/>
                      </a:lnTo>
                      <a:lnTo>
                        <a:pt x="135" y="81"/>
                      </a:lnTo>
                      <a:lnTo>
                        <a:pt x="132" y="80"/>
                      </a:lnTo>
                      <a:lnTo>
                        <a:pt x="127" y="79"/>
                      </a:lnTo>
                      <a:lnTo>
                        <a:pt x="127" y="78"/>
                      </a:lnTo>
                      <a:lnTo>
                        <a:pt x="124" y="75"/>
                      </a:lnTo>
                      <a:lnTo>
                        <a:pt x="123" y="70"/>
                      </a:lnTo>
                      <a:lnTo>
                        <a:pt x="122" y="69"/>
                      </a:lnTo>
                      <a:lnTo>
                        <a:pt x="120" y="61"/>
                      </a:lnTo>
                      <a:lnTo>
                        <a:pt x="118" y="60"/>
                      </a:lnTo>
                      <a:lnTo>
                        <a:pt x="113" y="54"/>
                      </a:lnTo>
                      <a:lnTo>
                        <a:pt x="111" y="53"/>
                      </a:lnTo>
                      <a:lnTo>
                        <a:pt x="107" y="52"/>
                      </a:lnTo>
                      <a:lnTo>
                        <a:pt x="104" y="52"/>
                      </a:lnTo>
                      <a:lnTo>
                        <a:pt x="102" y="53"/>
                      </a:lnTo>
                      <a:lnTo>
                        <a:pt x="94" y="53"/>
                      </a:lnTo>
                      <a:lnTo>
                        <a:pt x="92" y="52"/>
                      </a:lnTo>
                      <a:lnTo>
                        <a:pt x="90" y="51"/>
                      </a:lnTo>
                      <a:lnTo>
                        <a:pt x="92" y="52"/>
                      </a:lnTo>
                      <a:lnTo>
                        <a:pt x="94" y="52"/>
                      </a:lnTo>
                      <a:lnTo>
                        <a:pt x="96" y="52"/>
                      </a:lnTo>
                      <a:lnTo>
                        <a:pt x="98" y="52"/>
                      </a:lnTo>
                      <a:lnTo>
                        <a:pt x="102" y="48"/>
                      </a:lnTo>
                      <a:lnTo>
                        <a:pt x="104" y="48"/>
                      </a:lnTo>
                      <a:lnTo>
                        <a:pt x="105" y="46"/>
                      </a:lnTo>
                      <a:lnTo>
                        <a:pt x="103" y="44"/>
                      </a:lnTo>
                      <a:lnTo>
                        <a:pt x="98" y="46"/>
                      </a:lnTo>
                      <a:lnTo>
                        <a:pt x="97" y="45"/>
                      </a:lnTo>
                      <a:lnTo>
                        <a:pt x="102" y="44"/>
                      </a:lnTo>
                      <a:lnTo>
                        <a:pt x="105" y="44"/>
                      </a:lnTo>
                      <a:lnTo>
                        <a:pt x="107" y="41"/>
                      </a:lnTo>
                      <a:lnTo>
                        <a:pt x="110" y="38"/>
                      </a:lnTo>
                      <a:lnTo>
                        <a:pt x="113" y="35"/>
                      </a:lnTo>
                      <a:lnTo>
                        <a:pt x="115" y="28"/>
                      </a:lnTo>
                      <a:lnTo>
                        <a:pt x="118" y="26"/>
                      </a:lnTo>
                      <a:lnTo>
                        <a:pt x="118" y="22"/>
                      </a:lnTo>
                      <a:lnTo>
                        <a:pt x="117" y="20"/>
                      </a:lnTo>
                      <a:lnTo>
                        <a:pt x="109" y="20"/>
                      </a:lnTo>
                      <a:lnTo>
                        <a:pt x="103" y="19"/>
                      </a:lnTo>
                      <a:lnTo>
                        <a:pt x="101" y="20"/>
                      </a:lnTo>
                      <a:lnTo>
                        <a:pt x="96" y="19"/>
                      </a:lnTo>
                      <a:lnTo>
                        <a:pt x="90" y="21"/>
                      </a:lnTo>
                      <a:lnTo>
                        <a:pt x="87" y="21"/>
                      </a:lnTo>
                      <a:lnTo>
                        <a:pt x="85" y="23"/>
                      </a:lnTo>
                      <a:lnTo>
                        <a:pt x="85" y="20"/>
                      </a:lnTo>
                      <a:lnTo>
                        <a:pt x="88" y="19"/>
                      </a:lnTo>
                      <a:lnTo>
                        <a:pt x="88" y="17"/>
                      </a:lnTo>
                      <a:lnTo>
                        <a:pt x="86" y="17"/>
                      </a:lnTo>
                      <a:lnTo>
                        <a:pt x="84" y="15"/>
                      </a:lnTo>
                      <a:lnTo>
                        <a:pt x="87" y="14"/>
                      </a:lnTo>
                      <a:lnTo>
                        <a:pt x="88" y="14"/>
                      </a:lnTo>
                      <a:lnTo>
                        <a:pt x="100" y="5"/>
                      </a:lnTo>
                      <a:lnTo>
                        <a:pt x="100" y="1"/>
                      </a:lnTo>
                      <a:lnTo>
                        <a:pt x="97" y="0"/>
                      </a:lnTo>
                      <a:lnTo>
                        <a:pt x="94" y="1"/>
                      </a:lnTo>
                      <a:lnTo>
                        <a:pt x="93" y="1"/>
                      </a:lnTo>
                      <a:lnTo>
                        <a:pt x="89" y="2"/>
                      </a:lnTo>
                      <a:lnTo>
                        <a:pt x="87" y="2"/>
                      </a:lnTo>
                      <a:lnTo>
                        <a:pt x="85" y="3"/>
                      </a:lnTo>
                      <a:lnTo>
                        <a:pt x="81" y="3"/>
                      </a:lnTo>
                      <a:lnTo>
                        <a:pt x="77" y="2"/>
                      </a:lnTo>
                      <a:lnTo>
                        <a:pt x="75" y="1"/>
                      </a:lnTo>
                      <a:lnTo>
                        <a:pt x="75" y="4"/>
                      </a:lnTo>
                      <a:lnTo>
                        <a:pt x="72" y="5"/>
                      </a:lnTo>
                      <a:lnTo>
                        <a:pt x="73" y="9"/>
                      </a:lnTo>
                      <a:lnTo>
                        <a:pt x="69" y="9"/>
                      </a:lnTo>
                      <a:lnTo>
                        <a:pt x="70" y="11"/>
                      </a:lnTo>
                      <a:lnTo>
                        <a:pt x="70" y="13"/>
                      </a:lnTo>
                      <a:lnTo>
                        <a:pt x="71" y="17"/>
                      </a:lnTo>
                      <a:lnTo>
                        <a:pt x="66" y="15"/>
                      </a:lnTo>
                      <a:lnTo>
                        <a:pt x="63" y="18"/>
                      </a:lnTo>
                      <a:lnTo>
                        <a:pt x="64" y="21"/>
                      </a:lnTo>
                      <a:lnTo>
                        <a:pt x="64" y="22"/>
                      </a:lnTo>
                      <a:lnTo>
                        <a:pt x="62" y="23"/>
                      </a:lnTo>
                      <a:lnTo>
                        <a:pt x="64" y="26"/>
                      </a:lnTo>
                      <a:lnTo>
                        <a:pt x="67" y="26"/>
                      </a:lnTo>
                      <a:lnTo>
                        <a:pt x="64" y="27"/>
                      </a:lnTo>
                      <a:lnTo>
                        <a:pt x="68" y="27"/>
                      </a:lnTo>
                      <a:lnTo>
                        <a:pt x="68" y="29"/>
                      </a:lnTo>
                      <a:lnTo>
                        <a:pt x="66" y="28"/>
                      </a:lnTo>
                      <a:lnTo>
                        <a:pt x="66" y="30"/>
                      </a:lnTo>
                      <a:lnTo>
                        <a:pt x="69" y="30"/>
                      </a:lnTo>
                      <a:lnTo>
                        <a:pt x="67" y="30"/>
                      </a:lnTo>
                      <a:lnTo>
                        <a:pt x="63" y="31"/>
                      </a:lnTo>
                      <a:lnTo>
                        <a:pt x="67" y="34"/>
                      </a:lnTo>
                      <a:lnTo>
                        <a:pt x="63" y="32"/>
                      </a:lnTo>
                      <a:lnTo>
                        <a:pt x="63" y="35"/>
                      </a:lnTo>
                      <a:lnTo>
                        <a:pt x="62" y="38"/>
                      </a:lnTo>
                      <a:lnTo>
                        <a:pt x="61" y="37"/>
                      </a:lnTo>
                      <a:lnTo>
                        <a:pt x="59" y="39"/>
                      </a:lnTo>
                      <a:lnTo>
                        <a:pt x="63" y="38"/>
                      </a:lnTo>
                      <a:lnTo>
                        <a:pt x="67" y="39"/>
                      </a:lnTo>
                      <a:lnTo>
                        <a:pt x="63" y="39"/>
                      </a:lnTo>
                      <a:lnTo>
                        <a:pt x="62" y="41"/>
                      </a:lnTo>
                      <a:lnTo>
                        <a:pt x="64" y="43"/>
                      </a:lnTo>
                      <a:lnTo>
                        <a:pt x="68" y="41"/>
                      </a:lnTo>
                      <a:lnTo>
                        <a:pt x="72" y="36"/>
                      </a:lnTo>
                      <a:lnTo>
                        <a:pt x="72" y="39"/>
                      </a:lnTo>
                      <a:lnTo>
                        <a:pt x="75" y="38"/>
                      </a:lnTo>
                      <a:lnTo>
                        <a:pt x="70" y="39"/>
                      </a:lnTo>
                      <a:lnTo>
                        <a:pt x="69" y="41"/>
                      </a:lnTo>
                      <a:lnTo>
                        <a:pt x="69" y="44"/>
                      </a:lnTo>
                      <a:lnTo>
                        <a:pt x="71" y="44"/>
                      </a:lnTo>
                      <a:lnTo>
                        <a:pt x="69" y="44"/>
                      </a:lnTo>
                      <a:lnTo>
                        <a:pt x="67" y="46"/>
                      </a:lnTo>
                      <a:lnTo>
                        <a:pt x="67" y="48"/>
                      </a:lnTo>
                      <a:lnTo>
                        <a:pt x="66" y="51"/>
                      </a:lnTo>
                      <a:lnTo>
                        <a:pt x="66" y="55"/>
                      </a:lnTo>
                      <a:lnTo>
                        <a:pt x="66" y="57"/>
                      </a:lnTo>
                      <a:lnTo>
                        <a:pt x="64" y="61"/>
                      </a:lnTo>
                      <a:lnTo>
                        <a:pt x="63" y="65"/>
                      </a:lnTo>
                      <a:lnTo>
                        <a:pt x="64" y="65"/>
                      </a:lnTo>
                      <a:lnTo>
                        <a:pt x="67" y="63"/>
                      </a:lnTo>
                      <a:lnTo>
                        <a:pt x="68" y="61"/>
                      </a:lnTo>
                      <a:lnTo>
                        <a:pt x="69" y="53"/>
                      </a:lnTo>
                      <a:lnTo>
                        <a:pt x="71" y="49"/>
                      </a:lnTo>
                      <a:lnTo>
                        <a:pt x="75" y="48"/>
                      </a:lnTo>
                      <a:lnTo>
                        <a:pt x="70" y="52"/>
                      </a:lnTo>
                      <a:lnTo>
                        <a:pt x="72" y="54"/>
                      </a:lnTo>
                      <a:lnTo>
                        <a:pt x="72" y="53"/>
                      </a:lnTo>
                      <a:lnTo>
                        <a:pt x="75" y="55"/>
                      </a:lnTo>
                      <a:lnTo>
                        <a:pt x="77" y="49"/>
                      </a:lnTo>
                      <a:lnTo>
                        <a:pt x="77" y="52"/>
                      </a:lnTo>
                      <a:lnTo>
                        <a:pt x="80" y="54"/>
                      </a:lnTo>
                      <a:lnTo>
                        <a:pt x="77" y="53"/>
                      </a:lnTo>
                      <a:lnTo>
                        <a:pt x="77" y="53"/>
                      </a:lnTo>
                      <a:lnTo>
                        <a:pt x="76" y="56"/>
                      </a:lnTo>
                      <a:lnTo>
                        <a:pt x="76" y="58"/>
                      </a:lnTo>
                      <a:lnTo>
                        <a:pt x="79" y="61"/>
                      </a:lnTo>
                      <a:lnTo>
                        <a:pt x="78" y="63"/>
                      </a:lnTo>
                      <a:lnTo>
                        <a:pt x="75" y="69"/>
                      </a:lnTo>
                      <a:lnTo>
                        <a:pt x="73" y="72"/>
                      </a:lnTo>
                      <a:lnTo>
                        <a:pt x="75" y="73"/>
                      </a:lnTo>
                      <a:lnTo>
                        <a:pt x="72" y="71"/>
                      </a:lnTo>
                      <a:lnTo>
                        <a:pt x="72" y="71"/>
                      </a:lnTo>
                      <a:lnTo>
                        <a:pt x="72" y="73"/>
                      </a:lnTo>
                      <a:lnTo>
                        <a:pt x="76" y="79"/>
                      </a:lnTo>
                      <a:lnTo>
                        <a:pt x="76" y="78"/>
                      </a:lnTo>
                      <a:lnTo>
                        <a:pt x="75" y="75"/>
                      </a:lnTo>
                      <a:lnTo>
                        <a:pt x="78" y="74"/>
                      </a:lnTo>
                      <a:lnTo>
                        <a:pt x="80" y="77"/>
                      </a:lnTo>
                      <a:lnTo>
                        <a:pt x="83" y="75"/>
                      </a:lnTo>
                      <a:lnTo>
                        <a:pt x="83" y="73"/>
                      </a:lnTo>
                      <a:lnTo>
                        <a:pt x="85" y="74"/>
                      </a:lnTo>
                      <a:lnTo>
                        <a:pt x="87" y="74"/>
                      </a:lnTo>
                      <a:lnTo>
                        <a:pt x="87" y="75"/>
                      </a:lnTo>
                      <a:lnTo>
                        <a:pt x="88" y="75"/>
                      </a:lnTo>
                      <a:lnTo>
                        <a:pt x="94" y="72"/>
                      </a:lnTo>
                      <a:lnTo>
                        <a:pt x="102" y="72"/>
                      </a:lnTo>
                      <a:lnTo>
                        <a:pt x="98" y="73"/>
                      </a:lnTo>
                      <a:lnTo>
                        <a:pt x="96" y="75"/>
                      </a:lnTo>
                      <a:lnTo>
                        <a:pt x="94" y="79"/>
                      </a:lnTo>
                      <a:lnTo>
                        <a:pt x="93" y="81"/>
                      </a:lnTo>
                      <a:lnTo>
                        <a:pt x="96" y="83"/>
                      </a:lnTo>
                      <a:lnTo>
                        <a:pt x="98" y="86"/>
                      </a:lnTo>
                      <a:lnTo>
                        <a:pt x="100" y="89"/>
                      </a:lnTo>
                      <a:lnTo>
                        <a:pt x="101" y="87"/>
                      </a:lnTo>
                      <a:lnTo>
                        <a:pt x="102" y="87"/>
                      </a:lnTo>
                      <a:lnTo>
                        <a:pt x="104" y="87"/>
                      </a:lnTo>
                      <a:lnTo>
                        <a:pt x="103" y="91"/>
                      </a:lnTo>
                      <a:lnTo>
                        <a:pt x="101" y="94"/>
                      </a:lnTo>
                      <a:lnTo>
                        <a:pt x="103" y="96"/>
                      </a:lnTo>
                      <a:lnTo>
                        <a:pt x="102" y="96"/>
                      </a:lnTo>
                      <a:lnTo>
                        <a:pt x="101" y="99"/>
                      </a:lnTo>
                      <a:lnTo>
                        <a:pt x="102" y="101"/>
                      </a:lnTo>
                      <a:lnTo>
                        <a:pt x="101" y="101"/>
                      </a:lnTo>
                      <a:lnTo>
                        <a:pt x="101" y="105"/>
                      </a:lnTo>
                      <a:lnTo>
                        <a:pt x="96" y="103"/>
                      </a:lnTo>
                      <a:lnTo>
                        <a:pt x="94" y="104"/>
                      </a:lnTo>
                      <a:lnTo>
                        <a:pt x="92" y="104"/>
                      </a:lnTo>
                      <a:lnTo>
                        <a:pt x="86" y="105"/>
                      </a:lnTo>
                      <a:lnTo>
                        <a:pt x="86" y="104"/>
                      </a:lnTo>
                      <a:lnTo>
                        <a:pt x="83" y="101"/>
                      </a:lnTo>
                      <a:lnTo>
                        <a:pt x="80" y="104"/>
                      </a:lnTo>
                      <a:lnTo>
                        <a:pt x="83" y="107"/>
                      </a:lnTo>
                      <a:lnTo>
                        <a:pt x="85" y="105"/>
                      </a:lnTo>
                      <a:lnTo>
                        <a:pt x="83" y="108"/>
                      </a:lnTo>
                      <a:lnTo>
                        <a:pt x="80" y="111"/>
                      </a:lnTo>
                      <a:lnTo>
                        <a:pt x="77" y="113"/>
                      </a:lnTo>
                      <a:lnTo>
                        <a:pt x="81" y="113"/>
                      </a:lnTo>
                      <a:lnTo>
                        <a:pt x="84" y="111"/>
                      </a:lnTo>
                      <a:lnTo>
                        <a:pt x="86" y="112"/>
                      </a:lnTo>
                      <a:lnTo>
                        <a:pt x="87" y="114"/>
                      </a:lnTo>
                      <a:lnTo>
                        <a:pt x="87" y="115"/>
                      </a:lnTo>
                      <a:lnTo>
                        <a:pt x="88" y="117"/>
                      </a:lnTo>
                      <a:lnTo>
                        <a:pt x="87" y="118"/>
                      </a:lnTo>
                      <a:lnTo>
                        <a:pt x="86" y="121"/>
                      </a:lnTo>
                      <a:lnTo>
                        <a:pt x="84" y="123"/>
                      </a:lnTo>
                      <a:lnTo>
                        <a:pt x="79" y="126"/>
                      </a:lnTo>
                      <a:lnTo>
                        <a:pt x="73" y="128"/>
                      </a:lnTo>
                      <a:lnTo>
                        <a:pt x="71" y="130"/>
                      </a:lnTo>
                      <a:lnTo>
                        <a:pt x="71" y="132"/>
                      </a:lnTo>
                      <a:lnTo>
                        <a:pt x="76" y="133"/>
                      </a:lnTo>
                      <a:lnTo>
                        <a:pt x="75" y="133"/>
                      </a:lnTo>
                      <a:lnTo>
                        <a:pt x="75" y="134"/>
                      </a:lnTo>
                      <a:lnTo>
                        <a:pt x="78" y="134"/>
                      </a:lnTo>
                      <a:lnTo>
                        <a:pt x="80" y="132"/>
                      </a:lnTo>
                      <a:lnTo>
                        <a:pt x="83" y="131"/>
                      </a:lnTo>
                      <a:lnTo>
                        <a:pt x="84" y="133"/>
                      </a:lnTo>
                      <a:lnTo>
                        <a:pt x="87" y="133"/>
                      </a:lnTo>
                      <a:lnTo>
                        <a:pt x="87" y="134"/>
                      </a:lnTo>
                      <a:lnTo>
                        <a:pt x="84" y="135"/>
                      </a:lnTo>
                      <a:lnTo>
                        <a:pt x="87" y="135"/>
                      </a:lnTo>
                      <a:lnTo>
                        <a:pt x="89" y="134"/>
                      </a:lnTo>
                      <a:lnTo>
                        <a:pt x="92" y="135"/>
                      </a:lnTo>
                      <a:lnTo>
                        <a:pt x="94" y="138"/>
                      </a:lnTo>
                      <a:lnTo>
                        <a:pt x="95" y="139"/>
                      </a:lnTo>
                      <a:lnTo>
                        <a:pt x="98" y="139"/>
                      </a:lnTo>
                      <a:lnTo>
                        <a:pt x="102" y="135"/>
                      </a:lnTo>
                      <a:lnTo>
                        <a:pt x="103" y="135"/>
                      </a:lnTo>
                      <a:lnTo>
                        <a:pt x="105" y="135"/>
                      </a:lnTo>
                      <a:lnTo>
                        <a:pt x="110" y="131"/>
                      </a:lnTo>
                      <a:lnTo>
                        <a:pt x="105" y="137"/>
                      </a:lnTo>
                      <a:lnTo>
                        <a:pt x="104" y="138"/>
                      </a:lnTo>
                      <a:lnTo>
                        <a:pt x="102" y="140"/>
                      </a:lnTo>
                      <a:lnTo>
                        <a:pt x="102" y="142"/>
                      </a:lnTo>
                      <a:lnTo>
                        <a:pt x="97" y="142"/>
                      </a:lnTo>
                      <a:lnTo>
                        <a:pt x="94" y="141"/>
                      </a:lnTo>
                      <a:lnTo>
                        <a:pt x="88" y="142"/>
                      </a:lnTo>
                      <a:lnTo>
                        <a:pt x="84" y="146"/>
                      </a:lnTo>
                      <a:lnTo>
                        <a:pt x="81" y="146"/>
                      </a:lnTo>
                      <a:lnTo>
                        <a:pt x="79" y="150"/>
                      </a:lnTo>
                      <a:lnTo>
                        <a:pt x="77" y="152"/>
                      </a:lnTo>
                      <a:lnTo>
                        <a:pt x="75" y="154"/>
                      </a:lnTo>
                      <a:lnTo>
                        <a:pt x="73" y="155"/>
                      </a:lnTo>
                      <a:lnTo>
                        <a:pt x="71" y="158"/>
                      </a:lnTo>
                      <a:lnTo>
                        <a:pt x="69" y="159"/>
                      </a:lnTo>
                      <a:lnTo>
                        <a:pt x="67" y="160"/>
                      </a:lnTo>
                      <a:lnTo>
                        <a:pt x="66" y="163"/>
                      </a:lnTo>
                      <a:lnTo>
                        <a:pt x="68" y="161"/>
                      </a:lnTo>
                      <a:lnTo>
                        <a:pt x="71" y="164"/>
                      </a:lnTo>
                      <a:lnTo>
                        <a:pt x="72" y="164"/>
                      </a:lnTo>
                      <a:lnTo>
                        <a:pt x="75" y="161"/>
                      </a:lnTo>
                      <a:lnTo>
                        <a:pt x="77" y="159"/>
                      </a:lnTo>
                      <a:lnTo>
                        <a:pt x="79" y="158"/>
                      </a:lnTo>
                      <a:lnTo>
                        <a:pt x="83" y="157"/>
                      </a:lnTo>
                      <a:lnTo>
                        <a:pt x="85" y="157"/>
                      </a:lnTo>
                      <a:lnTo>
                        <a:pt x="85" y="156"/>
                      </a:lnTo>
                      <a:lnTo>
                        <a:pt x="85" y="157"/>
                      </a:lnTo>
                      <a:lnTo>
                        <a:pt x="92" y="159"/>
                      </a:lnTo>
                      <a:lnTo>
                        <a:pt x="95" y="157"/>
                      </a:lnTo>
                      <a:lnTo>
                        <a:pt x="95" y="151"/>
                      </a:lnTo>
                      <a:lnTo>
                        <a:pt x="96" y="152"/>
                      </a:lnTo>
                      <a:lnTo>
                        <a:pt x="100" y="151"/>
                      </a:lnTo>
                      <a:lnTo>
                        <a:pt x="104" y="150"/>
                      </a:lnTo>
                      <a:lnTo>
                        <a:pt x="109" y="152"/>
                      </a:lnTo>
                      <a:lnTo>
                        <a:pt x="112" y="152"/>
                      </a:lnTo>
                      <a:lnTo>
                        <a:pt x="115" y="150"/>
                      </a:lnTo>
                      <a:lnTo>
                        <a:pt x="115" y="151"/>
                      </a:lnTo>
                      <a:lnTo>
                        <a:pt x="122" y="150"/>
                      </a:lnTo>
                      <a:lnTo>
                        <a:pt x="124" y="148"/>
                      </a:lnTo>
                      <a:lnTo>
                        <a:pt x="130" y="148"/>
                      </a:lnTo>
                      <a:lnTo>
                        <a:pt x="131" y="150"/>
                      </a:lnTo>
                      <a:lnTo>
                        <a:pt x="135" y="149"/>
                      </a:lnTo>
                      <a:lnTo>
                        <a:pt x="140" y="149"/>
                      </a:lnTo>
                      <a:lnTo>
                        <a:pt x="146" y="150"/>
                      </a:lnTo>
                      <a:lnTo>
                        <a:pt x="149" y="148"/>
                      </a:lnTo>
                      <a:lnTo>
                        <a:pt x="155" y="147"/>
                      </a:lnTo>
                      <a:lnTo>
                        <a:pt x="156" y="144"/>
                      </a:lnTo>
                      <a:lnTo>
                        <a:pt x="160" y="143"/>
                      </a:lnTo>
                      <a:lnTo>
                        <a:pt x="162" y="141"/>
                      </a:lnTo>
                      <a:lnTo>
                        <a:pt x="161" y="139"/>
                      </a:lnTo>
                      <a:lnTo>
                        <a:pt x="155" y="140"/>
                      </a:lnTo>
                      <a:lnTo>
                        <a:pt x="151" y="138"/>
                      </a:lnTo>
                      <a:lnTo>
                        <a:pt x="151" y="137"/>
                      </a:lnTo>
                      <a:lnTo>
                        <a:pt x="148" y="138"/>
                      </a:lnTo>
                      <a:lnTo>
                        <a:pt x="149" y="137"/>
                      </a:lnTo>
                      <a:lnTo>
                        <a:pt x="154" y="135"/>
                      </a:lnTo>
                      <a:lnTo>
                        <a:pt x="153" y="133"/>
                      </a:lnTo>
                      <a:lnTo>
                        <a:pt x="154" y="132"/>
                      </a:lnTo>
                      <a:lnTo>
                        <a:pt x="156" y="131"/>
                      </a:lnTo>
                      <a:lnTo>
                        <a:pt x="160" y="131"/>
                      </a:lnTo>
                      <a:lnTo>
                        <a:pt x="160" y="129"/>
                      </a:lnTo>
                      <a:lnTo>
                        <a:pt x="157" y="129"/>
                      </a:lnTo>
                      <a:lnTo>
                        <a:pt x="163" y="126"/>
                      </a:lnTo>
                      <a:lnTo>
                        <a:pt x="165" y="124"/>
                      </a:lnTo>
                      <a:lnTo>
                        <a:pt x="166" y="118"/>
                      </a:lnTo>
                      <a:lnTo>
                        <a:pt x="166" y="116"/>
                      </a:lnTo>
                      <a:close/>
                      <a:moveTo>
                        <a:pt x="66" y="82"/>
                      </a:moveTo>
                      <a:lnTo>
                        <a:pt x="67" y="81"/>
                      </a:lnTo>
                      <a:lnTo>
                        <a:pt x="67" y="83"/>
                      </a:lnTo>
                      <a:lnTo>
                        <a:pt x="68" y="83"/>
                      </a:lnTo>
                      <a:lnTo>
                        <a:pt x="68" y="80"/>
                      </a:lnTo>
                      <a:lnTo>
                        <a:pt x="67" y="78"/>
                      </a:lnTo>
                      <a:lnTo>
                        <a:pt x="64" y="78"/>
                      </a:lnTo>
                      <a:lnTo>
                        <a:pt x="62" y="79"/>
                      </a:lnTo>
                      <a:lnTo>
                        <a:pt x="62" y="78"/>
                      </a:lnTo>
                      <a:lnTo>
                        <a:pt x="64" y="75"/>
                      </a:lnTo>
                      <a:lnTo>
                        <a:pt x="61" y="71"/>
                      </a:lnTo>
                      <a:lnTo>
                        <a:pt x="61" y="70"/>
                      </a:lnTo>
                      <a:lnTo>
                        <a:pt x="60" y="70"/>
                      </a:lnTo>
                      <a:lnTo>
                        <a:pt x="59" y="67"/>
                      </a:lnTo>
                      <a:lnTo>
                        <a:pt x="53" y="67"/>
                      </a:lnTo>
                      <a:lnTo>
                        <a:pt x="50" y="69"/>
                      </a:lnTo>
                      <a:lnTo>
                        <a:pt x="47" y="67"/>
                      </a:lnTo>
                      <a:lnTo>
                        <a:pt x="45" y="71"/>
                      </a:lnTo>
                      <a:lnTo>
                        <a:pt x="43" y="71"/>
                      </a:lnTo>
                      <a:lnTo>
                        <a:pt x="43" y="70"/>
                      </a:lnTo>
                      <a:lnTo>
                        <a:pt x="45" y="69"/>
                      </a:lnTo>
                      <a:lnTo>
                        <a:pt x="45" y="66"/>
                      </a:lnTo>
                      <a:lnTo>
                        <a:pt x="42" y="65"/>
                      </a:lnTo>
                      <a:lnTo>
                        <a:pt x="40" y="66"/>
                      </a:lnTo>
                      <a:lnTo>
                        <a:pt x="40" y="66"/>
                      </a:lnTo>
                      <a:lnTo>
                        <a:pt x="41" y="69"/>
                      </a:lnTo>
                      <a:lnTo>
                        <a:pt x="38" y="71"/>
                      </a:lnTo>
                      <a:lnTo>
                        <a:pt x="38" y="71"/>
                      </a:lnTo>
                      <a:lnTo>
                        <a:pt x="37" y="69"/>
                      </a:lnTo>
                      <a:lnTo>
                        <a:pt x="35" y="69"/>
                      </a:lnTo>
                      <a:lnTo>
                        <a:pt x="29" y="69"/>
                      </a:lnTo>
                      <a:lnTo>
                        <a:pt x="27" y="71"/>
                      </a:lnTo>
                      <a:lnTo>
                        <a:pt x="28" y="74"/>
                      </a:lnTo>
                      <a:lnTo>
                        <a:pt x="26" y="75"/>
                      </a:lnTo>
                      <a:lnTo>
                        <a:pt x="24" y="79"/>
                      </a:lnTo>
                      <a:lnTo>
                        <a:pt x="32" y="79"/>
                      </a:lnTo>
                      <a:lnTo>
                        <a:pt x="30" y="81"/>
                      </a:lnTo>
                      <a:lnTo>
                        <a:pt x="29" y="81"/>
                      </a:lnTo>
                      <a:lnTo>
                        <a:pt x="28" y="81"/>
                      </a:lnTo>
                      <a:lnTo>
                        <a:pt x="24" y="83"/>
                      </a:lnTo>
                      <a:lnTo>
                        <a:pt x="26" y="87"/>
                      </a:lnTo>
                      <a:lnTo>
                        <a:pt x="20" y="84"/>
                      </a:lnTo>
                      <a:lnTo>
                        <a:pt x="18" y="88"/>
                      </a:lnTo>
                      <a:lnTo>
                        <a:pt x="17" y="87"/>
                      </a:lnTo>
                      <a:lnTo>
                        <a:pt x="15" y="84"/>
                      </a:lnTo>
                      <a:lnTo>
                        <a:pt x="11" y="84"/>
                      </a:lnTo>
                      <a:lnTo>
                        <a:pt x="9" y="86"/>
                      </a:lnTo>
                      <a:lnTo>
                        <a:pt x="6" y="84"/>
                      </a:lnTo>
                      <a:lnTo>
                        <a:pt x="6" y="87"/>
                      </a:lnTo>
                      <a:lnTo>
                        <a:pt x="7" y="87"/>
                      </a:lnTo>
                      <a:lnTo>
                        <a:pt x="7" y="89"/>
                      </a:lnTo>
                      <a:lnTo>
                        <a:pt x="7" y="92"/>
                      </a:lnTo>
                      <a:lnTo>
                        <a:pt x="9" y="92"/>
                      </a:lnTo>
                      <a:lnTo>
                        <a:pt x="11" y="95"/>
                      </a:lnTo>
                      <a:lnTo>
                        <a:pt x="9" y="95"/>
                      </a:lnTo>
                      <a:lnTo>
                        <a:pt x="7" y="97"/>
                      </a:lnTo>
                      <a:lnTo>
                        <a:pt x="10" y="98"/>
                      </a:lnTo>
                      <a:lnTo>
                        <a:pt x="6" y="98"/>
                      </a:lnTo>
                      <a:lnTo>
                        <a:pt x="6" y="99"/>
                      </a:lnTo>
                      <a:lnTo>
                        <a:pt x="3" y="99"/>
                      </a:lnTo>
                      <a:lnTo>
                        <a:pt x="6" y="101"/>
                      </a:lnTo>
                      <a:lnTo>
                        <a:pt x="9" y="104"/>
                      </a:lnTo>
                      <a:lnTo>
                        <a:pt x="11" y="101"/>
                      </a:lnTo>
                      <a:lnTo>
                        <a:pt x="13" y="105"/>
                      </a:lnTo>
                      <a:lnTo>
                        <a:pt x="18" y="104"/>
                      </a:lnTo>
                      <a:lnTo>
                        <a:pt x="19" y="106"/>
                      </a:lnTo>
                      <a:lnTo>
                        <a:pt x="18" y="107"/>
                      </a:lnTo>
                      <a:lnTo>
                        <a:pt x="16" y="106"/>
                      </a:lnTo>
                      <a:lnTo>
                        <a:pt x="13" y="109"/>
                      </a:lnTo>
                      <a:lnTo>
                        <a:pt x="13" y="112"/>
                      </a:lnTo>
                      <a:lnTo>
                        <a:pt x="8" y="117"/>
                      </a:lnTo>
                      <a:lnTo>
                        <a:pt x="12" y="116"/>
                      </a:lnTo>
                      <a:lnTo>
                        <a:pt x="18" y="116"/>
                      </a:lnTo>
                      <a:lnTo>
                        <a:pt x="20" y="113"/>
                      </a:lnTo>
                      <a:lnTo>
                        <a:pt x="20" y="115"/>
                      </a:lnTo>
                      <a:lnTo>
                        <a:pt x="23" y="115"/>
                      </a:lnTo>
                      <a:lnTo>
                        <a:pt x="20" y="115"/>
                      </a:lnTo>
                      <a:lnTo>
                        <a:pt x="13" y="117"/>
                      </a:lnTo>
                      <a:lnTo>
                        <a:pt x="8" y="121"/>
                      </a:lnTo>
                      <a:lnTo>
                        <a:pt x="9" y="123"/>
                      </a:lnTo>
                      <a:lnTo>
                        <a:pt x="2" y="123"/>
                      </a:lnTo>
                      <a:lnTo>
                        <a:pt x="0" y="125"/>
                      </a:lnTo>
                      <a:lnTo>
                        <a:pt x="6" y="125"/>
                      </a:lnTo>
                      <a:lnTo>
                        <a:pt x="9" y="125"/>
                      </a:lnTo>
                      <a:lnTo>
                        <a:pt x="6" y="126"/>
                      </a:lnTo>
                      <a:lnTo>
                        <a:pt x="2" y="128"/>
                      </a:lnTo>
                      <a:lnTo>
                        <a:pt x="0" y="130"/>
                      </a:lnTo>
                      <a:lnTo>
                        <a:pt x="3" y="131"/>
                      </a:lnTo>
                      <a:lnTo>
                        <a:pt x="6" y="131"/>
                      </a:lnTo>
                      <a:lnTo>
                        <a:pt x="10" y="131"/>
                      </a:lnTo>
                      <a:lnTo>
                        <a:pt x="6" y="133"/>
                      </a:lnTo>
                      <a:lnTo>
                        <a:pt x="6" y="134"/>
                      </a:lnTo>
                      <a:lnTo>
                        <a:pt x="8" y="133"/>
                      </a:lnTo>
                      <a:lnTo>
                        <a:pt x="13" y="133"/>
                      </a:lnTo>
                      <a:lnTo>
                        <a:pt x="8" y="135"/>
                      </a:lnTo>
                      <a:lnTo>
                        <a:pt x="11" y="137"/>
                      </a:lnTo>
                      <a:lnTo>
                        <a:pt x="13" y="135"/>
                      </a:lnTo>
                      <a:lnTo>
                        <a:pt x="16" y="137"/>
                      </a:lnTo>
                      <a:lnTo>
                        <a:pt x="28" y="132"/>
                      </a:lnTo>
                      <a:lnTo>
                        <a:pt x="27" y="130"/>
                      </a:lnTo>
                      <a:lnTo>
                        <a:pt x="29" y="130"/>
                      </a:lnTo>
                      <a:lnTo>
                        <a:pt x="30" y="131"/>
                      </a:lnTo>
                      <a:lnTo>
                        <a:pt x="33" y="131"/>
                      </a:lnTo>
                      <a:lnTo>
                        <a:pt x="35" y="128"/>
                      </a:lnTo>
                      <a:lnTo>
                        <a:pt x="37" y="129"/>
                      </a:lnTo>
                      <a:lnTo>
                        <a:pt x="38" y="125"/>
                      </a:lnTo>
                      <a:lnTo>
                        <a:pt x="40" y="125"/>
                      </a:lnTo>
                      <a:lnTo>
                        <a:pt x="43" y="125"/>
                      </a:lnTo>
                      <a:lnTo>
                        <a:pt x="44" y="125"/>
                      </a:lnTo>
                      <a:lnTo>
                        <a:pt x="46" y="122"/>
                      </a:lnTo>
                      <a:lnTo>
                        <a:pt x="47" y="125"/>
                      </a:lnTo>
                      <a:lnTo>
                        <a:pt x="50" y="123"/>
                      </a:lnTo>
                      <a:lnTo>
                        <a:pt x="53" y="124"/>
                      </a:lnTo>
                      <a:lnTo>
                        <a:pt x="55" y="124"/>
                      </a:lnTo>
                      <a:lnTo>
                        <a:pt x="54" y="121"/>
                      </a:lnTo>
                      <a:lnTo>
                        <a:pt x="55" y="121"/>
                      </a:lnTo>
                      <a:lnTo>
                        <a:pt x="58" y="116"/>
                      </a:lnTo>
                      <a:lnTo>
                        <a:pt x="59" y="113"/>
                      </a:lnTo>
                      <a:lnTo>
                        <a:pt x="60" y="111"/>
                      </a:lnTo>
                      <a:lnTo>
                        <a:pt x="60" y="108"/>
                      </a:lnTo>
                      <a:lnTo>
                        <a:pt x="59" y="105"/>
                      </a:lnTo>
                      <a:lnTo>
                        <a:pt x="58" y="103"/>
                      </a:lnTo>
                      <a:lnTo>
                        <a:pt x="59" y="101"/>
                      </a:lnTo>
                      <a:lnTo>
                        <a:pt x="59" y="100"/>
                      </a:lnTo>
                      <a:lnTo>
                        <a:pt x="59" y="100"/>
                      </a:lnTo>
                      <a:lnTo>
                        <a:pt x="56" y="96"/>
                      </a:lnTo>
                      <a:lnTo>
                        <a:pt x="56" y="94"/>
                      </a:lnTo>
                      <a:lnTo>
                        <a:pt x="55" y="91"/>
                      </a:lnTo>
                      <a:lnTo>
                        <a:pt x="56" y="88"/>
                      </a:lnTo>
                      <a:lnTo>
                        <a:pt x="60" y="89"/>
                      </a:lnTo>
                      <a:lnTo>
                        <a:pt x="62" y="87"/>
                      </a:lnTo>
                      <a:lnTo>
                        <a:pt x="67" y="83"/>
                      </a:lnTo>
                      <a:lnTo>
                        <a:pt x="6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29" name="Freeform 91">
                  <a:extLst>
                    <a:ext uri="{FF2B5EF4-FFF2-40B4-BE49-F238E27FC236}">
                      <a16:creationId xmlns:a16="http://schemas.microsoft.com/office/drawing/2014/main" id="{5B71EC11-C230-7947-66BA-9BFBFC480EE0}"/>
                    </a:ext>
                  </a:extLst>
                </p:cNvPr>
                <p:cNvSpPr>
                  <a:spLocks/>
                </p:cNvSpPr>
                <p:nvPr/>
              </p:nvSpPr>
              <p:spPr bwMode="auto">
                <a:xfrm>
                  <a:off x="3818" y="1954"/>
                  <a:ext cx="15" cy="11"/>
                </a:xfrm>
                <a:custGeom>
                  <a:avLst/>
                  <a:gdLst>
                    <a:gd name="T0" fmla="*/ 4 w 15"/>
                    <a:gd name="T1" fmla="*/ 7 h 11"/>
                    <a:gd name="T2" fmla="*/ 9 w 15"/>
                    <a:gd name="T3" fmla="*/ 11 h 11"/>
                    <a:gd name="T4" fmla="*/ 12 w 15"/>
                    <a:gd name="T5" fmla="*/ 10 h 11"/>
                    <a:gd name="T6" fmla="*/ 14 w 15"/>
                    <a:gd name="T7" fmla="*/ 10 h 11"/>
                    <a:gd name="T8" fmla="*/ 15 w 15"/>
                    <a:gd name="T9" fmla="*/ 9 h 11"/>
                    <a:gd name="T10" fmla="*/ 15 w 15"/>
                    <a:gd name="T11" fmla="*/ 5 h 11"/>
                    <a:gd name="T12" fmla="*/ 12 w 15"/>
                    <a:gd name="T13" fmla="*/ 0 h 11"/>
                    <a:gd name="T14" fmla="*/ 12 w 15"/>
                    <a:gd name="T15" fmla="*/ 2 h 11"/>
                    <a:gd name="T16" fmla="*/ 9 w 15"/>
                    <a:gd name="T17" fmla="*/ 3 h 11"/>
                    <a:gd name="T18" fmla="*/ 9 w 15"/>
                    <a:gd name="T19" fmla="*/ 1 h 11"/>
                    <a:gd name="T20" fmla="*/ 6 w 15"/>
                    <a:gd name="T21" fmla="*/ 0 h 11"/>
                    <a:gd name="T22" fmla="*/ 3 w 15"/>
                    <a:gd name="T23" fmla="*/ 2 h 11"/>
                    <a:gd name="T24" fmla="*/ 0 w 15"/>
                    <a:gd name="T25" fmla="*/ 2 h 11"/>
                    <a:gd name="T26" fmla="*/ 4 w 15"/>
                    <a:gd name="T27" fmla="*/ 9 h 11"/>
                    <a:gd name="T28" fmla="*/ 4 w 15"/>
                    <a:gd name="T29" fmla="*/ 7 h 11"/>
                    <a:gd name="T30" fmla="*/ 4 w 15"/>
                    <a:gd name="T3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1">
                      <a:moveTo>
                        <a:pt x="4" y="7"/>
                      </a:moveTo>
                      <a:lnTo>
                        <a:pt x="9" y="11"/>
                      </a:lnTo>
                      <a:lnTo>
                        <a:pt x="12" y="10"/>
                      </a:lnTo>
                      <a:lnTo>
                        <a:pt x="14" y="10"/>
                      </a:lnTo>
                      <a:lnTo>
                        <a:pt x="15" y="9"/>
                      </a:lnTo>
                      <a:lnTo>
                        <a:pt x="15" y="5"/>
                      </a:lnTo>
                      <a:lnTo>
                        <a:pt x="12" y="0"/>
                      </a:lnTo>
                      <a:lnTo>
                        <a:pt x="12" y="2"/>
                      </a:lnTo>
                      <a:lnTo>
                        <a:pt x="9" y="3"/>
                      </a:lnTo>
                      <a:lnTo>
                        <a:pt x="9" y="1"/>
                      </a:lnTo>
                      <a:lnTo>
                        <a:pt x="6" y="0"/>
                      </a:lnTo>
                      <a:lnTo>
                        <a:pt x="3" y="2"/>
                      </a:lnTo>
                      <a:lnTo>
                        <a:pt x="0" y="2"/>
                      </a:lnTo>
                      <a:lnTo>
                        <a:pt x="4" y="9"/>
                      </a:lnTo>
                      <a:lnTo>
                        <a:pt x="4" y="7"/>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30" name="Freeform 92">
                  <a:extLst>
                    <a:ext uri="{FF2B5EF4-FFF2-40B4-BE49-F238E27FC236}">
                      <a16:creationId xmlns:a16="http://schemas.microsoft.com/office/drawing/2014/main" id="{8D34E414-ED08-E51B-57E5-7737B3F31894}"/>
                    </a:ext>
                  </a:extLst>
                </p:cNvPr>
                <p:cNvSpPr>
                  <a:spLocks/>
                </p:cNvSpPr>
                <p:nvPr/>
              </p:nvSpPr>
              <p:spPr bwMode="auto">
                <a:xfrm>
                  <a:off x="3834" y="1945"/>
                  <a:ext cx="24" cy="28"/>
                </a:xfrm>
                <a:custGeom>
                  <a:avLst/>
                  <a:gdLst>
                    <a:gd name="T0" fmla="*/ 13 w 24"/>
                    <a:gd name="T1" fmla="*/ 24 h 28"/>
                    <a:gd name="T2" fmla="*/ 11 w 24"/>
                    <a:gd name="T3" fmla="*/ 23 h 28"/>
                    <a:gd name="T4" fmla="*/ 7 w 24"/>
                    <a:gd name="T5" fmla="*/ 23 h 28"/>
                    <a:gd name="T6" fmla="*/ 5 w 24"/>
                    <a:gd name="T7" fmla="*/ 21 h 28"/>
                    <a:gd name="T8" fmla="*/ 2 w 24"/>
                    <a:gd name="T9" fmla="*/ 22 h 28"/>
                    <a:gd name="T10" fmla="*/ 1 w 24"/>
                    <a:gd name="T11" fmla="*/ 24 h 28"/>
                    <a:gd name="T12" fmla="*/ 8 w 24"/>
                    <a:gd name="T13" fmla="*/ 28 h 28"/>
                    <a:gd name="T14" fmla="*/ 10 w 24"/>
                    <a:gd name="T15" fmla="*/ 27 h 28"/>
                    <a:gd name="T16" fmla="*/ 13 w 24"/>
                    <a:gd name="T17" fmla="*/ 24 h 28"/>
                    <a:gd name="T18" fmla="*/ 14 w 24"/>
                    <a:gd name="T19" fmla="*/ 26 h 28"/>
                    <a:gd name="T20" fmla="*/ 14 w 24"/>
                    <a:gd name="T21" fmla="*/ 28 h 28"/>
                    <a:gd name="T22" fmla="*/ 15 w 24"/>
                    <a:gd name="T23" fmla="*/ 28 h 28"/>
                    <a:gd name="T24" fmla="*/ 16 w 24"/>
                    <a:gd name="T25" fmla="*/ 22 h 28"/>
                    <a:gd name="T26" fmla="*/ 14 w 24"/>
                    <a:gd name="T27" fmla="*/ 20 h 28"/>
                    <a:gd name="T28" fmla="*/ 17 w 24"/>
                    <a:gd name="T29" fmla="*/ 21 h 28"/>
                    <a:gd name="T30" fmla="*/ 16 w 24"/>
                    <a:gd name="T31" fmla="*/ 18 h 28"/>
                    <a:gd name="T32" fmla="*/ 18 w 24"/>
                    <a:gd name="T33" fmla="*/ 15 h 28"/>
                    <a:gd name="T34" fmla="*/ 20 w 24"/>
                    <a:gd name="T35" fmla="*/ 15 h 28"/>
                    <a:gd name="T36" fmla="*/ 18 w 24"/>
                    <a:gd name="T37" fmla="*/ 10 h 28"/>
                    <a:gd name="T38" fmla="*/ 22 w 24"/>
                    <a:gd name="T39" fmla="*/ 9 h 28"/>
                    <a:gd name="T40" fmla="*/ 23 w 24"/>
                    <a:gd name="T41" fmla="*/ 6 h 28"/>
                    <a:gd name="T42" fmla="*/ 23 w 24"/>
                    <a:gd name="T43" fmla="*/ 2 h 28"/>
                    <a:gd name="T44" fmla="*/ 24 w 24"/>
                    <a:gd name="T45" fmla="*/ 1 h 28"/>
                    <a:gd name="T46" fmla="*/ 20 w 24"/>
                    <a:gd name="T47" fmla="*/ 0 h 28"/>
                    <a:gd name="T48" fmla="*/ 18 w 24"/>
                    <a:gd name="T49" fmla="*/ 0 h 28"/>
                    <a:gd name="T50" fmla="*/ 15 w 24"/>
                    <a:gd name="T51" fmla="*/ 1 h 28"/>
                    <a:gd name="T52" fmla="*/ 16 w 24"/>
                    <a:gd name="T53" fmla="*/ 5 h 28"/>
                    <a:gd name="T54" fmla="*/ 15 w 24"/>
                    <a:gd name="T55" fmla="*/ 6 h 28"/>
                    <a:gd name="T56" fmla="*/ 15 w 24"/>
                    <a:gd name="T57" fmla="*/ 4 h 28"/>
                    <a:gd name="T58" fmla="*/ 11 w 24"/>
                    <a:gd name="T59" fmla="*/ 7 h 28"/>
                    <a:gd name="T60" fmla="*/ 10 w 24"/>
                    <a:gd name="T61" fmla="*/ 5 h 28"/>
                    <a:gd name="T62" fmla="*/ 11 w 24"/>
                    <a:gd name="T63" fmla="*/ 2 h 28"/>
                    <a:gd name="T64" fmla="*/ 6 w 24"/>
                    <a:gd name="T65" fmla="*/ 2 h 28"/>
                    <a:gd name="T66" fmla="*/ 8 w 24"/>
                    <a:gd name="T67" fmla="*/ 4 h 28"/>
                    <a:gd name="T68" fmla="*/ 6 w 24"/>
                    <a:gd name="T69" fmla="*/ 6 h 28"/>
                    <a:gd name="T70" fmla="*/ 0 w 24"/>
                    <a:gd name="T71" fmla="*/ 6 h 28"/>
                    <a:gd name="T72" fmla="*/ 2 w 24"/>
                    <a:gd name="T73" fmla="*/ 9 h 28"/>
                    <a:gd name="T74" fmla="*/ 4 w 24"/>
                    <a:gd name="T75" fmla="*/ 11 h 28"/>
                    <a:gd name="T76" fmla="*/ 2 w 24"/>
                    <a:gd name="T77" fmla="*/ 14 h 28"/>
                    <a:gd name="T78" fmla="*/ 4 w 24"/>
                    <a:gd name="T79" fmla="*/ 14 h 28"/>
                    <a:gd name="T80" fmla="*/ 6 w 24"/>
                    <a:gd name="T81" fmla="*/ 16 h 28"/>
                    <a:gd name="T82" fmla="*/ 11 w 24"/>
                    <a:gd name="T83" fmla="*/ 16 h 28"/>
                    <a:gd name="T84" fmla="*/ 10 w 24"/>
                    <a:gd name="T85" fmla="*/ 19 h 28"/>
                    <a:gd name="T86" fmla="*/ 14 w 24"/>
                    <a:gd name="T87" fmla="*/ 20 h 28"/>
                    <a:gd name="T88" fmla="*/ 11 w 24"/>
                    <a:gd name="T89" fmla="*/ 23 h 28"/>
                    <a:gd name="T90" fmla="*/ 13 w 24"/>
                    <a:gd name="T91" fmla="*/ 24 h 28"/>
                    <a:gd name="T92" fmla="*/ 13 w 24"/>
                    <a:gd name="T93"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28">
                      <a:moveTo>
                        <a:pt x="13" y="24"/>
                      </a:moveTo>
                      <a:lnTo>
                        <a:pt x="11" y="23"/>
                      </a:lnTo>
                      <a:lnTo>
                        <a:pt x="7" y="23"/>
                      </a:lnTo>
                      <a:lnTo>
                        <a:pt x="5" y="21"/>
                      </a:lnTo>
                      <a:lnTo>
                        <a:pt x="2" y="22"/>
                      </a:lnTo>
                      <a:lnTo>
                        <a:pt x="1" y="24"/>
                      </a:lnTo>
                      <a:lnTo>
                        <a:pt x="8" y="28"/>
                      </a:lnTo>
                      <a:lnTo>
                        <a:pt x="10" y="27"/>
                      </a:lnTo>
                      <a:lnTo>
                        <a:pt x="13" y="24"/>
                      </a:lnTo>
                      <a:lnTo>
                        <a:pt x="14" y="26"/>
                      </a:lnTo>
                      <a:lnTo>
                        <a:pt x="14" y="28"/>
                      </a:lnTo>
                      <a:lnTo>
                        <a:pt x="15" y="28"/>
                      </a:lnTo>
                      <a:lnTo>
                        <a:pt x="16" y="22"/>
                      </a:lnTo>
                      <a:lnTo>
                        <a:pt x="14" y="20"/>
                      </a:lnTo>
                      <a:lnTo>
                        <a:pt x="17" y="21"/>
                      </a:lnTo>
                      <a:lnTo>
                        <a:pt x="16" y="18"/>
                      </a:lnTo>
                      <a:lnTo>
                        <a:pt x="18" y="15"/>
                      </a:lnTo>
                      <a:lnTo>
                        <a:pt x="20" y="15"/>
                      </a:lnTo>
                      <a:lnTo>
                        <a:pt x="18" y="10"/>
                      </a:lnTo>
                      <a:lnTo>
                        <a:pt x="22" y="9"/>
                      </a:lnTo>
                      <a:lnTo>
                        <a:pt x="23" y="6"/>
                      </a:lnTo>
                      <a:lnTo>
                        <a:pt x="23" y="2"/>
                      </a:lnTo>
                      <a:lnTo>
                        <a:pt x="24" y="1"/>
                      </a:lnTo>
                      <a:lnTo>
                        <a:pt x="20" y="0"/>
                      </a:lnTo>
                      <a:lnTo>
                        <a:pt x="18" y="0"/>
                      </a:lnTo>
                      <a:lnTo>
                        <a:pt x="15" y="1"/>
                      </a:lnTo>
                      <a:lnTo>
                        <a:pt x="16" y="5"/>
                      </a:lnTo>
                      <a:lnTo>
                        <a:pt x="15" y="6"/>
                      </a:lnTo>
                      <a:lnTo>
                        <a:pt x="15" y="4"/>
                      </a:lnTo>
                      <a:lnTo>
                        <a:pt x="11" y="7"/>
                      </a:lnTo>
                      <a:lnTo>
                        <a:pt x="10" y="5"/>
                      </a:lnTo>
                      <a:lnTo>
                        <a:pt x="11" y="2"/>
                      </a:lnTo>
                      <a:lnTo>
                        <a:pt x="6" y="2"/>
                      </a:lnTo>
                      <a:lnTo>
                        <a:pt x="8" y="4"/>
                      </a:lnTo>
                      <a:lnTo>
                        <a:pt x="6" y="6"/>
                      </a:lnTo>
                      <a:lnTo>
                        <a:pt x="0" y="6"/>
                      </a:lnTo>
                      <a:lnTo>
                        <a:pt x="2" y="9"/>
                      </a:lnTo>
                      <a:lnTo>
                        <a:pt x="4" y="11"/>
                      </a:lnTo>
                      <a:lnTo>
                        <a:pt x="2" y="14"/>
                      </a:lnTo>
                      <a:lnTo>
                        <a:pt x="4" y="14"/>
                      </a:lnTo>
                      <a:lnTo>
                        <a:pt x="6" y="16"/>
                      </a:lnTo>
                      <a:lnTo>
                        <a:pt x="11" y="16"/>
                      </a:lnTo>
                      <a:lnTo>
                        <a:pt x="10" y="19"/>
                      </a:lnTo>
                      <a:lnTo>
                        <a:pt x="14" y="20"/>
                      </a:lnTo>
                      <a:lnTo>
                        <a:pt x="11" y="23"/>
                      </a:lnTo>
                      <a:lnTo>
                        <a:pt x="13" y="24"/>
                      </a:lnTo>
                      <a:lnTo>
                        <a:pt x="1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31" name="Freeform 93">
                  <a:extLst>
                    <a:ext uri="{FF2B5EF4-FFF2-40B4-BE49-F238E27FC236}">
                      <a16:creationId xmlns:a16="http://schemas.microsoft.com/office/drawing/2014/main" id="{ED5999AB-6574-4B30-A855-761C3E19F85E}"/>
                    </a:ext>
                  </a:extLst>
                </p:cNvPr>
                <p:cNvSpPr>
                  <a:spLocks/>
                </p:cNvSpPr>
                <p:nvPr/>
              </p:nvSpPr>
              <p:spPr bwMode="auto">
                <a:xfrm>
                  <a:off x="3933" y="1908"/>
                  <a:ext cx="12" cy="21"/>
                </a:xfrm>
                <a:custGeom>
                  <a:avLst/>
                  <a:gdLst>
                    <a:gd name="T0" fmla="*/ 3 w 12"/>
                    <a:gd name="T1" fmla="*/ 18 h 21"/>
                    <a:gd name="T2" fmla="*/ 3 w 12"/>
                    <a:gd name="T3" fmla="*/ 17 h 21"/>
                    <a:gd name="T4" fmla="*/ 6 w 12"/>
                    <a:gd name="T5" fmla="*/ 15 h 21"/>
                    <a:gd name="T6" fmla="*/ 8 w 12"/>
                    <a:gd name="T7" fmla="*/ 13 h 21"/>
                    <a:gd name="T8" fmla="*/ 9 w 12"/>
                    <a:gd name="T9" fmla="*/ 9 h 21"/>
                    <a:gd name="T10" fmla="*/ 9 w 12"/>
                    <a:gd name="T11" fmla="*/ 5 h 21"/>
                    <a:gd name="T12" fmla="*/ 12 w 12"/>
                    <a:gd name="T13" fmla="*/ 4 h 21"/>
                    <a:gd name="T14" fmla="*/ 12 w 12"/>
                    <a:gd name="T15" fmla="*/ 0 h 21"/>
                    <a:gd name="T16" fmla="*/ 9 w 12"/>
                    <a:gd name="T17" fmla="*/ 3 h 21"/>
                    <a:gd name="T18" fmla="*/ 6 w 12"/>
                    <a:gd name="T19" fmla="*/ 3 h 21"/>
                    <a:gd name="T20" fmla="*/ 4 w 12"/>
                    <a:gd name="T21" fmla="*/ 4 h 21"/>
                    <a:gd name="T22" fmla="*/ 1 w 12"/>
                    <a:gd name="T23" fmla="*/ 7 h 21"/>
                    <a:gd name="T24" fmla="*/ 0 w 12"/>
                    <a:gd name="T25" fmla="*/ 9 h 21"/>
                    <a:gd name="T26" fmla="*/ 1 w 12"/>
                    <a:gd name="T27" fmla="*/ 13 h 21"/>
                    <a:gd name="T28" fmla="*/ 1 w 12"/>
                    <a:gd name="T29" fmla="*/ 15 h 21"/>
                    <a:gd name="T30" fmla="*/ 2 w 12"/>
                    <a:gd name="T31" fmla="*/ 17 h 21"/>
                    <a:gd name="T32" fmla="*/ 1 w 12"/>
                    <a:gd name="T33" fmla="*/ 21 h 21"/>
                    <a:gd name="T34" fmla="*/ 3 w 12"/>
                    <a:gd name="T35" fmla="*/ 18 h 21"/>
                    <a:gd name="T36" fmla="*/ 3 w 12"/>
                    <a:gd name="T3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21">
                      <a:moveTo>
                        <a:pt x="3" y="18"/>
                      </a:moveTo>
                      <a:lnTo>
                        <a:pt x="3" y="17"/>
                      </a:lnTo>
                      <a:lnTo>
                        <a:pt x="6" y="15"/>
                      </a:lnTo>
                      <a:lnTo>
                        <a:pt x="8" y="13"/>
                      </a:lnTo>
                      <a:lnTo>
                        <a:pt x="9" y="9"/>
                      </a:lnTo>
                      <a:lnTo>
                        <a:pt x="9" y="5"/>
                      </a:lnTo>
                      <a:lnTo>
                        <a:pt x="12" y="4"/>
                      </a:lnTo>
                      <a:lnTo>
                        <a:pt x="12" y="0"/>
                      </a:lnTo>
                      <a:lnTo>
                        <a:pt x="9" y="3"/>
                      </a:lnTo>
                      <a:lnTo>
                        <a:pt x="6" y="3"/>
                      </a:lnTo>
                      <a:lnTo>
                        <a:pt x="4" y="4"/>
                      </a:lnTo>
                      <a:lnTo>
                        <a:pt x="1" y="7"/>
                      </a:lnTo>
                      <a:lnTo>
                        <a:pt x="0" y="9"/>
                      </a:lnTo>
                      <a:lnTo>
                        <a:pt x="1" y="13"/>
                      </a:lnTo>
                      <a:lnTo>
                        <a:pt x="1" y="15"/>
                      </a:lnTo>
                      <a:lnTo>
                        <a:pt x="2" y="17"/>
                      </a:lnTo>
                      <a:lnTo>
                        <a:pt x="1" y="21"/>
                      </a:lnTo>
                      <a:lnTo>
                        <a:pt x="3" y="18"/>
                      </a:lnTo>
                      <a:lnTo>
                        <a:pt x="3"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32" name="Freeform 94">
                  <a:extLst>
                    <a:ext uri="{FF2B5EF4-FFF2-40B4-BE49-F238E27FC236}">
                      <a16:creationId xmlns:a16="http://schemas.microsoft.com/office/drawing/2014/main" id="{6491DFC7-1CD3-FD99-7023-B57AB940A1E6}"/>
                    </a:ext>
                  </a:extLst>
                </p:cNvPr>
                <p:cNvSpPr>
                  <a:spLocks/>
                </p:cNvSpPr>
                <p:nvPr/>
              </p:nvSpPr>
              <p:spPr bwMode="auto">
                <a:xfrm>
                  <a:off x="3985" y="1895"/>
                  <a:ext cx="18" cy="14"/>
                </a:xfrm>
                <a:custGeom>
                  <a:avLst/>
                  <a:gdLst>
                    <a:gd name="T0" fmla="*/ 1 w 18"/>
                    <a:gd name="T1" fmla="*/ 14 h 14"/>
                    <a:gd name="T2" fmla="*/ 4 w 18"/>
                    <a:gd name="T3" fmla="*/ 11 h 14"/>
                    <a:gd name="T4" fmla="*/ 4 w 18"/>
                    <a:gd name="T5" fmla="*/ 9 h 14"/>
                    <a:gd name="T6" fmla="*/ 8 w 18"/>
                    <a:gd name="T7" fmla="*/ 8 h 14"/>
                    <a:gd name="T8" fmla="*/ 10 w 18"/>
                    <a:gd name="T9" fmla="*/ 8 h 14"/>
                    <a:gd name="T10" fmla="*/ 16 w 18"/>
                    <a:gd name="T11" fmla="*/ 4 h 14"/>
                    <a:gd name="T12" fmla="*/ 18 w 18"/>
                    <a:gd name="T13" fmla="*/ 3 h 14"/>
                    <a:gd name="T14" fmla="*/ 17 w 18"/>
                    <a:gd name="T15" fmla="*/ 1 h 14"/>
                    <a:gd name="T16" fmla="*/ 13 w 18"/>
                    <a:gd name="T17" fmla="*/ 0 h 14"/>
                    <a:gd name="T18" fmla="*/ 11 w 18"/>
                    <a:gd name="T19" fmla="*/ 1 h 14"/>
                    <a:gd name="T20" fmla="*/ 8 w 18"/>
                    <a:gd name="T21" fmla="*/ 0 h 14"/>
                    <a:gd name="T22" fmla="*/ 5 w 18"/>
                    <a:gd name="T23" fmla="*/ 1 h 14"/>
                    <a:gd name="T24" fmla="*/ 3 w 18"/>
                    <a:gd name="T25" fmla="*/ 2 h 14"/>
                    <a:gd name="T26" fmla="*/ 0 w 18"/>
                    <a:gd name="T27" fmla="*/ 2 h 14"/>
                    <a:gd name="T28" fmla="*/ 1 w 18"/>
                    <a:gd name="T29" fmla="*/ 4 h 14"/>
                    <a:gd name="T30" fmla="*/ 0 w 18"/>
                    <a:gd name="T31" fmla="*/ 8 h 14"/>
                    <a:gd name="T32" fmla="*/ 2 w 18"/>
                    <a:gd name="T33" fmla="*/ 9 h 14"/>
                    <a:gd name="T34" fmla="*/ 1 w 18"/>
                    <a:gd name="T35" fmla="*/ 14 h 14"/>
                    <a:gd name="T36" fmla="*/ 1 w 18"/>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4">
                      <a:moveTo>
                        <a:pt x="1" y="14"/>
                      </a:moveTo>
                      <a:lnTo>
                        <a:pt x="4" y="11"/>
                      </a:lnTo>
                      <a:lnTo>
                        <a:pt x="4" y="9"/>
                      </a:lnTo>
                      <a:lnTo>
                        <a:pt x="8" y="8"/>
                      </a:lnTo>
                      <a:lnTo>
                        <a:pt x="10" y="8"/>
                      </a:lnTo>
                      <a:lnTo>
                        <a:pt x="16" y="4"/>
                      </a:lnTo>
                      <a:lnTo>
                        <a:pt x="18" y="3"/>
                      </a:lnTo>
                      <a:lnTo>
                        <a:pt x="17" y="1"/>
                      </a:lnTo>
                      <a:lnTo>
                        <a:pt x="13" y="0"/>
                      </a:lnTo>
                      <a:lnTo>
                        <a:pt x="11" y="1"/>
                      </a:lnTo>
                      <a:lnTo>
                        <a:pt x="8" y="0"/>
                      </a:lnTo>
                      <a:lnTo>
                        <a:pt x="5" y="1"/>
                      </a:lnTo>
                      <a:lnTo>
                        <a:pt x="3" y="2"/>
                      </a:lnTo>
                      <a:lnTo>
                        <a:pt x="0" y="2"/>
                      </a:lnTo>
                      <a:lnTo>
                        <a:pt x="1" y="4"/>
                      </a:lnTo>
                      <a:lnTo>
                        <a:pt x="0" y="8"/>
                      </a:lnTo>
                      <a:lnTo>
                        <a:pt x="2" y="9"/>
                      </a:lnTo>
                      <a:lnTo>
                        <a:pt x="1" y="14"/>
                      </a:lnTo>
                      <a:lnTo>
                        <a:pt x="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33" name="Freeform 95">
                  <a:extLst>
                    <a:ext uri="{FF2B5EF4-FFF2-40B4-BE49-F238E27FC236}">
                      <a16:creationId xmlns:a16="http://schemas.microsoft.com/office/drawing/2014/main" id="{03B5DDB5-9A0E-0512-DFF4-0208C0BE7E8D}"/>
                    </a:ext>
                  </a:extLst>
                </p:cNvPr>
                <p:cNvSpPr>
                  <a:spLocks/>
                </p:cNvSpPr>
                <p:nvPr/>
              </p:nvSpPr>
              <p:spPr bwMode="auto">
                <a:xfrm>
                  <a:off x="3987" y="1886"/>
                  <a:ext cx="12" cy="8"/>
                </a:xfrm>
                <a:custGeom>
                  <a:avLst/>
                  <a:gdLst>
                    <a:gd name="T0" fmla="*/ 8 w 12"/>
                    <a:gd name="T1" fmla="*/ 0 h 8"/>
                    <a:gd name="T2" fmla="*/ 6 w 12"/>
                    <a:gd name="T3" fmla="*/ 2 h 8"/>
                    <a:gd name="T4" fmla="*/ 0 w 12"/>
                    <a:gd name="T5" fmla="*/ 3 h 8"/>
                    <a:gd name="T6" fmla="*/ 6 w 12"/>
                    <a:gd name="T7" fmla="*/ 4 h 8"/>
                    <a:gd name="T8" fmla="*/ 7 w 12"/>
                    <a:gd name="T9" fmla="*/ 8 h 8"/>
                    <a:gd name="T10" fmla="*/ 12 w 12"/>
                    <a:gd name="T11" fmla="*/ 4 h 8"/>
                    <a:gd name="T12" fmla="*/ 10 w 12"/>
                    <a:gd name="T13" fmla="*/ 1 h 8"/>
                    <a:gd name="T14" fmla="*/ 8 w 12"/>
                    <a:gd name="T15" fmla="*/ 0 h 8"/>
                    <a:gd name="T16" fmla="*/ 8 w 12"/>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8" y="0"/>
                      </a:moveTo>
                      <a:lnTo>
                        <a:pt x="6" y="2"/>
                      </a:lnTo>
                      <a:lnTo>
                        <a:pt x="0" y="3"/>
                      </a:lnTo>
                      <a:lnTo>
                        <a:pt x="6" y="4"/>
                      </a:lnTo>
                      <a:lnTo>
                        <a:pt x="7" y="8"/>
                      </a:lnTo>
                      <a:lnTo>
                        <a:pt x="12" y="4"/>
                      </a:lnTo>
                      <a:lnTo>
                        <a:pt x="10"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34" name="Freeform 96">
                  <a:extLst>
                    <a:ext uri="{FF2B5EF4-FFF2-40B4-BE49-F238E27FC236}">
                      <a16:creationId xmlns:a16="http://schemas.microsoft.com/office/drawing/2014/main" id="{7A9DD2E1-D411-FE2D-1064-37EC777D0EEB}"/>
                    </a:ext>
                  </a:extLst>
                </p:cNvPr>
                <p:cNvSpPr>
                  <a:spLocks noEditPoints="1"/>
                </p:cNvSpPr>
                <p:nvPr/>
              </p:nvSpPr>
              <p:spPr bwMode="auto">
                <a:xfrm>
                  <a:off x="3831" y="1352"/>
                  <a:ext cx="226" cy="119"/>
                </a:xfrm>
                <a:custGeom>
                  <a:avLst/>
                  <a:gdLst>
                    <a:gd name="T0" fmla="*/ 130 w 226"/>
                    <a:gd name="T1" fmla="*/ 47 h 119"/>
                    <a:gd name="T2" fmla="*/ 111 w 226"/>
                    <a:gd name="T3" fmla="*/ 39 h 119"/>
                    <a:gd name="T4" fmla="*/ 94 w 226"/>
                    <a:gd name="T5" fmla="*/ 35 h 119"/>
                    <a:gd name="T6" fmla="*/ 84 w 226"/>
                    <a:gd name="T7" fmla="*/ 21 h 119"/>
                    <a:gd name="T8" fmla="*/ 72 w 226"/>
                    <a:gd name="T9" fmla="*/ 19 h 119"/>
                    <a:gd name="T10" fmla="*/ 73 w 226"/>
                    <a:gd name="T11" fmla="*/ 42 h 119"/>
                    <a:gd name="T12" fmla="*/ 54 w 226"/>
                    <a:gd name="T13" fmla="*/ 23 h 119"/>
                    <a:gd name="T14" fmla="*/ 45 w 226"/>
                    <a:gd name="T15" fmla="*/ 35 h 119"/>
                    <a:gd name="T16" fmla="*/ 35 w 226"/>
                    <a:gd name="T17" fmla="*/ 26 h 119"/>
                    <a:gd name="T18" fmla="*/ 28 w 226"/>
                    <a:gd name="T19" fmla="*/ 23 h 119"/>
                    <a:gd name="T20" fmla="*/ 10 w 226"/>
                    <a:gd name="T21" fmla="*/ 23 h 119"/>
                    <a:gd name="T22" fmla="*/ 3 w 226"/>
                    <a:gd name="T23" fmla="*/ 33 h 119"/>
                    <a:gd name="T24" fmla="*/ 19 w 226"/>
                    <a:gd name="T25" fmla="*/ 41 h 119"/>
                    <a:gd name="T26" fmla="*/ 5 w 226"/>
                    <a:gd name="T27" fmla="*/ 48 h 119"/>
                    <a:gd name="T28" fmla="*/ 22 w 226"/>
                    <a:gd name="T29" fmla="*/ 61 h 119"/>
                    <a:gd name="T30" fmla="*/ 33 w 226"/>
                    <a:gd name="T31" fmla="*/ 70 h 119"/>
                    <a:gd name="T32" fmla="*/ 48 w 226"/>
                    <a:gd name="T33" fmla="*/ 63 h 119"/>
                    <a:gd name="T34" fmla="*/ 61 w 226"/>
                    <a:gd name="T35" fmla="*/ 52 h 119"/>
                    <a:gd name="T36" fmla="*/ 76 w 226"/>
                    <a:gd name="T37" fmla="*/ 60 h 119"/>
                    <a:gd name="T38" fmla="*/ 87 w 226"/>
                    <a:gd name="T39" fmla="*/ 65 h 119"/>
                    <a:gd name="T40" fmla="*/ 63 w 226"/>
                    <a:gd name="T41" fmla="*/ 70 h 119"/>
                    <a:gd name="T42" fmla="*/ 38 w 226"/>
                    <a:gd name="T43" fmla="*/ 80 h 119"/>
                    <a:gd name="T44" fmla="*/ 60 w 226"/>
                    <a:gd name="T45" fmla="*/ 83 h 119"/>
                    <a:gd name="T46" fmla="*/ 85 w 226"/>
                    <a:gd name="T47" fmla="*/ 80 h 119"/>
                    <a:gd name="T48" fmla="*/ 70 w 226"/>
                    <a:gd name="T49" fmla="*/ 90 h 119"/>
                    <a:gd name="T50" fmla="*/ 55 w 226"/>
                    <a:gd name="T51" fmla="*/ 91 h 119"/>
                    <a:gd name="T52" fmla="*/ 51 w 226"/>
                    <a:gd name="T53" fmla="*/ 101 h 119"/>
                    <a:gd name="T54" fmla="*/ 79 w 226"/>
                    <a:gd name="T55" fmla="*/ 107 h 119"/>
                    <a:gd name="T56" fmla="*/ 73 w 226"/>
                    <a:gd name="T57" fmla="*/ 113 h 119"/>
                    <a:gd name="T58" fmla="*/ 85 w 226"/>
                    <a:gd name="T59" fmla="*/ 112 h 119"/>
                    <a:gd name="T60" fmla="*/ 101 w 226"/>
                    <a:gd name="T61" fmla="*/ 92 h 119"/>
                    <a:gd name="T62" fmla="*/ 113 w 226"/>
                    <a:gd name="T63" fmla="*/ 69 h 119"/>
                    <a:gd name="T64" fmla="*/ 135 w 226"/>
                    <a:gd name="T65" fmla="*/ 58 h 119"/>
                    <a:gd name="T66" fmla="*/ 200 w 226"/>
                    <a:gd name="T67" fmla="*/ 9 h 119"/>
                    <a:gd name="T68" fmla="*/ 182 w 226"/>
                    <a:gd name="T69" fmla="*/ 7 h 119"/>
                    <a:gd name="T70" fmla="*/ 172 w 226"/>
                    <a:gd name="T71" fmla="*/ 3 h 119"/>
                    <a:gd name="T72" fmla="*/ 161 w 226"/>
                    <a:gd name="T73" fmla="*/ 15 h 119"/>
                    <a:gd name="T74" fmla="*/ 139 w 226"/>
                    <a:gd name="T75" fmla="*/ 9 h 119"/>
                    <a:gd name="T76" fmla="*/ 124 w 226"/>
                    <a:gd name="T77" fmla="*/ 7 h 119"/>
                    <a:gd name="T78" fmla="*/ 118 w 226"/>
                    <a:gd name="T79" fmla="*/ 14 h 119"/>
                    <a:gd name="T80" fmla="*/ 112 w 226"/>
                    <a:gd name="T81" fmla="*/ 15 h 119"/>
                    <a:gd name="T82" fmla="*/ 112 w 226"/>
                    <a:gd name="T83" fmla="*/ 24 h 119"/>
                    <a:gd name="T84" fmla="*/ 156 w 226"/>
                    <a:gd name="T85" fmla="*/ 23 h 119"/>
                    <a:gd name="T86" fmla="*/ 141 w 226"/>
                    <a:gd name="T87" fmla="*/ 29 h 119"/>
                    <a:gd name="T88" fmla="*/ 136 w 226"/>
                    <a:gd name="T89" fmla="*/ 33 h 119"/>
                    <a:gd name="T90" fmla="*/ 166 w 226"/>
                    <a:gd name="T91" fmla="*/ 40 h 119"/>
                    <a:gd name="T92" fmla="*/ 206 w 226"/>
                    <a:gd name="T93" fmla="*/ 34 h 119"/>
                    <a:gd name="T94" fmla="*/ 225 w 226"/>
                    <a:gd name="T95" fmla="*/ 16 h 119"/>
                    <a:gd name="T96" fmla="*/ 157 w 226"/>
                    <a:gd name="T97" fmla="*/ 64 h 119"/>
                    <a:gd name="T98" fmla="*/ 135 w 226"/>
                    <a:gd name="T99" fmla="*/ 65 h 119"/>
                    <a:gd name="T100" fmla="*/ 180 w 226"/>
                    <a:gd name="T101" fmla="*/ 81 h 119"/>
                    <a:gd name="T102" fmla="*/ 167 w 226"/>
                    <a:gd name="T103" fmla="*/ 69 h 119"/>
                    <a:gd name="T104" fmla="*/ 149 w 226"/>
                    <a:gd name="T105" fmla="*/ 81 h 119"/>
                    <a:gd name="T106" fmla="*/ 148 w 226"/>
                    <a:gd name="T107" fmla="*/ 92 h 119"/>
                    <a:gd name="T108" fmla="*/ 166 w 226"/>
                    <a:gd name="T109" fmla="*/ 98 h 119"/>
                    <a:gd name="T110" fmla="*/ 193 w 226"/>
                    <a:gd name="T111" fmla="*/ 8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6" h="119">
                      <a:moveTo>
                        <a:pt x="135" y="58"/>
                      </a:moveTo>
                      <a:lnTo>
                        <a:pt x="138" y="57"/>
                      </a:lnTo>
                      <a:lnTo>
                        <a:pt x="140" y="58"/>
                      </a:lnTo>
                      <a:lnTo>
                        <a:pt x="146" y="57"/>
                      </a:lnTo>
                      <a:lnTo>
                        <a:pt x="148" y="55"/>
                      </a:lnTo>
                      <a:lnTo>
                        <a:pt x="147" y="51"/>
                      </a:lnTo>
                      <a:lnTo>
                        <a:pt x="136" y="49"/>
                      </a:lnTo>
                      <a:lnTo>
                        <a:pt x="130" y="47"/>
                      </a:lnTo>
                      <a:lnTo>
                        <a:pt x="128" y="47"/>
                      </a:lnTo>
                      <a:lnTo>
                        <a:pt x="124" y="42"/>
                      </a:lnTo>
                      <a:lnTo>
                        <a:pt x="119" y="41"/>
                      </a:lnTo>
                      <a:lnTo>
                        <a:pt x="115" y="42"/>
                      </a:lnTo>
                      <a:lnTo>
                        <a:pt x="113" y="42"/>
                      </a:lnTo>
                      <a:lnTo>
                        <a:pt x="111" y="40"/>
                      </a:lnTo>
                      <a:lnTo>
                        <a:pt x="107" y="39"/>
                      </a:lnTo>
                      <a:lnTo>
                        <a:pt x="111" y="39"/>
                      </a:lnTo>
                      <a:lnTo>
                        <a:pt x="111" y="36"/>
                      </a:lnTo>
                      <a:lnTo>
                        <a:pt x="111" y="33"/>
                      </a:lnTo>
                      <a:lnTo>
                        <a:pt x="110" y="31"/>
                      </a:lnTo>
                      <a:lnTo>
                        <a:pt x="104" y="27"/>
                      </a:lnTo>
                      <a:lnTo>
                        <a:pt x="101" y="30"/>
                      </a:lnTo>
                      <a:lnTo>
                        <a:pt x="99" y="32"/>
                      </a:lnTo>
                      <a:lnTo>
                        <a:pt x="97" y="35"/>
                      </a:lnTo>
                      <a:lnTo>
                        <a:pt x="94" y="35"/>
                      </a:lnTo>
                      <a:lnTo>
                        <a:pt x="96" y="33"/>
                      </a:lnTo>
                      <a:lnTo>
                        <a:pt x="94" y="30"/>
                      </a:lnTo>
                      <a:lnTo>
                        <a:pt x="99" y="26"/>
                      </a:lnTo>
                      <a:lnTo>
                        <a:pt x="99" y="24"/>
                      </a:lnTo>
                      <a:lnTo>
                        <a:pt x="94" y="19"/>
                      </a:lnTo>
                      <a:lnTo>
                        <a:pt x="88" y="18"/>
                      </a:lnTo>
                      <a:lnTo>
                        <a:pt x="85" y="17"/>
                      </a:lnTo>
                      <a:lnTo>
                        <a:pt x="84" y="21"/>
                      </a:lnTo>
                      <a:lnTo>
                        <a:pt x="81" y="19"/>
                      </a:lnTo>
                      <a:lnTo>
                        <a:pt x="80" y="16"/>
                      </a:lnTo>
                      <a:lnTo>
                        <a:pt x="78" y="15"/>
                      </a:lnTo>
                      <a:lnTo>
                        <a:pt x="76" y="15"/>
                      </a:lnTo>
                      <a:lnTo>
                        <a:pt x="74" y="17"/>
                      </a:lnTo>
                      <a:lnTo>
                        <a:pt x="74" y="17"/>
                      </a:lnTo>
                      <a:lnTo>
                        <a:pt x="76" y="21"/>
                      </a:lnTo>
                      <a:lnTo>
                        <a:pt x="72" y="19"/>
                      </a:lnTo>
                      <a:lnTo>
                        <a:pt x="70" y="22"/>
                      </a:lnTo>
                      <a:lnTo>
                        <a:pt x="73" y="31"/>
                      </a:lnTo>
                      <a:lnTo>
                        <a:pt x="74" y="36"/>
                      </a:lnTo>
                      <a:lnTo>
                        <a:pt x="80" y="47"/>
                      </a:lnTo>
                      <a:lnTo>
                        <a:pt x="80" y="50"/>
                      </a:lnTo>
                      <a:lnTo>
                        <a:pt x="78" y="48"/>
                      </a:lnTo>
                      <a:lnTo>
                        <a:pt x="77" y="44"/>
                      </a:lnTo>
                      <a:lnTo>
                        <a:pt x="73" y="42"/>
                      </a:lnTo>
                      <a:lnTo>
                        <a:pt x="71" y="41"/>
                      </a:lnTo>
                      <a:lnTo>
                        <a:pt x="70" y="39"/>
                      </a:lnTo>
                      <a:lnTo>
                        <a:pt x="68" y="36"/>
                      </a:lnTo>
                      <a:lnTo>
                        <a:pt x="65" y="31"/>
                      </a:lnTo>
                      <a:lnTo>
                        <a:pt x="65" y="29"/>
                      </a:lnTo>
                      <a:lnTo>
                        <a:pt x="60" y="24"/>
                      </a:lnTo>
                      <a:lnTo>
                        <a:pt x="56" y="23"/>
                      </a:lnTo>
                      <a:lnTo>
                        <a:pt x="54" y="23"/>
                      </a:lnTo>
                      <a:lnTo>
                        <a:pt x="51" y="25"/>
                      </a:lnTo>
                      <a:lnTo>
                        <a:pt x="51" y="29"/>
                      </a:lnTo>
                      <a:lnTo>
                        <a:pt x="48" y="29"/>
                      </a:lnTo>
                      <a:lnTo>
                        <a:pt x="45" y="31"/>
                      </a:lnTo>
                      <a:lnTo>
                        <a:pt x="48" y="36"/>
                      </a:lnTo>
                      <a:lnTo>
                        <a:pt x="48" y="39"/>
                      </a:lnTo>
                      <a:lnTo>
                        <a:pt x="45" y="38"/>
                      </a:lnTo>
                      <a:lnTo>
                        <a:pt x="45" y="35"/>
                      </a:lnTo>
                      <a:lnTo>
                        <a:pt x="42" y="33"/>
                      </a:lnTo>
                      <a:lnTo>
                        <a:pt x="39" y="33"/>
                      </a:lnTo>
                      <a:lnTo>
                        <a:pt x="36" y="32"/>
                      </a:lnTo>
                      <a:lnTo>
                        <a:pt x="38" y="29"/>
                      </a:lnTo>
                      <a:lnTo>
                        <a:pt x="36" y="29"/>
                      </a:lnTo>
                      <a:lnTo>
                        <a:pt x="30" y="30"/>
                      </a:lnTo>
                      <a:lnTo>
                        <a:pt x="27" y="29"/>
                      </a:lnTo>
                      <a:lnTo>
                        <a:pt x="35" y="26"/>
                      </a:lnTo>
                      <a:lnTo>
                        <a:pt x="38" y="25"/>
                      </a:lnTo>
                      <a:lnTo>
                        <a:pt x="40" y="25"/>
                      </a:lnTo>
                      <a:lnTo>
                        <a:pt x="44" y="25"/>
                      </a:lnTo>
                      <a:lnTo>
                        <a:pt x="46" y="24"/>
                      </a:lnTo>
                      <a:lnTo>
                        <a:pt x="45" y="21"/>
                      </a:lnTo>
                      <a:lnTo>
                        <a:pt x="43" y="21"/>
                      </a:lnTo>
                      <a:lnTo>
                        <a:pt x="37" y="21"/>
                      </a:lnTo>
                      <a:lnTo>
                        <a:pt x="28" y="23"/>
                      </a:lnTo>
                      <a:lnTo>
                        <a:pt x="26" y="23"/>
                      </a:lnTo>
                      <a:lnTo>
                        <a:pt x="22" y="22"/>
                      </a:lnTo>
                      <a:lnTo>
                        <a:pt x="21" y="24"/>
                      </a:lnTo>
                      <a:lnTo>
                        <a:pt x="22" y="26"/>
                      </a:lnTo>
                      <a:lnTo>
                        <a:pt x="20" y="26"/>
                      </a:lnTo>
                      <a:lnTo>
                        <a:pt x="18" y="24"/>
                      </a:lnTo>
                      <a:lnTo>
                        <a:pt x="16" y="21"/>
                      </a:lnTo>
                      <a:lnTo>
                        <a:pt x="10" y="23"/>
                      </a:lnTo>
                      <a:lnTo>
                        <a:pt x="8" y="25"/>
                      </a:lnTo>
                      <a:lnTo>
                        <a:pt x="9" y="27"/>
                      </a:lnTo>
                      <a:lnTo>
                        <a:pt x="7" y="27"/>
                      </a:lnTo>
                      <a:lnTo>
                        <a:pt x="3" y="29"/>
                      </a:lnTo>
                      <a:lnTo>
                        <a:pt x="5" y="30"/>
                      </a:lnTo>
                      <a:lnTo>
                        <a:pt x="3" y="30"/>
                      </a:lnTo>
                      <a:lnTo>
                        <a:pt x="0" y="31"/>
                      </a:lnTo>
                      <a:lnTo>
                        <a:pt x="3" y="33"/>
                      </a:lnTo>
                      <a:lnTo>
                        <a:pt x="3" y="35"/>
                      </a:lnTo>
                      <a:lnTo>
                        <a:pt x="7" y="41"/>
                      </a:lnTo>
                      <a:lnTo>
                        <a:pt x="8" y="44"/>
                      </a:lnTo>
                      <a:lnTo>
                        <a:pt x="11" y="43"/>
                      </a:lnTo>
                      <a:lnTo>
                        <a:pt x="13" y="41"/>
                      </a:lnTo>
                      <a:lnTo>
                        <a:pt x="13" y="38"/>
                      </a:lnTo>
                      <a:lnTo>
                        <a:pt x="19" y="38"/>
                      </a:lnTo>
                      <a:lnTo>
                        <a:pt x="19" y="41"/>
                      </a:lnTo>
                      <a:lnTo>
                        <a:pt x="16" y="42"/>
                      </a:lnTo>
                      <a:lnTo>
                        <a:pt x="16" y="46"/>
                      </a:lnTo>
                      <a:lnTo>
                        <a:pt x="18" y="48"/>
                      </a:lnTo>
                      <a:lnTo>
                        <a:pt x="21" y="50"/>
                      </a:lnTo>
                      <a:lnTo>
                        <a:pt x="18" y="50"/>
                      </a:lnTo>
                      <a:lnTo>
                        <a:pt x="16" y="49"/>
                      </a:lnTo>
                      <a:lnTo>
                        <a:pt x="9" y="47"/>
                      </a:lnTo>
                      <a:lnTo>
                        <a:pt x="5" y="48"/>
                      </a:lnTo>
                      <a:lnTo>
                        <a:pt x="9" y="50"/>
                      </a:lnTo>
                      <a:lnTo>
                        <a:pt x="13" y="52"/>
                      </a:lnTo>
                      <a:lnTo>
                        <a:pt x="11" y="52"/>
                      </a:lnTo>
                      <a:lnTo>
                        <a:pt x="11" y="55"/>
                      </a:lnTo>
                      <a:lnTo>
                        <a:pt x="13" y="58"/>
                      </a:lnTo>
                      <a:lnTo>
                        <a:pt x="17" y="59"/>
                      </a:lnTo>
                      <a:lnTo>
                        <a:pt x="19" y="59"/>
                      </a:lnTo>
                      <a:lnTo>
                        <a:pt x="22" y="61"/>
                      </a:lnTo>
                      <a:lnTo>
                        <a:pt x="25" y="61"/>
                      </a:lnTo>
                      <a:lnTo>
                        <a:pt x="31" y="61"/>
                      </a:lnTo>
                      <a:lnTo>
                        <a:pt x="19" y="63"/>
                      </a:lnTo>
                      <a:lnTo>
                        <a:pt x="22" y="65"/>
                      </a:lnTo>
                      <a:lnTo>
                        <a:pt x="25" y="67"/>
                      </a:lnTo>
                      <a:lnTo>
                        <a:pt x="28" y="68"/>
                      </a:lnTo>
                      <a:lnTo>
                        <a:pt x="29" y="72"/>
                      </a:lnTo>
                      <a:lnTo>
                        <a:pt x="33" y="70"/>
                      </a:lnTo>
                      <a:lnTo>
                        <a:pt x="38" y="72"/>
                      </a:lnTo>
                      <a:lnTo>
                        <a:pt x="40" y="69"/>
                      </a:lnTo>
                      <a:lnTo>
                        <a:pt x="44" y="70"/>
                      </a:lnTo>
                      <a:lnTo>
                        <a:pt x="46" y="68"/>
                      </a:lnTo>
                      <a:lnTo>
                        <a:pt x="47" y="66"/>
                      </a:lnTo>
                      <a:lnTo>
                        <a:pt x="50" y="66"/>
                      </a:lnTo>
                      <a:lnTo>
                        <a:pt x="52" y="64"/>
                      </a:lnTo>
                      <a:lnTo>
                        <a:pt x="48" y="63"/>
                      </a:lnTo>
                      <a:lnTo>
                        <a:pt x="51" y="59"/>
                      </a:lnTo>
                      <a:lnTo>
                        <a:pt x="50" y="57"/>
                      </a:lnTo>
                      <a:lnTo>
                        <a:pt x="52" y="56"/>
                      </a:lnTo>
                      <a:lnTo>
                        <a:pt x="55" y="56"/>
                      </a:lnTo>
                      <a:lnTo>
                        <a:pt x="55" y="59"/>
                      </a:lnTo>
                      <a:lnTo>
                        <a:pt x="57" y="58"/>
                      </a:lnTo>
                      <a:lnTo>
                        <a:pt x="60" y="56"/>
                      </a:lnTo>
                      <a:lnTo>
                        <a:pt x="61" y="52"/>
                      </a:lnTo>
                      <a:lnTo>
                        <a:pt x="64" y="52"/>
                      </a:lnTo>
                      <a:lnTo>
                        <a:pt x="64" y="56"/>
                      </a:lnTo>
                      <a:lnTo>
                        <a:pt x="63" y="58"/>
                      </a:lnTo>
                      <a:lnTo>
                        <a:pt x="61" y="60"/>
                      </a:lnTo>
                      <a:lnTo>
                        <a:pt x="62" y="63"/>
                      </a:lnTo>
                      <a:lnTo>
                        <a:pt x="64" y="64"/>
                      </a:lnTo>
                      <a:lnTo>
                        <a:pt x="70" y="63"/>
                      </a:lnTo>
                      <a:lnTo>
                        <a:pt x="76" y="60"/>
                      </a:lnTo>
                      <a:lnTo>
                        <a:pt x="77" y="58"/>
                      </a:lnTo>
                      <a:lnTo>
                        <a:pt x="80" y="57"/>
                      </a:lnTo>
                      <a:lnTo>
                        <a:pt x="80" y="59"/>
                      </a:lnTo>
                      <a:lnTo>
                        <a:pt x="78" y="61"/>
                      </a:lnTo>
                      <a:lnTo>
                        <a:pt x="78" y="64"/>
                      </a:lnTo>
                      <a:lnTo>
                        <a:pt x="81" y="65"/>
                      </a:lnTo>
                      <a:lnTo>
                        <a:pt x="84" y="66"/>
                      </a:lnTo>
                      <a:lnTo>
                        <a:pt x="87" y="65"/>
                      </a:lnTo>
                      <a:lnTo>
                        <a:pt x="89" y="65"/>
                      </a:lnTo>
                      <a:lnTo>
                        <a:pt x="84" y="67"/>
                      </a:lnTo>
                      <a:lnTo>
                        <a:pt x="81" y="67"/>
                      </a:lnTo>
                      <a:lnTo>
                        <a:pt x="72" y="67"/>
                      </a:lnTo>
                      <a:lnTo>
                        <a:pt x="70" y="67"/>
                      </a:lnTo>
                      <a:lnTo>
                        <a:pt x="67" y="68"/>
                      </a:lnTo>
                      <a:lnTo>
                        <a:pt x="67" y="70"/>
                      </a:lnTo>
                      <a:lnTo>
                        <a:pt x="63" y="70"/>
                      </a:lnTo>
                      <a:lnTo>
                        <a:pt x="55" y="74"/>
                      </a:lnTo>
                      <a:lnTo>
                        <a:pt x="50" y="75"/>
                      </a:lnTo>
                      <a:lnTo>
                        <a:pt x="46" y="74"/>
                      </a:lnTo>
                      <a:lnTo>
                        <a:pt x="46" y="77"/>
                      </a:lnTo>
                      <a:lnTo>
                        <a:pt x="44" y="75"/>
                      </a:lnTo>
                      <a:lnTo>
                        <a:pt x="40" y="75"/>
                      </a:lnTo>
                      <a:lnTo>
                        <a:pt x="38" y="77"/>
                      </a:lnTo>
                      <a:lnTo>
                        <a:pt x="38" y="80"/>
                      </a:lnTo>
                      <a:lnTo>
                        <a:pt x="39" y="83"/>
                      </a:lnTo>
                      <a:lnTo>
                        <a:pt x="40" y="85"/>
                      </a:lnTo>
                      <a:lnTo>
                        <a:pt x="43" y="85"/>
                      </a:lnTo>
                      <a:lnTo>
                        <a:pt x="46" y="84"/>
                      </a:lnTo>
                      <a:lnTo>
                        <a:pt x="48" y="84"/>
                      </a:lnTo>
                      <a:lnTo>
                        <a:pt x="52" y="84"/>
                      </a:lnTo>
                      <a:lnTo>
                        <a:pt x="56" y="83"/>
                      </a:lnTo>
                      <a:lnTo>
                        <a:pt x="60" y="83"/>
                      </a:lnTo>
                      <a:lnTo>
                        <a:pt x="62" y="81"/>
                      </a:lnTo>
                      <a:lnTo>
                        <a:pt x="65" y="81"/>
                      </a:lnTo>
                      <a:lnTo>
                        <a:pt x="68" y="82"/>
                      </a:lnTo>
                      <a:lnTo>
                        <a:pt x="71" y="82"/>
                      </a:lnTo>
                      <a:lnTo>
                        <a:pt x="73" y="82"/>
                      </a:lnTo>
                      <a:lnTo>
                        <a:pt x="79" y="82"/>
                      </a:lnTo>
                      <a:lnTo>
                        <a:pt x="82" y="80"/>
                      </a:lnTo>
                      <a:lnTo>
                        <a:pt x="85" y="80"/>
                      </a:lnTo>
                      <a:lnTo>
                        <a:pt x="84" y="82"/>
                      </a:lnTo>
                      <a:lnTo>
                        <a:pt x="86" y="84"/>
                      </a:lnTo>
                      <a:lnTo>
                        <a:pt x="84" y="83"/>
                      </a:lnTo>
                      <a:lnTo>
                        <a:pt x="69" y="84"/>
                      </a:lnTo>
                      <a:lnTo>
                        <a:pt x="61" y="85"/>
                      </a:lnTo>
                      <a:lnTo>
                        <a:pt x="57" y="86"/>
                      </a:lnTo>
                      <a:lnTo>
                        <a:pt x="55" y="87"/>
                      </a:lnTo>
                      <a:lnTo>
                        <a:pt x="70" y="90"/>
                      </a:lnTo>
                      <a:lnTo>
                        <a:pt x="72" y="92"/>
                      </a:lnTo>
                      <a:lnTo>
                        <a:pt x="74" y="93"/>
                      </a:lnTo>
                      <a:lnTo>
                        <a:pt x="72" y="93"/>
                      </a:lnTo>
                      <a:lnTo>
                        <a:pt x="70" y="91"/>
                      </a:lnTo>
                      <a:lnTo>
                        <a:pt x="67" y="91"/>
                      </a:lnTo>
                      <a:lnTo>
                        <a:pt x="64" y="91"/>
                      </a:lnTo>
                      <a:lnTo>
                        <a:pt x="59" y="90"/>
                      </a:lnTo>
                      <a:lnTo>
                        <a:pt x="55" y="91"/>
                      </a:lnTo>
                      <a:lnTo>
                        <a:pt x="53" y="92"/>
                      </a:lnTo>
                      <a:lnTo>
                        <a:pt x="51" y="90"/>
                      </a:lnTo>
                      <a:lnTo>
                        <a:pt x="47" y="90"/>
                      </a:lnTo>
                      <a:lnTo>
                        <a:pt x="45" y="90"/>
                      </a:lnTo>
                      <a:lnTo>
                        <a:pt x="42" y="91"/>
                      </a:lnTo>
                      <a:lnTo>
                        <a:pt x="43" y="94"/>
                      </a:lnTo>
                      <a:lnTo>
                        <a:pt x="47" y="100"/>
                      </a:lnTo>
                      <a:lnTo>
                        <a:pt x="51" y="101"/>
                      </a:lnTo>
                      <a:lnTo>
                        <a:pt x="53" y="101"/>
                      </a:lnTo>
                      <a:lnTo>
                        <a:pt x="56" y="102"/>
                      </a:lnTo>
                      <a:lnTo>
                        <a:pt x="59" y="104"/>
                      </a:lnTo>
                      <a:lnTo>
                        <a:pt x="62" y="106"/>
                      </a:lnTo>
                      <a:lnTo>
                        <a:pt x="68" y="107"/>
                      </a:lnTo>
                      <a:lnTo>
                        <a:pt x="70" y="104"/>
                      </a:lnTo>
                      <a:lnTo>
                        <a:pt x="73" y="106"/>
                      </a:lnTo>
                      <a:lnTo>
                        <a:pt x="79" y="107"/>
                      </a:lnTo>
                      <a:lnTo>
                        <a:pt x="76" y="108"/>
                      </a:lnTo>
                      <a:lnTo>
                        <a:pt x="73" y="107"/>
                      </a:lnTo>
                      <a:lnTo>
                        <a:pt x="70" y="108"/>
                      </a:lnTo>
                      <a:lnTo>
                        <a:pt x="68" y="108"/>
                      </a:lnTo>
                      <a:lnTo>
                        <a:pt x="64" y="110"/>
                      </a:lnTo>
                      <a:lnTo>
                        <a:pt x="68" y="111"/>
                      </a:lnTo>
                      <a:lnTo>
                        <a:pt x="70" y="112"/>
                      </a:lnTo>
                      <a:lnTo>
                        <a:pt x="73" y="113"/>
                      </a:lnTo>
                      <a:lnTo>
                        <a:pt x="76" y="116"/>
                      </a:lnTo>
                      <a:lnTo>
                        <a:pt x="76" y="119"/>
                      </a:lnTo>
                      <a:lnTo>
                        <a:pt x="79" y="118"/>
                      </a:lnTo>
                      <a:lnTo>
                        <a:pt x="81" y="119"/>
                      </a:lnTo>
                      <a:lnTo>
                        <a:pt x="84" y="118"/>
                      </a:lnTo>
                      <a:lnTo>
                        <a:pt x="87" y="116"/>
                      </a:lnTo>
                      <a:lnTo>
                        <a:pt x="87" y="113"/>
                      </a:lnTo>
                      <a:lnTo>
                        <a:pt x="85" y="112"/>
                      </a:lnTo>
                      <a:lnTo>
                        <a:pt x="89" y="108"/>
                      </a:lnTo>
                      <a:lnTo>
                        <a:pt x="87" y="104"/>
                      </a:lnTo>
                      <a:lnTo>
                        <a:pt x="90" y="104"/>
                      </a:lnTo>
                      <a:lnTo>
                        <a:pt x="93" y="99"/>
                      </a:lnTo>
                      <a:lnTo>
                        <a:pt x="94" y="97"/>
                      </a:lnTo>
                      <a:lnTo>
                        <a:pt x="95" y="93"/>
                      </a:lnTo>
                      <a:lnTo>
                        <a:pt x="98" y="92"/>
                      </a:lnTo>
                      <a:lnTo>
                        <a:pt x="101" y="92"/>
                      </a:lnTo>
                      <a:lnTo>
                        <a:pt x="104" y="90"/>
                      </a:lnTo>
                      <a:lnTo>
                        <a:pt x="105" y="84"/>
                      </a:lnTo>
                      <a:lnTo>
                        <a:pt x="105" y="78"/>
                      </a:lnTo>
                      <a:lnTo>
                        <a:pt x="106" y="76"/>
                      </a:lnTo>
                      <a:lnTo>
                        <a:pt x="112" y="76"/>
                      </a:lnTo>
                      <a:lnTo>
                        <a:pt x="114" y="74"/>
                      </a:lnTo>
                      <a:lnTo>
                        <a:pt x="112" y="72"/>
                      </a:lnTo>
                      <a:lnTo>
                        <a:pt x="113" y="69"/>
                      </a:lnTo>
                      <a:lnTo>
                        <a:pt x="114" y="66"/>
                      </a:lnTo>
                      <a:lnTo>
                        <a:pt x="113" y="64"/>
                      </a:lnTo>
                      <a:lnTo>
                        <a:pt x="119" y="63"/>
                      </a:lnTo>
                      <a:lnTo>
                        <a:pt x="121" y="60"/>
                      </a:lnTo>
                      <a:lnTo>
                        <a:pt x="124" y="59"/>
                      </a:lnTo>
                      <a:lnTo>
                        <a:pt x="128" y="59"/>
                      </a:lnTo>
                      <a:lnTo>
                        <a:pt x="132" y="58"/>
                      </a:lnTo>
                      <a:lnTo>
                        <a:pt x="135" y="58"/>
                      </a:lnTo>
                      <a:close/>
                      <a:moveTo>
                        <a:pt x="226" y="14"/>
                      </a:moveTo>
                      <a:lnTo>
                        <a:pt x="224" y="13"/>
                      </a:lnTo>
                      <a:lnTo>
                        <a:pt x="221" y="10"/>
                      </a:lnTo>
                      <a:lnTo>
                        <a:pt x="218" y="10"/>
                      </a:lnTo>
                      <a:lnTo>
                        <a:pt x="209" y="10"/>
                      </a:lnTo>
                      <a:lnTo>
                        <a:pt x="206" y="10"/>
                      </a:lnTo>
                      <a:lnTo>
                        <a:pt x="204" y="9"/>
                      </a:lnTo>
                      <a:lnTo>
                        <a:pt x="200" y="9"/>
                      </a:lnTo>
                      <a:lnTo>
                        <a:pt x="198" y="8"/>
                      </a:lnTo>
                      <a:lnTo>
                        <a:pt x="195" y="8"/>
                      </a:lnTo>
                      <a:lnTo>
                        <a:pt x="193" y="6"/>
                      </a:lnTo>
                      <a:lnTo>
                        <a:pt x="191" y="7"/>
                      </a:lnTo>
                      <a:lnTo>
                        <a:pt x="188" y="5"/>
                      </a:lnTo>
                      <a:lnTo>
                        <a:pt x="185" y="5"/>
                      </a:lnTo>
                      <a:lnTo>
                        <a:pt x="185" y="7"/>
                      </a:lnTo>
                      <a:lnTo>
                        <a:pt x="182" y="7"/>
                      </a:lnTo>
                      <a:lnTo>
                        <a:pt x="180" y="7"/>
                      </a:lnTo>
                      <a:lnTo>
                        <a:pt x="179" y="9"/>
                      </a:lnTo>
                      <a:lnTo>
                        <a:pt x="176" y="13"/>
                      </a:lnTo>
                      <a:lnTo>
                        <a:pt x="171" y="10"/>
                      </a:lnTo>
                      <a:lnTo>
                        <a:pt x="170" y="8"/>
                      </a:lnTo>
                      <a:lnTo>
                        <a:pt x="173" y="7"/>
                      </a:lnTo>
                      <a:lnTo>
                        <a:pt x="172" y="5"/>
                      </a:lnTo>
                      <a:lnTo>
                        <a:pt x="172" y="3"/>
                      </a:lnTo>
                      <a:lnTo>
                        <a:pt x="166" y="0"/>
                      </a:lnTo>
                      <a:lnTo>
                        <a:pt x="165" y="6"/>
                      </a:lnTo>
                      <a:lnTo>
                        <a:pt x="164" y="3"/>
                      </a:lnTo>
                      <a:lnTo>
                        <a:pt x="162" y="3"/>
                      </a:lnTo>
                      <a:lnTo>
                        <a:pt x="159" y="6"/>
                      </a:lnTo>
                      <a:lnTo>
                        <a:pt x="163" y="7"/>
                      </a:lnTo>
                      <a:lnTo>
                        <a:pt x="161" y="13"/>
                      </a:lnTo>
                      <a:lnTo>
                        <a:pt x="161" y="15"/>
                      </a:lnTo>
                      <a:lnTo>
                        <a:pt x="159" y="16"/>
                      </a:lnTo>
                      <a:lnTo>
                        <a:pt x="157" y="16"/>
                      </a:lnTo>
                      <a:lnTo>
                        <a:pt x="156" y="14"/>
                      </a:lnTo>
                      <a:lnTo>
                        <a:pt x="154" y="13"/>
                      </a:lnTo>
                      <a:lnTo>
                        <a:pt x="150" y="13"/>
                      </a:lnTo>
                      <a:lnTo>
                        <a:pt x="153" y="9"/>
                      </a:lnTo>
                      <a:lnTo>
                        <a:pt x="150" y="7"/>
                      </a:lnTo>
                      <a:lnTo>
                        <a:pt x="139" y="9"/>
                      </a:lnTo>
                      <a:lnTo>
                        <a:pt x="138" y="7"/>
                      </a:lnTo>
                      <a:lnTo>
                        <a:pt x="136" y="7"/>
                      </a:lnTo>
                      <a:lnTo>
                        <a:pt x="133" y="5"/>
                      </a:lnTo>
                      <a:lnTo>
                        <a:pt x="130" y="3"/>
                      </a:lnTo>
                      <a:lnTo>
                        <a:pt x="122" y="0"/>
                      </a:lnTo>
                      <a:lnTo>
                        <a:pt x="120" y="4"/>
                      </a:lnTo>
                      <a:lnTo>
                        <a:pt x="125" y="5"/>
                      </a:lnTo>
                      <a:lnTo>
                        <a:pt x="124" y="7"/>
                      </a:lnTo>
                      <a:lnTo>
                        <a:pt x="122" y="9"/>
                      </a:lnTo>
                      <a:lnTo>
                        <a:pt x="119" y="7"/>
                      </a:lnTo>
                      <a:lnTo>
                        <a:pt x="116" y="6"/>
                      </a:lnTo>
                      <a:lnTo>
                        <a:pt x="113" y="6"/>
                      </a:lnTo>
                      <a:lnTo>
                        <a:pt x="114" y="8"/>
                      </a:lnTo>
                      <a:lnTo>
                        <a:pt x="118" y="10"/>
                      </a:lnTo>
                      <a:lnTo>
                        <a:pt x="120" y="10"/>
                      </a:lnTo>
                      <a:lnTo>
                        <a:pt x="118" y="14"/>
                      </a:lnTo>
                      <a:lnTo>
                        <a:pt x="112" y="10"/>
                      </a:lnTo>
                      <a:lnTo>
                        <a:pt x="110" y="10"/>
                      </a:lnTo>
                      <a:lnTo>
                        <a:pt x="101" y="10"/>
                      </a:lnTo>
                      <a:lnTo>
                        <a:pt x="97" y="12"/>
                      </a:lnTo>
                      <a:lnTo>
                        <a:pt x="103" y="14"/>
                      </a:lnTo>
                      <a:lnTo>
                        <a:pt x="106" y="15"/>
                      </a:lnTo>
                      <a:lnTo>
                        <a:pt x="108" y="15"/>
                      </a:lnTo>
                      <a:lnTo>
                        <a:pt x="112" y="15"/>
                      </a:lnTo>
                      <a:lnTo>
                        <a:pt x="111" y="16"/>
                      </a:lnTo>
                      <a:lnTo>
                        <a:pt x="108" y="16"/>
                      </a:lnTo>
                      <a:lnTo>
                        <a:pt x="105" y="18"/>
                      </a:lnTo>
                      <a:lnTo>
                        <a:pt x="103" y="18"/>
                      </a:lnTo>
                      <a:lnTo>
                        <a:pt x="104" y="22"/>
                      </a:lnTo>
                      <a:lnTo>
                        <a:pt x="106" y="23"/>
                      </a:lnTo>
                      <a:lnTo>
                        <a:pt x="110" y="24"/>
                      </a:lnTo>
                      <a:lnTo>
                        <a:pt x="112" y="24"/>
                      </a:lnTo>
                      <a:lnTo>
                        <a:pt x="119" y="24"/>
                      </a:lnTo>
                      <a:lnTo>
                        <a:pt x="121" y="25"/>
                      </a:lnTo>
                      <a:lnTo>
                        <a:pt x="128" y="24"/>
                      </a:lnTo>
                      <a:lnTo>
                        <a:pt x="133" y="23"/>
                      </a:lnTo>
                      <a:lnTo>
                        <a:pt x="141" y="22"/>
                      </a:lnTo>
                      <a:lnTo>
                        <a:pt x="150" y="22"/>
                      </a:lnTo>
                      <a:lnTo>
                        <a:pt x="154" y="24"/>
                      </a:lnTo>
                      <a:lnTo>
                        <a:pt x="156" y="23"/>
                      </a:lnTo>
                      <a:lnTo>
                        <a:pt x="159" y="23"/>
                      </a:lnTo>
                      <a:lnTo>
                        <a:pt x="156" y="24"/>
                      </a:lnTo>
                      <a:lnTo>
                        <a:pt x="154" y="24"/>
                      </a:lnTo>
                      <a:lnTo>
                        <a:pt x="150" y="25"/>
                      </a:lnTo>
                      <a:lnTo>
                        <a:pt x="141" y="25"/>
                      </a:lnTo>
                      <a:lnTo>
                        <a:pt x="136" y="26"/>
                      </a:lnTo>
                      <a:lnTo>
                        <a:pt x="139" y="29"/>
                      </a:lnTo>
                      <a:lnTo>
                        <a:pt x="141" y="29"/>
                      </a:lnTo>
                      <a:lnTo>
                        <a:pt x="133" y="29"/>
                      </a:lnTo>
                      <a:lnTo>
                        <a:pt x="130" y="27"/>
                      </a:lnTo>
                      <a:lnTo>
                        <a:pt x="128" y="27"/>
                      </a:lnTo>
                      <a:lnTo>
                        <a:pt x="124" y="27"/>
                      </a:lnTo>
                      <a:lnTo>
                        <a:pt x="123" y="31"/>
                      </a:lnTo>
                      <a:lnTo>
                        <a:pt x="128" y="32"/>
                      </a:lnTo>
                      <a:lnTo>
                        <a:pt x="130" y="33"/>
                      </a:lnTo>
                      <a:lnTo>
                        <a:pt x="136" y="33"/>
                      </a:lnTo>
                      <a:lnTo>
                        <a:pt x="141" y="35"/>
                      </a:lnTo>
                      <a:lnTo>
                        <a:pt x="147" y="35"/>
                      </a:lnTo>
                      <a:lnTo>
                        <a:pt x="149" y="35"/>
                      </a:lnTo>
                      <a:lnTo>
                        <a:pt x="153" y="35"/>
                      </a:lnTo>
                      <a:lnTo>
                        <a:pt x="158" y="34"/>
                      </a:lnTo>
                      <a:lnTo>
                        <a:pt x="164" y="35"/>
                      </a:lnTo>
                      <a:lnTo>
                        <a:pt x="164" y="38"/>
                      </a:lnTo>
                      <a:lnTo>
                        <a:pt x="166" y="40"/>
                      </a:lnTo>
                      <a:lnTo>
                        <a:pt x="170" y="41"/>
                      </a:lnTo>
                      <a:lnTo>
                        <a:pt x="175" y="41"/>
                      </a:lnTo>
                      <a:lnTo>
                        <a:pt x="181" y="41"/>
                      </a:lnTo>
                      <a:lnTo>
                        <a:pt x="183" y="41"/>
                      </a:lnTo>
                      <a:lnTo>
                        <a:pt x="185" y="38"/>
                      </a:lnTo>
                      <a:lnTo>
                        <a:pt x="195" y="35"/>
                      </a:lnTo>
                      <a:lnTo>
                        <a:pt x="197" y="38"/>
                      </a:lnTo>
                      <a:lnTo>
                        <a:pt x="206" y="34"/>
                      </a:lnTo>
                      <a:lnTo>
                        <a:pt x="208" y="32"/>
                      </a:lnTo>
                      <a:lnTo>
                        <a:pt x="208" y="30"/>
                      </a:lnTo>
                      <a:lnTo>
                        <a:pt x="210" y="27"/>
                      </a:lnTo>
                      <a:lnTo>
                        <a:pt x="216" y="25"/>
                      </a:lnTo>
                      <a:lnTo>
                        <a:pt x="222" y="22"/>
                      </a:lnTo>
                      <a:lnTo>
                        <a:pt x="225" y="21"/>
                      </a:lnTo>
                      <a:lnTo>
                        <a:pt x="226" y="18"/>
                      </a:lnTo>
                      <a:lnTo>
                        <a:pt x="225" y="16"/>
                      </a:lnTo>
                      <a:lnTo>
                        <a:pt x="226" y="14"/>
                      </a:lnTo>
                      <a:close/>
                      <a:moveTo>
                        <a:pt x="139" y="70"/>
                      </a:moveTo>
                      <a:lnTo>
                        <a:pt x="142" y="72"/>
                      </a:lnTo>
                      <a:lnTo>
                        <a:pt x="145" y="70"/>
                      </a:lnTo>
                      <a:lnTo>
                        <a:pt x="150" y="69"/>
                      </a:lnTo>
                      <a:lnTo>
                        <a:pt x="156" y="69"/>
                      </a:lnTo>
                      <a:lnTo>
                        <a:pt x="157" y="67"/>
                      </a:lnTo>
                      <a:lnTo>
                        <a:pt x="157" y="64"/>
                      </a:lnTo>
                      <a:lnTo>
                        <a:pt x="157" y="61"/>
                      </a:lnTo>
                      <a:lnTo>
                        <a:pt x="150" y="59"/>
                      </a:lnTo>
                      <a:lnTo>
                        <a:pt x="148" y="60"/>
                      </a:lnTo>
                      <a:lnTo>
                        <a:pt x="145" y="59"/>
                      </a:lnTo>
                      <a:lnTo>
                        <a:pt x="139" y="60"/>
                      </a:lnTo>
                      <a:lnTo>
                        <a:pt x="131" y="63"/>
                      </a:lnTo>
                      <a:lnTo>
                        <a:pt x="129" y="63"/>
                      </a:lnTo>
                      <a:lnTo>
                        <a:pt x="135" y="65"/>
                      </a:lnTo>
                      <a:lnTo>
                        <a:pt x="135" y="67"/>
                      </a:lnTo>
                      <a:lnTo>
                        <a:pt x="137" y="68"/>
                      </a:lnTo>
                      <a:lnTo>
                        <a:pt x="137" y="70"/>
                      </a:lnTo>
                      <a:lnTo>
                        <a:pt x="139" y="70"/>
                      </a:lnTo>
                      <a:close/>
                      <a:moveTo>
                        <a:pt x="188" y="81"/>
                      </a:moveTo>
                      <a:lnTo>
                        <a:pt x="184" y="81"/>
                      </a:lnTo>
                      <a:lnTo>
                        <a:pt x="182" y="81"/>
                      </a:lnTo>
                      <a:lnTo>
                        <a:pt x="180" y="81"/>
                      </a:lnTo>
                      <a:lnTo>
                        <a:pt x="176" y="81"/>
                      </a:lnTo>
                      <a:lnTo>
                        <a:pt x="174" y="78"/>
                      </a:lnTo>
                      <a:lnTo>
                        <a:pt x="171" y="77"/>
                      </a:lnTo>
                      <a:lnTo>
                        <a:pt x="170" y="75"/>
                      </a:lnTo>
                      <a:lnTo>
                        <a:pt x="172" y="74"/>
                      </a:lnTo>
                      <a:lnTo>
                        <a:pt x="173" y="72"/>
                      </a:lnTo>
                      <a:lnTo>
                        <a:pt x="171" y="70"/>
                      </a:lnTo>
                      <a:lnTo>
                        <a:pt x="167" y="69"/>
                      </a:lnTo>
                      <a:lnTo>
                        <a:pt x="162" y="70"/>
                      </a:lnTo>
                      <a:lnTo>
                        <a:pt x="159" y="72"/>
                      </a:lnTo>
                      <a:lnTo>
                        <a:pt x="154" y="70"/>
                      </a:lnTo>
                      <a:lnTo>
                        <a:pt x="148" y="72"/>
                      </a:lnTo>
                      <a:lnTo>
                        <a:pt x="139" y="74"/>
                      </a:lnTo>
                      <a:lnTo>
                        <a:pt x="142" y="76"/>
                      </a:lnTo>
                      <a:lnTo>
                        <a:pt x="148" y="78"/>
                      </a:lnTo>
                      <a:lnTo>
                        <a:pt x="149" y="81"/>
                      </a:lnTo>
                      <a:lnTo>
                        <a:pt x="146" y="84"/>
                      </a:lnTo>
                      <a:lnTo>
                        <a:pt x="145" y="86"/>
                      </a:lnTo>
                      <a:lnTo>
                        <a:pt x="141" y="90"/>
                      </a:lnTo>
                      <a:lnTo>
                        <a:pt x="139" y="91"/>
                      </a:lnTo>
                      <a:lnTo>
                        <a:pt x="139" y="93"/>
                      </a:lnTo>
                      <a:lnTo>
                        <a:pt x="141" y="93"/>
                      </a:lnTo>
                      <a:lnTo>
                        <a:pt x="145" y="93"/>
                      </a:lnTo>
                      <a:lnTo>
                        <a:pt x="148" y="92"/>
                      </a:lnTo>
                      <a:lnTo>
                        <a:pt x="156" y="92"/>
                      </a:lnTo>
                      <a:lnTo>
                        <a:pt x="158" y="90"/>
                      </a:lnTo>
                      <a:lnTo>
                        <a:pt x="162" y="90"/>
                      </a:lnTo>
                      <a:lnTo>
                        <a:pt x="164" y="90"/>
                      </a:lnTo>
                      <a:lnTo>
                        <a:pt x="162" y="93"/>
                      </a:lnTo>
                      <a:lnTo>
                        <a:pt x="161" y="99"/>
                      </a:lnTo>
                      <a:lnTo>
                        <a:pt x="163" y="99"/>
                      </a:lnTo>
                      <a:lnTo>
                        <a:pt x="166" y="98"/>
                      </a:lnTo>
                      <a:lnTo>
                        <a:pt x="168" y="95"/>
                      </a:lnTo>
                      <a:lnTo>
                        <a:pt x="172" y="94"/>
                      </a:lnTo>
                      <a:lnTo>
                        <a:pt x="174" y="95"/>
                      </a:lnTo>
                      <a:lnTo>
                        <a:pt x="178" y="94"/>
                      </a:lnTo>
                      <a:lnTo>
                        <a:pt x="180" y="92"/>
                      </a:lnTo>
                      <a:lnTo>
                        <a:pt x="184" y="86"/>
                      </a:lnTo>
                      <a:lnTo>
                        <a:pt x="190" y="85"/>
                      </a:lnTo>
                      <a:lnTo>
                        <a:pt x="193" y="85"/>
                      </a:lnTo>
                      <a:lnTo>
                        <a:pt x="190" y="82"/>
                      </a:lnTo>
                      <a:lnTo>
                        <a:pt x="188"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35" name="Freeform 97">
                  <a:extLst>
                    <a:ext uri="{FF2B5EF4-FFF2-40B4-BE49-F238E27FC236}">
                      <a16:creationId xmlns:a16="http://schemas.microsoft.com/office/drawing/2014/main" id="{7895BE6C-1BFE-3C68-2779-C22016478938}"/>
                    </a:ext>
                  </a:extLst>
                </p:cNvPr>
                <p:cNvSpPr>
                  <a:spLocks/>
                </p:cNvSpPr>
                <p:nvPr/>
              </p:nvSpPr>
              <p:spPr bwMode="auto">
                <a:xfrm>
                  <a:off x="3798" y="1912"/>
                  <a:ext cx="32" cy="21"/>
                </a:xfrm>
                <a:custGeom>
                  <a:avLst/>
                  <a:gdLst>
                    <a:gd name="T0" fmla="*/ 2 w 32"/>
                    <a:gd name="T1" fmla="*/ 21 h 21"/>
                    <a:gd name="T2" fmla="*/ 0 w 32"/>
                    <a:gd name="T3" fmla="*/ 19 h 21"/>
                    <a:gd name="T4" fmla="*/ 1 w 32"/>
                    <a:gd name="T5" fmla="*/ 16 h 21"/>
                    <a:gd name="T6" fmla="*/ 4 w 32"/>
                    <a:gd name="T7" fmla="*/ 13 h 21"/>
                    <a:gd name="T8" fmla="*/ 6 w 32"/>
                    <a:gd name="T9" fmla="*/ 12 h 21"/>
                    <a:gd name="T10" fmla="*/ 8 w 32"/>
                    <a:gd name="T11" fmla="*/ 12 h 21"/>
                    <a:gd name="T12" fmla="*/ 10 w 32"/>
                    <a:gd name="T13" fmla="*/ 12 h 21"/>
                    <a:gd name="T14" fmla="*/ 13 w 32"/>
                    <a:gd name="T15" fmla="*/ 12 h 21"/>
                    <a:gd name="T16" fmla="*/ 16 w 32"/>
                    <a:gd name="T17" fmla="*/ 12 h 21"/>
                    <a:gd name="T18" fmla="*/ 19 w 32"/>
                    <a:gd name="T19" fmla="*/ 9 h 21"/>
                    <a:gd name="T20" fmla="*/ 20 w 32"/>
                    <a:gd name="T21" fmla="*/ 6 h 21"/>
                    <a:gd name="T22" fmla="*/ 24 w 32"/>
                    <a:gd name="T23" fmla="*/ 3 h 21"/>
                    <a:gd name="T24" fmla="*/ 26 w 32"/>
                    <a:gd name="T25" fmla="*/ 3 h 21"/>
                    <a:gd name="T26" fmla="*/ 32 w 32"/>
                    <a:gd name="T27" fmla="*/ 0 h 21"/>
                    <a:gd name="T28" fmla="*/ 29 w 32"/>
                    <a:gd name="T29" fmla="*/ 3 h 21"/>
                    <a:gd name="T30" fmla="*/ 30 w 32"/>
                    <a:gd name="T31" fmla="*/ 5 h 21"/>
                    <a:gd name="T32" fmla="*/ 30 w 32"/>
                    <a:gd name="T33" fmla="*/ 10 h 21"/>
                    <a:gd name="T34" fmla="*/ 29 w 32"/>
                    <a:gd name="T35" fmla="*/ 13 h 21"/>
                    <a:gd name="T36" fmla="*/ 26 w 32"/>
                    <a:gd name="T37" fmla="*/ 14 h 21"/>
                    <a:gd name="T38" fmla="*/ 24 w 32"/>
                    <a:gd name="T39" fmla="*/ 13 h 21"/>
                    <a:gd name="T40" fmla="*/ 24 w 32"/>
                    <a:gd name="T41" fmla="*/ 13 h 21"/>
                    <a:gd name="T42" fmla="*/ 23 w 32"/>
                    <a:gd name="T43" fmla="*/ 13 h 21"/>
                    <a:gd name="T44" fmla="*/ 20 w 32"/>
                    <a:gd name="T45" fmla="*/ 13 h 21"/>
                    <a:gd name="T46" fmla="*/ 13 w 32"/>
                    <a:gd name="T47" fmla="*/ 14 h 21"/>
                    <a:gd name="T48" fmla="*/ 11 w 32"/>
                    <a:gd name="T49" fmla="*/ 13 h 21"/>
                    <a:gd name="T50" fmla="*/ 11 w 32"/>
                    <a:gd name="T51" fmla="*/ 14 h 21"/>
                    <a:gd name="T52" fmla="*/ 6 w 32"/>
                    <a:gd name="T53" fmla="*/ 16 h 21"/>
                    <a:gd name="T54" fmla="*/ 2 w 32"/>
                    <a:gd name="T55" fmla="*/ 21 h 21"/>
                    <a:gd name="T56" fmla="*/ 2 w 32"/>
                    <a:gd name="T5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21">
                      <a:moveTo>
                        <a:pt x="2" y="21"/>
                      </a:moveTo>
                      <a:lnTo>
                        <a:pt x="0" y="19"/>
                      </a:lnTo>
                      <a:lnTo>
                        <a:pt x="1" y="16"/>
                      </a:lnTo>
                      <a:lnTo>
                        <a:pt x="4" y="13"/>
                      </a:lnTo>
                      <a:lnTo>
                        <a:pt x="6" y="12"/>
                      </a:lnTo>
                      <a:lnTo>
                        <a:pt x="8" y="12"/>
                      </a:lnTo>
                      <a:lnTo>
                        <a:pt x="10" y="12"/>
                      </a:lnTo>
                      <a:lnTo>
                        <a:pt x="13" y="12"/>
                      </a:lnTo>
                      <a:lnTo>
                        <a:pt x="16" y="12"/>
                      </a:lnTo>
                      <a:lnTo>
                        <a:pt x="19" y="9"/>
                      </a:lnTo>
                      <a:lnTo>
                        <a:pt x="20" y="6"/>
                      </a:lnTo>
                      <a:lnTo>
                        <a:pt x="24" y="3"/>
                      </a:lnTo>
                      <a:lnTo>
                        <a:pt x="26" y="3"/>
                      </a:lnTo>
                      <a:lnTo>
                        <a:pt x="32" y="0"/>
                      </a:lnTo>
                      <a:lnTo>
                        <a:pt x="29" y="3"/>
                      </a:lnTo>
                      <a:lnTo>
                        <a:pt x="30" y="5"/>
                      </a:lnTo>
                      <a:lnTo>
                        <a:pt x="30" y="10"/>
                      </a:lnTo>
                      <a:lnTo>
                        <a:pt x="29" y="13"/>
                      </a:lnTo>
                      <a:lnTo>
                        <a:pt x="26" y="14"/>
                      </a:lnTo>
                      <a:lnTo>
                        <a:pt x="24" y="13"/>
                      </a:lnTo>
                      <a:lnTo>
                        <a:pt x="24" y="13"/>
                      </a:lnTo>
                      <a:lnTo>
                        <a:pt x="23" y="13"/>
                      </a:lnTo>
                      <a:lnTo>
                        <a:pt x="20" y="13"/>
                      </a:lnTo>
                      <a:lnTo>
                        <a:pt x="13" y="14"/>
                      </a:lnTo>
                      <a:lnTo>
                        <a:pt x="11" y="13"/>
                      </a:lnTo>
                      <a:lnTo>
                        <a:pt x="11" y="14"/>
                      </a:lnTo>
                      <a:lnTo>
                        <a:pt x="6" y="16"/>
                      </a:lnTo>
                      <a:lnTo>
                        <a:pt x="2"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36" name="Freeform 98">
                  <a:extLst>
                    <a:ext uri="{FF2B5EF4-FFF2-40B4-BE49-F238E27FC236}">
                      <a16:creationId xmlns:a16="http://schemas.microsoft.com/office/drawing/2014/main" id="{CC8DA6F0-9E17-5BCD-0F57-DB0279D49BDF}"/>
                    </a:ext>
                  </a:extLst>
                </p:cNvPr>
                <p:cNvSpPr>
                  <a:spLocks/>
                </p:cNvSpPr>
                <p:nvPr/>
              </p:nvSpPr>
              <p:spPr bwMode="auto">
                <a:xfrm>
                  <a:off x="3835" y="1966"/>
                  <a:ext cx="12" cy="7"/>
                </a:xfrm>
                <a:custGeom>
                  <a:avLst/>
                  <a:gdLst>
                    <a:gd name="T0" fmla="*/ 12 w 12"/>
                    <a:gd name="T1" fmla="*/ 3 h 7"/>
                    <a:gd name="T2" fmla="*/ 9 w 12"/>
                    <a:gd name="T3" fmla="*/ 6 h 7"/>
                    <a:gd name="T4" fmla="*/ 7 w 12"/>
                    <a:gd name="T5" fmla="*/ 7 h 7"/>
                    <a:gd name="T6" fmla="*/ 0 w 12"/>
                    <a:gd name="T7" fmla="*/ 3 h 7"/>
                    <a:gd name="T8" fmla="*/ 1 w 12"/>
                    <a:gd name="T9" fmla="*/ 1 h 7"/>
                    <a:gd name="T10" fmla="*/ 4 w 12"/>
                    <a:gd name="T11" fmla="*/ 0 h 7"/>
                    <a:gd name="T12" fmla="*/ 6 w 12"/>
                    <a:gd name="T13" fmla="*/ 2 h 7"/>
                    <a:gd name="T14" fmla="*/ 10 w 12"/>
                    <a:gd name="T15" fmla="*/ 2 h 7"/>
                    <a:gd name="T16" fmla="*/ 12 w 12"/>
                    <a:gd name="T17" fmla="*/ 3 h 7"/>
                    <a:gd name="T18" fmla="*/ 12 w 12"/>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7">
                      <a:moveTo>
                        <a:pt x="12" y="3"/>
                      </a:moveTo>
                      <a:lnTo>
                        <a:pt x="9" y="6"/>
                      </a:lnTo>
                      <a:lnTo>
                        <a:pt x="7" y="7"/>
                      </a:lnTo>
                      <a:lnTo>
                        <a:pt x="0" y="3"/>
                      </a:lnTo>
                      <a:lnTo>
                        <a:pt x="1" y="1"/>
                      </a:lnTo>
                      <a:lnTo>
                        <a:pt x="4" y="0"/>
                      </a:lnTo>
                      <a:lnTo>
                        <a:pt x="6" y="2"/>
                      </a:lnTo>
                      <a:lnTo>
                        <a:pt x="10" y="2"/>
                      </a:lnTo>
                      <a:lnTo>
                        <a:pt x="12" y="3"/>
                      </a:lnTo>
                      <a:lnTo>
                        <a:pt x="1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37" name="Freeform 99">
                  <a:extLst>
                    <a:ext uri="{FF2B5EF4-FFF2-40B4-BE49-F238E27FC236}">
                      <a16:creationId xmlns:a16="http://schemas.microsoft.com/office/drawing/2014/main" id="{51999575-4969-69CF-A794-EF147AF329E7}"/>
                    </a:ext>
                  </a:extLst>
                </p:cNvPr>
                <p:cNvSpPr>
                  <a:spLocks/>
                </p:cNvSpPr>
                <p:nvPr/>
              </p:nvSpPr>
              <p:spPr bwMode="auto">
                <a:xfrm>
                  <a:off x="4007" y="2297"/>
                  <a:ext cx="38" cy="10"/>
                </a:xfrm>
                <a:custGeom>
                  <a:avLst/>
                  <a:gdLst>
                    <a:gd name="T0" fmla="*/ 36 w 38"/>
                    <a:gd name="T1" fmla="*/ 9 h 10"/>
                    <a:gd name="T2" fmla="*/ 36 w 38"/>
                    <a:gd name="T3" fmla="*/ 9 h 10"/>
                    <a:gd name="T4" fmla="*/ 38 w 38"/>
                    <a:gd name="T5" fmla="*/ 8 h 10"/>
                    <a:gd name="T6" fmla="*/ 38 w 38"/>
                    <a:gd name="T7" fmla="*/ 4 h 10"/>
                    <a:gd name="T8" fmla="*/ 36 w 38"/>
                    <a:gd name="T9" fmla="*/ 5 h 10"/>
                    <a:gd name="T10" fmla="*/ 30 w 38"/>
                    <a:gd name="T11" fmla="*/ 6 h 10"/>
                    <a:gd name="T12" fmla="*/ 30 w 38"/>
                    <a:gd name="T13" fmla="*/ 4 h 10"/>
                    <a:gd name="T14" fmla="*/ 26 w 38"/>
                    <a:gd name="T15" fmla="*/ 4 h 10"/>
                    <a:gd name="T16" fmla="*/ 23 w 38"/>
                    <a:gd name="T17" fmla="*/ 4 h 10"/>
                    <a:gd name="T18" fmla="*/ 20 w 38"/>
                    <a:gd name="T19" fmla="*/ 3 h 10"/>
                    <a:gd name="T20" fmla="*/ 16 w 38"/>
                    <a:gd name="T21" fmla="*/ 2 h 10"/>
                    <a:gd name="T22" fmla="*/ 11 w 38"/>
                    <a:gd name="T23" fmla="*/ 4 h 10"/>
                    <a:gd name="T24" fmla="*/ 9 w 38"/>
                    <a:gd name="T25" fmla="*/ 3 h 10"/>
                    <a:gd name="T26" fmla="*/ 8 w 38"/>
                    <a:gd name="T27" fmla="*/ 1 h 10"/>
                    <a:gd name="T28" fmla="*/ 6 w 38"/>
                    <a:gd name="T29" fmla="*/ 1 h 10"/>
                    <a:gd name="T30" fmla="*/ 0 w 38"/>
                    <a:gd name="T31" fmla="*/ 0 h 10"/>
                    <a:gd name="T32" fmla="*/ 0 w 38"/>
                    <a:gd name="T33" fmla="*/ 5 h 10"/>
                    <a:gd name="T34" fmla="*/ 11 w 38"/>
                    <a:gd name="T35" fmla="*/ 6 h 10"/>
                    <a:gd name="T36" fmla="*/ 16 w 38"/>
                    <a:gd name="T37" fmla="*/ 8 h 10"/>
                    <a:gd name="T38" fmla="*/ 16 w 38"/>
                    <a:gd name="T39" fmla="*/ 9 h 10"/>
                    <a:gd name="T40" fmla="*/ 17 w 38"/>
                    <a:gd name="T41" fmla="*/ 10 h 10"/>
                    <a:gd name="T42" fmla="*/ 22 w 38"/>
                    <a:gd name="T43" fmla="*/ 10 h 10"/>
                    <a:gd name="T44" fmla="*/ 25 w 38"/>
                    <a:gd name="T45" fmla="*/ 9 h 10"/>
                    <a:gd name="T46" fmla="*/ 36 w 38"/>
                    <a:gd name="T47" fmla="*/ 9 h 10"/>
                    <a:gd name="T48" fmla="*/ 36 w 38"/>
                    <a:gd name="T4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10">
                      <a:moveTo>
                        <a:pt x="36" y="9"/>
                      </a:moveTo>
                      <a:lnTo>
                        <a:pt x="36" y="9"/>
                      </a:lnTo>
                      <a:lnTo>
                        <a:pt x="38" y="8"/>
                      </a:lnTo>
                      <a:lnTo>
                        <a:pt x="38" y="4"/>
                      </a:lnTo>
                      <a:lnTo>
                        <a:pt x="36" y="5"/>
                      </a:lnTo>
                      <a:lnTo>
                        <a:pt x="30" y="6"/>
                      </a:lnTo>
                      <a:lnTo>
                        <a:pt x="30" y="4"/>
                      </a:lnTo>
                      <a:lnTo>
                        <a:pt x="26" y="4"/>
                      </a:lnTo>
                      <a:lnTo>
                        <a:pt x="23" y="4"/>
                      </a:lnTo>
                      <a:lnTo>
                        <a:pt x="20" y="3"/>
                      </a:lnTo>
                      <a:lnTo>
                        <a:pt x="16" y="2"/>
                      </a:lnTo>
                      <a:lnTo>
                        <a:pt x="11" y="4"/>
                      </a:lnTo>
                      <a:lnTo>
                        <a:pt x="9" y="3"/>
                      </a:lnTo>
                      <a:lnTo>
                        <a:pt x="8" y="1"/>
                      </a:lnTo>
                      <a:lnTo>
                        <a:pt x="6" y="1"/>
                      </a:lnTo>
                      <a:lnTo>
                        <a:pt x="0" y="0"/>
                      </a:lnTo>
                      <a:lnTo>
                        <a:pt x="0" y="5"/>
                      </a:lnTo>
                      <a:lnTo>
                        <a:pt x="11" y="6"/>
                      </a:lnTo>
                      <a:lnTo>
                        <a:pt x="16" y="8"/>
                      </a:lnTo>
                      <a:lnTo>
                        <a:pt x="16" y="9"/>
                      </a:lnTo>
                      <a:lnTo>
                        <a:pt x="17" y="10"/>
                      </a:lnTo>
                      <a:lnTo>
                        <a:pt x="22" y="10"/>
                      </a:lnTo>
                      <a:lnTo>
                        <a:pt x="25" y="9"/>
                      </a:lnTo>
                      <a:lnTo>
                        <a:pt x="36" y="9"/>
                      </a:lnTo>
                      <a:lnTo>
                        <a:pt x="3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38" name="Freeform 100">
                  <a:extLst>
                    <a:ext uri="{FF2B5EF4-FFF2-40B4-BE49-F238E27FC236}">
                      <a16:creationId xmlns:a16="http://schemas.microsoft.com/office/drawing/2014/main" id="{4D36ECC4-7DAC-52F1-9903-B8D72E865F12}"/>
                    </a:ext>
                  </a:extLst>
                </p:cNvPr>
                <p:cNvSpPr>
                  <a:spLocks/>
                </p:cNvSpPr>
                <p:nvPr/>
              </p:nvSpPr>
              <p:spPr bwMode="auto">
                <a:xfrm>
                  <a:off x="4064" y="2284"/>
                  <a:ext cx="7" cy="8"/>
                </a:xfrm>
                <a:custGeom>
                  <a:avLst/>
                  <a:gdLst>
                    <a:gd name="T0" fmla="*/ 2 w 7"/>
                    <a:gd name="T1" fmla="*/ 7 h 8"/>
                    <a:gd name="T2" fmla="*/ 6 w 7"/>
                    <a:gd name="T3" fmla="*/ 5 h 8"/>
                    <a:gd name="T4" fmla="*/ 7 w 7"/>
                    <a:gd name="T5" fmla="*/ 0 h 8"/>
                    <a:gd name="T6" fmla="*/ 5 w 7"/>
                    <a:gd name="T7" fmla="*/ 0 h 8"/>
                    <a:gd name="T8" fmla="*/ 1 w 7"/>
                    <a:gd name="T9" fmla="*/ 2 h 8"/>
                    <a:gd name="T10" fmla="*/ 0 w 7"/>
                    <a:gd name="T11" fmla="*/ 5 h 8"/>
                    <a:gd name="T12" fmla="*/ 0 w 7"/>
                    <a:gd name="T13" fmla="*/ 8 h 8"/>
                    <a:gd name="T14" fmla="*/ 2 w 7"/>
                    <a:gd name="T15" fmla="*/ 7 h 8"/>
                    <a:gd name="T16" fmla="*/ 2 w 7"/>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2" y="7"/>
                      </a:moveTo>
                      <a:lnTo>
                        <a:pt x="6" y="5"/>
                      </a:lnTo>
                      <a:lnTo>
                        <a:pt x="7" y="0"/>
                      </a:lnTo>
                      <a:lnTo>
                        <a:pt x="5" y="0"/>
                      </a:lnTo>
                      <a:lnTo>
                        <a:pt x="1" y="2"/>
                      </a:lnTo>
                      <a:lnTo>
                        <a:pt x="0" y="5"/>
                      </a:lnTo>
                      <a:lnTo>
                        <a:pt x="0" y="8"/>
                      </a:lnTo>
                      <a:lnTo>
                        <a:pt x="2"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39" name="Freeform 101">
                  <a:extLst>
                    <a:ext uri="{FF2B5EF4-FFF2-40B4-BE49-F238E27FC236}">
                      <a16:creationId xmlns:a16="http://schemas.microsoft.com/office/drawing/2014/main" id="{76488904-DBC5-1202-2EDD-BA02D7BCF664}"/>
                    </a:ext>
                  </a:extLst>
                </p:cNvPr>
                <p:cNvSpPr>
                  <a:spLocks/>
                </p:cNvSpPr>
                <p:nvPr/>
              </p:nvSpPr>
              <p:spPr bwMode="auto">
                <a:xfrm>
                  <a:off x="4127" y="2296"/>
                  <a:ext cx="31" cy="17"/>
                </a:xfrm>
                <a:custGeom>
                  <a:avLst/>
                  <a:gdLst>
                    <a:gd name="T0" fmla="*/ 3 w 31"/>
                    <a:gd name="T1" fmla="*/ 14 h 17"/>
                    <a:gd name="T2" fmla="*/ 5 w 31"/>
                    <a:gd name="T3" fmla="*/ 15 h 17"/>
                    <a:gd name="T4" fmla="*/ 8 w 31"/>
                    <a:gd name="T5" fmla="*/ 15 h 17"/>
                    <a:gd name="T6" fmla="*/ 10 w 31"/>
                    <a:gd name="T7" fmla="*/ 17 h 17"/>
                    <a:gd name="T8" fmla="*/ 10 w 31"/>
                    <a:gd name="T9" fmla="*/ 15 h 17"/>
                    <a:gd name="T10" fmla="*/ 11 w 31"/>
                    <a:gd name="T11" fmla="*/ 15 h 17"/>
                    <a:gd name="T12" fmla="*/ 13 w 31"/>
                    <a:gd name="T13" fmla="*/ 14 h 17"/>
                    <a:gd name="T14" fmla="*/ 17 w 31"/>
                    <a:gd name="T15" fmla="*/ 13 h 17"/>
                    <a:gd name="T16" fmla="*/ 19 w 31"/>
                    <a:gd name="T17" fmla="*/ 11 h 17"/>
                    <a:gd name="T18" fmla="*/ 22 w 31"/>
                    <a:gd name="T19" fmla="*/ 11 h 17"/>
                    <a:gd name="T20" fmla="*/ 24 w 31"/>
                    <a:gd name="T21" fmla="*/ 10 h 17"/>
                    <a:gd name="T22" fmla="*/ 22 w 31"/>
                    <a:gd name="T23" fmla="*/ 7 h 17"/>
                    <a:gd name="T24" fmla="*/ 23 w 31"/>
                    <a:gd name="T25" fmla="*/ 5 h 17"/>
                    <a:gd name="T26" fmla="*/ 25 w 31"/>
                    <a:gd name="T27" fmla="*/ 3 h 17"/>
                    <a:gd name="T28" fmla="*/ 29 w 31"/>
                    <a:gd name="T29" fmla="*/ 2 h 17"/>
                    <a:gd name="T30" fmla="*/ 31 w 31"/>
                    <a:gd name="T31" fmla="*/ 0 h 17"/>
                    <a:gd name="T32" fmla="*/ 29 w 31"/>
                    <a:gd name="T33" fmla="*/ 1 h 17"/>
                    <a:gd name="T34" fmla="*/ 24 w 31"/>
                    <a:gd name="T35" fmla="*/ 3 h 17"/>
                    <a:gd name="T36" fmla="*/ 19 w 31"/>
                    <a:gd name="T37" fmla="*/ 4 h 17"/>
                    <a:gd name="T38" fmla="*/ 14 w 31"/>
                    <a:gd name="T39" fmla="*/ 5 h 17"/>
                    <a:gd name="T40" fmla="*/ 12 w 31"/>
                    <a:gd name="T41" fmla="*/ 4 h 17"/>
                    <a:gd name="T42" fmla="*/ 8 w 31"/>
                    <a:gd name="T43" fmla="*/ 6 h 17"/>
                    <a:gd name="T44" fmla="*/ 8 w 31"/>
                    <a:gd name="T45" fmla="*/ 7 h 17"/>
                    <a:gd name="T46" fmla="*/ 4 w 31"/>
                    <a:gd name="T47" fmla="*/ 7 h 17"/>
                    <a:gd name="T48" fmla="*/ 0 w 31"/>
                    <a:gd name="T49" fmla="*/ 10 h 17"/>
                    <a:gd name="T50" fmla="*/ 0 w 31"/>
                    <a:gd name="T51" fmla="*/ 12 h 17"/>
                    <a:gd name="T52" fmla="*/ 3 w 31"/>
                    <a:gd name="T53" fmla="*/ 14 h 17"/>
                    <a:gd name="T54" fmla="*/ 3 w 31"/>
                    <a:gd name="T5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17">
                      <a:moveTo>
                        <a:pt x="3" y="14"/>
                      </a:moveTo>
                      <a:lnTo>
                        <a:pt x="5" y="15"/>
                      </a:lnTo>
                      <a:lnTo>
                        <a:pt x="8" y="15"/>
                      </a:lnTo>
                      <a:lnTo>
                        <a:pt x="10" y="17"/>
                      </a:lnTo>
                      <a:lnTo>
                        <a:pt x="10" y="15"/>
                      </a:lnTo>
                      <a:lnTo>
                        <a:pt x="11" y="15"/>
                      </a:lnTo>
                      <a:lnTo>
                        <a:pt x="13" y="14"/>
                      </a:lnTo>
                      <a:lnTo>
                        <a:pt x="17" y="13"/>
                      </a:lnTo>
                      <a:lnTo>
                        <a:pt x="19" y="11"/>
                      </a:lnTo>
                      <a:lnTo>
                        <a:pt x="22" y="11"/>
                      </a:lnTo>
                      <a:lnTo>
                        <a:pt x="24" y="10"/>
                      </a:lnTo>
                      <a:lnTo>
                        <a:pt x="22" y="7"/>
                      </a:lnTo>
                      <a:lnTo>
                        <a:pt x="23" y="5"/>
                      </a:lnTo>
                      <a:lnTo>
                        <a:pt x="25" y="3"/>
                      </a:lnTo>
                      <a:lnTo>
                        <a:pt x="29" y="2"/>
                      </a:lnTo>
                      <a:lnTo>
                        <a:pt x="31" y="0"/>
                      </a:lnTo>
                      <a:lnTo>
                        <a:pt x="29" y="1"/>
                      </a:lnTo>
                      <a:lnTo>
                        <a:pt x="24" y="3"/>
                      </a:lnTo>
                      <a:lnTo>
                        <a:pt x="19" y="4"/>
                      </a:lnTo>
                      <a:lnTo>
                        <a:pt x="14" y="5"/>
                      </a:lnTo>
                      <a:lnTo>
                        <a:pt x="12" y="4"/>
                      </a:lnTo>
                      <a:lnTo>
                        <a:pt x="8" y="6"/>
                      </a:lnTo>
                      <a:lnTo>
                        <a:pt x="8" y="7"/>
                      </a:lnTo>
                      <a:lnTo>
                        <a:pt x="4" y="7"/>
                      </a:lnTo>
                      <a:lnTo>
                        <a:pt x="0" y="10"/>
                      </a:lnTo>
                      <a:lnTo>
                        <a:pt x="0" y="12"/>
                      </a:lnTo>
                      <a:lnTo>
                        <a:pt x="3" y="14"/>
                      </a:lnTo>
                      <a:lnTo>
                        <a:pt x="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40" name="Freeform 102">
                  <a:extLst>
                    <a:ext uri="{FF2B5EF4-FFF2-40B4-BE49-F238E27FC236}">
                      <a16:creationId xmlns:a16="http://schemas.microsoft.com/office/drawing/2014/main" id="{B7413A78-4F1F-A22C-19ED-A33DBC1C923D}"/>
                    </a:ext>
                  </a:extLst>
                </p:cNvPr>
                <p:cNvSpPr>
                  <a:spLocks/>
                </p:cNvSpPr>
                <p:nvPr/>
              </p:nvSpPr>
              <p:spPr bwMode="auto">
                <a:xfrm>
                  <a:off x="4345" y="1656"/>
                  <a:ext cx="29" cy="18"/>
                </a:xfrm>
                <a:custGeom>
                  <a:avLst/>
                  <a:gdLst>
                    <a:gd name="T0" fmla="*/ 25 w 29"/>
                    <a:gd name="T1" fmla="*/ 10 h 18"/>
                    <a:gd name="T2" fmla="*/ 27 w 29"/>
                    <a:gd name="T3" fmla="*/ 9 h 18"/>
                    <a:gd name="T4" fmla="*/ 26 w 29"/>
                    <a:gd name="T5" fmla="*/ 11 h 18"/>
                    <a:gd name="T6" fmla="*/ 29 w 29"/>
                    <a:gd name="T7" fmla="*/ 9 h 18"/>
                    <a:gd name="T8" fmla="*/ 27 w 29"/>
                    <a:gd name="T9" fmla="*/ 7 h 18"/>
                    <a:gd name="T10" fmla="*/ 25 w 29"/>
                    <a:gd name="T11" fmla="*/ 4 h 18"/>
                    <a:gd name="T12" fmla="*/ 16 w 29"/>
                    <a:gd name="T13" fmla="*/ 1 h 18"/>
                    <a:gd name="T14" fmla="*/ 14 w 29"/>
                    <a:gd name="T15" fmla="*/ 0 h 18"/>
                    <a:gd name="T16" fmla="*/ 10 w 29"/>
                    <a:gd name="T17" fmla="*/ 0 h 18"/>
                    <a:gd name="T18" fmla="*/ 6 w 29"/>
                    <a:gd name="T19" fmla="*/ 1 h 18"/>
                    <a:gd name="T20" fmla="*/ 2 w 29"/>
                    <a:gd name="T21" fmla="*/ 3 h 18"/>
                    <a:gd name="T22" fmla="*/ 1 w 29"/>
                    <a:gd name="T23" fmla="*/ 7 h 18"/>
                    <a:gd name="T24" fmla="*/ 0 w 29"/>
                    <a:gd name="T25" fmla="*/ 12 h 18"/>
                    <a:gd name="T26" fmla="*/ 0 w 29"/>
                    <a:gd name="T27" fmla="*/ 14 h 18"/>
                    <a:gd name="T28" fmla="*/ 6 w 29"/>
                    <a:gd name="T29" fmla="*/ 18 h 18"/>
                    <a:gd name="T30" fmla="*/ 11 w 29"/>
                    <a:gd name="T31" fmla="*/ 18 h 18"/>
                    <a:gd name="T32" fmla="*/ 17 w 29"/>
                    <a:gd name="T33" fmla="*/ 17 h 18"/>
                    <a:gd name="T34" fmla="*/ 19 w 29"/>
                    <a:gd name="T35" fmla="*/ 16 h 18"/>
                    <a:gd name="T36" fmla="*/ 25 w 29"/>
                    <a:gd name="T37" fmla="*/ 10 h 18"/>
                    <a:gd name="T38" fmla="*/ 25 w 29"/>
                    <a:gd name="T39"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18">
                      <a:moveTo>
                        <a:pt x="25" y="10"/>
                      </a:moveTo>
                      <a:lnTo>
                        <a:pt x="27" y="9"/>
                      </a:lnTo>
                      <a:lnTo>
                        <a:pt x="26" y="11"/>
                      </a:lnTo>
                      <a:lnTo>
                        <a:pt x="29" y="9"/>
                      </a:lnTo>
                      <a:lnTo>
                        <a:pt x="27" y="7"/>
                      </a:lnTo>
                      <a:lnTo>
                        <a:pt x="25" y="4"/>
                      </a:lnTo>
                      <a:lnTo>
                        <a:pt x="16" y="1"/>
                      </a:lnTo>
                      <a:lnTo>
                        <a:pt x="14" y="0"/>
                      </a:lnTo>
                      <a:lnTo>
                        <a:pt x="10" y="0"/>
                      </a:lnTo>
                      <a:lnTo>
                        <a:pt x="6" y="1"/>
                      </a:lnTo>
                      <a:lnTo>
                        <a:pt x="2" y="3"/>
                      </a:lnTo>
                      <a:lnTo>
                        <a:pt x="1" y="7"/>
                      </a:lnTo>
                      <a:lnTo>
                        <a:pt x="0" y="12"/>
                      </a:lnTo>
                      <a:lnTo>
                        <a:pt x="0" y="14"/>
                      </a:lnTo>
                      <a:lnTo>
                        <a:pt x="6" y="18"/>
                      </a:lnTo>
                      <a:lnTo>
                        <a:pt x="11" y="18"/>
                      </a:lnTo>
                      <a:lnTo>
                        <a:pt x="17" y="17"/>
                      </a:lnTo>
                      <a:lnTo>
                        <a:pt x="19" y="16"/>
                      </a:lnTo>
                      <a:lnTo>
                        <a:pt x="25" y="10"/>
                      </a:lnTo>
                      <a:lnTo>
                        <a:pt x="2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41" name="Freeform 103">
                  <a:extLst>
                    <a:ext uri="{FF2B5EF4-FFF2-40B4-BE49-F238E27FC236}">
                      <a16:creationId xmlns:a16="http://schemas.microsoft.com/office/drawing/2014/main" id="{CB777EA3-4E1D-ABB1-A708-59A706878089}"/>
                    </a:ext>
                  </a:extLst>
                </p:cNvPr>
                <p:cNvSpPr>
                  <a:spLocks/>
                </p:cNvSpPr>
                <p:nvPr/>
              </p:nvSpPr>
              <p:spPr bwMode="auto">
                <a:xfrm>
                  <a:off x="4487" y="1632"/>
                  <a:ext cx="27" cy="19"/>
                </a:xfrm>
                <a:custGeom>
                  <a:avLst/>
                  <a:gdLst>
                    <a:gd name="T0" fmla="*/ 22 w 27"/>
                    <a:gd name="T1" fmla="*/ 11 h 19"/>
                    <a:gd name="T2" fmla="*/ 19 w 27"/>
                    <a:gd name="T3" fmla="*/ 9 h 19"/>
                    <a:gd name="T4" fmla="*/ 17 w 27"/>
                    <a:gd name="T5" fmla="*/ 9 h 19"/>
                    <a:gd name="T6" fmla="*/ 13 w 27"/>
                    <a:gd name="T7" fmla="*/ 7 h 19"/>
                    <a:gd name="T8" fmla="*/ 11 w 27"/>
                    <a:gd name="T9" fmla="*/ 4 h 19"/>
                    <a:gd name="T10" fmla="*/ 5 w 27"/>
                    <a:gd name="T11" fmla="*/ 0 h 19"/>
                    <a:gd name="T12" fmla="*/ 3 w 27"/>
                    <a:gd name="T13" fmla="*/ 1 h 19"/>
                    <a:gd name="T14" fmla="*/ 0 w 27"/>
                    <a:gd name="T15" fmla="*/ 3 h 19"/>
                    <a:gd name="T16" fmla="*/ 3 w 27"/>
                    <a:gd name="T17" fmla="*/ 6 h 19"/>
                    <a:gd name="T18" fmla="*/ 0 w 27"/>
                    <a:gd name="T19" fmla="*/ 6 h 19"/>
                    <a:gd name="T20" fmla="*/ 1 w 27"/>
                    <a:gd name="T21" fmla="*/ 10 h 19"/>
                    <a:gd name="T22" fmla="*/ 2 w 27"/>
                    <a:gd name="T23" fmla="*/ 11 h 19"/>
                    <a:gd name="T24" fmla="*/ 6 w 27"/>
                    <a:gd name="T25" fmla="*/ 15 h 19"/>
                    <a:gd name="T26" fmla="*/ 10 w 27"/>
                    <a:gd name="T27" fmla="*/ 15 h 19"/>
                    <a:gd name="T28" fmla="*/ 12 w 27"/>
                    <a:gd name="T29" fmla="*/ 15 h 19"/>
                    <a:gd name="T30" fmla="*/ 13 w 27"/>
                    <a:gd name="T31" fmla="*/ 18 h 19"/>
                    <a:gd name="T32" fmla="*/ 17 w 27"/>
                    <a:gd name="T33" fmla="*/ 19 h 19"/>
                    <a:gd name="T34" fmla="*/ 19 w 27"/>
                    <a:gd name="T35" fmla="*/ 18 h 19"/>
                    <a:gd name="T36" fmla="*/ 22 w 27"/>
                    <a:gd name="T37" fmla="*/ 19 h 19"/>
                    <a:gd name="T38" fmla="*/ 24 w 27"/>
                    <a:gd name="T39" fmla="*/ 18 h 19"/>
                    <a:gd name="T40" fmla="*/ 27 w 27"/>
                    <a:gd name="T41" fmla="*/ 16 h 19"/>
                    <a:gd name="T42" fmla="*/ 26 w 27"/>
                    <a:gd name="T43" fmla="*/ 12 h 19"/>
                    <a:gd name="T44" fmla="*/ 22 w 27"/>
                    <a:gd name="T45" fmla="*/ 11 h 19"/>
                    <a:gd name="T46" fmla="*/ 22 w 27"/>
                    <a:gd name="T4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9">
                      <a:moveTo>
                        <a:pt x="22" y="11"/>
                      </a:moveTo>
                      <a:lnTo>
                        <a:pt x="19" y="9"/>
                      </a:lnTo>
                      <a:lnTo>
                        <a:pt x="17" y="9"/>
                      </a:lnTo>
                      <a:lnTo>
                        <a:pt x="13" y="7"/>
                      </a:lnTo>
                      <a:lnTo>
                        <a:pt x="11" y="4"/>
                      </a:lnTo>
                      <a:lnTo>
                        <a:pt x="5" y="0"/>
                      </a:lnTo>
                      <a:lnTo>
                        <a:pt x="3" y="1"/>
                      </a:lnTo>
                      <a:lnTo>
                        <a:pt x="0" y="3"/>
                      </a:lnTo>
                      <a:lnTo>
                        <a:pt x="3" y="6"/>
                      </a:lnTo>
                      <a:lnTo>
                        <a:pt x="0" y="6"/>
                      </a:lnTo>
                      <a:lnTo>
                        <a:pt x="1" y="10"/>
                      </a:lnTo>
                      <a:lnTo>
                        <a:pt x="2" y="11"/>
                      </a:lnTo>
                      <a:lnTo>
                        <a:pt x="6" y="15"/>
                      </a:lnTo>
                      <a:lnTo>
                        <a:pt x="10" y="15"/>
                      </a:lnTo>
                      <a:lnTo>
                        <a:pt x="12" y="15"/>
                      </a:lnTo>
                      <a:lnTo>
                        <a:pt x="13" y="18"/>
                      </a:lnTo>
                      <a:lnTo>
                        <a:pt x="17" y="19"/>
                      </a:lnTo>
                      <a:lnTo>
                        <a:pt x="19" y="18"/>
                      </a:lnTo>
                      <a:lnTo>
                        <a:pt x="22" y="19"/>
                      </a:lnTo>
                      <a:lnTo>
                        <a:pt x="24" y="18"/>
                      </a:lnTo>
                      <a:lnTo>
                        <a:pt x="27" y="16"/>
                      </a:lnTo>
                      <a:lnTo>
                        <a:pt x="26" y="12"/>
                      </a:lnTo>
                      <a:lnTo>
                        <a:pt x="22" y="11"/>
                      </a:lnTo>
                      <a:lnTo>
                        <a:pt x="2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42" name="Freeform 104">
                  <a:extLst>
                    <a:ext uri="{FF2B5EF4-FFF2-40B4-BE49-F238E27FC236}">
                      <a16:creationId xmlns:a16="http://schemas.microsoft.com/office/drawing/2014/main" id="{432E4AC9-B623-DA67-4FC1-5137F97AFF27}"/>
                    </a:ext>
                  </a:extLst>
                </p:cNvPr>
                <p:cNvSpPr>
                  <a:spLocks/>
                </p:cNvSpPr>
                <p:nvPr/>
              </p:nvSpPr>
              <p:spPr bwMode="auto">
                <a:xfrm>
                  <a:off x="3998" y="2242"/>
                  <a:ext cx="23" cy="17"/>
                </a:xfrm>
                <a:custGeom>
                  <a:avLst/>
                  <a:gdLst>
                    <a:gd name="T0" fmla="*/ 9 w 23"/>
                    <a:gd name="T1" fmla="*/ 9 h 17"/>
                    <a:gd name="T2" fmla="*/ 8 w 23"/>
                    <a:gd name="T3" fmla="*/ 7 h 17"/>
                    <a:gd name="T4" fmla="*/ 6 w 23"/>
                    <a:gd name="T5" fmla="*/ 5 h 17"/>
                    <a:gd name="T6" fmla="*/ 3 w 23"/>
                    <a:gd name="T7" fmla="*/ 4 h 17"/>
                    <a:gd name="T8" fmla="*/ 0 w 23"/>
                    <a:gd name="T9" fmla="*/ 4 h 17"/>
                    <a:gd name="T10" fmla="*/ 3 w 23"/>
                    <a:gd name="T11" fmla="*/ 1 h 17"/>
                    <a:gd name="T12" fmla="*/ 6 w 23"/>
                    <a:gd name="T13" fmla="*/ 0 h 17"/>
                    <a:gd name="T14" fmla="*/ 8 w 23"/>
                    <a:gd name="T15" fmla="*/ 4 h 17"/>
                    <a:gd name="T16" fmla="*/ 11 w 23"/>
                    <a:gd name="T17" fmla="*/ 5 h 17"/>
                    <a:gd name="T18" fmla="*/ 13 w 23"/>
                    <a:gd name="T19" fmla="*/ 6 h 17"/>
                    <a:gd name="T20" fmla="*/ 16 w 23"/>
                    <a:gd name="T21" fmla="*/ 6 h 17"/>
                    <a:gd name="T22" fmla="*/ 18 w 23"/>
                    <a:gd name="T23" fmla="*/ 9 h 17"/>
                    <a:gd name="T24" fmla="*/ 18 w 23"/>
                    <a:gd name="T25" fmla="*/ 12 h 17"/>
                    <a:gd name="T26" fmla="*/ 20 w 23"/>
                    <a:gd name="T27" fmla="*/ 14 h 17"/>
                    <a:gd name="T28" fmla="*/ 22 w 23"/>
                    <a:gd name="T29" fmla="*/ 15 h 17"/>
                    <a:gd name="T30" fmla="*/ 23 w 23"/>
                    <a:gd name="T31" fmla="*/ 17 h 17"/>
                    <a:gd name="T32" fmla="*/ 22 w 23"/>
                    <a:gd name="T33" fmla="*/ 17 h 17"/>
                    <a:gd name="T34" fmla="*/ 20 w 23"/>
                    <a:gd name="T35" fmla="*/ 16 h 17"/>
                    <a:gd name="T36" fmla="*/ 16 w 23"/>
                    <a:gd name="T37" fmla="*/ 12 h 17"/>
                    <a:gd name="T38" fmla="*/ 11 w 23"/>
                    <a:gd name="T39" fmla="*/ 11 h 17"/>
                    <a:gd name="T40" fmla="*/ 9 w 23"/>
                    <a:gd name="T41" fmla="*/ 9 h 17"/>
                    <a:gd name="T42" fmla="*/ 9 w 23"/>
                    <a:gd name="T43"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7">
                      <a:moveTo>
                        <a:pt x="9" y="9"/>
                      </a:moveTo>
                      <a:lnTo>
                        <a:pt x="8" y="7"/>
                      </a:lnTo>
                      <a:lnTo>
                        <a:pt x="6" y="5"/>
                      </a:lnTo>
                      <a:lnTo>
                        <a:pt x="3" y="4"/>
                      </a:lnTo>
                      <a:lnTo>
                        <a:pt x="0" y="4"/>
                      </a:lnTo>
                      <a:lnTo>
                        <a:pt x="3" y="1"/>
                      </a:lnTo>
                      <a:lnTo>
                        <a:pt x="6" y="0"/>
                      </a:lnTo>
                      <a:lnTo>
                        <a:pt x="8" y="4"/>
                      </a:lnTo>
                      <a:lnTo>
                        <a:pt x="11" y="5"/>
                      </a:lnTo>
                      <a:lnTo>
                        <a:pt x="13" y="6"/>
                      </a:lnTo>
                      <a:lnTo>
                        <a:pt x="16" y="6"/>
                      </a:lnTo>
                      <a:lnTo>
                        <a:pt x="18" y="9"/>
                      </a:lnTo>
                      <a:lnTo>
                        <a:pt x="18" y="12"/>
                      </a:lnTo>
                      <a:lnTo>
                        <a:pt x="20" y="14"/>
                      </a:lnTo>
                      <a:lnTo>
                        <a:pt x="22" y="15"/>
                      </a:lnTo>
                      <a:lnTo>
                        <a:pt x="23" y="17"/>
                      </a:lnTo>
                      <a:lnTo>
                        <a:pt x="22" y="17"/>
                      </a:lnTo>
                      <a:lnTo>
                        <a:pt x="20" y="16"/>
                      </a:lnTo>
                      <a:lnTo>
                        <a:pt x="16" y="12"/>
                      </a:lnTo>
                      <a:lnTo>
                        <a:pt x="11" y="11"/>
                      </a:lnTo>
                      <a:lnTo>
                        <a:pt x="9"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43" name="Freeform 105">
                  <a:extLst>
                    <a:ext uri="{FF2B5EF4-FFF2-40B4-BE49-F238E27FC236}">
                      <a16:creationId xmlns:a16="http://schemas.microsoft.com/office/drawing/2014/main" id="{0FAB80F2-47B1-72D6-3D55-3889B8FA5323}"/>
                    </a:ext>
                  </a:extLst>
                </p:cNvPr>
                <p:cNvSpPr>
                  <a:spLocks/>
                </p:cNvSpPr>
                <p:nvPr/>
              </p:nvSpPr>
              <p:spPr bwMode="auto">
                <a:xfrm>
                  <a:off x="4131" y="2123"/>
                  <a:ext cx="55" cy="31"/>
                </a:xfrm>
                <a:custGeom>
                  <a:avLst/>
                  <a:gdLst>
                    <a:gd name="T0" fmla="*/ 15 w 55"/>
                    <a:gd name="T1" fmla="*/ 3 h 31"/>
                    <a:gd name="T2" fmla="*/ 15 w 55"/>
                    <a:gd name="T3" fmla="*/ 2 h 31"/>
                    <a:gd name="T4" fmla="*/ 15 w 55"/>
                    <a:gd name="T5" fmla="*/ 2 h 31"/>
                    <a:gd name="T6" fmla="*/ 15 w 55"/>
                    <a:gd name="T7" fmla="*/ 0 h 31"/>
                    <a:gd name="T8" fmla="*/ 15 w 55"/>
                    <a:gd name="T9" fmla="*/ 0 h 31"/>
                    <a:gd name="T10" fmla="*/ 18 w 55"/>
                    <a:gd name="T11" fmla="*/ 3 h 31"/>
                    <a:gd name="T12" fmla="*/ 19 w 55"/>
                    <a:gd name="T13" fmla="*/ 3 h 31"/>
                    <a:gd name="T14" fmla="*/ 21 w 55"/>
                    <a:gd name="T15" fmla="*/ 6 h 31"/>
                    <a:gd name="T16" fmla="*/ 25 w 55"/>
                    <a:gd name="T17" fmla="*/ 5 h 31"/>
                    <a:gd name="T18" fmla="*/ 26 w 55"/>
                    <a:gd name="T19" fmla="*/ 6 h 31"/>
                    <a:gd name="T20" fmla="*/ 27 w 55"/>
                    <a:gd name="T21" fmla="*/ 5 h 31"/>
                    <a:gd name="T22" fmla="*/ 26 w 55"/>
                    <a:gd name="T23" fmla="*/ 8 h 31"/>
                    <a:gd name="T24" fmla="*/ 26 w 55"/>
                    <a:gd name="T25" fmla="*/ 8 h 31"/>
                    <a:gd name="T26" fmla="*/ 28 w 55"/>
                    <a:gd name="T27" fmla="*/ 7 h 31"/>
                    <a:gd name="T28" fmla="*/ 33 w 55"/>
                    <a:gd name="T29" fmla="*/ 11 h 31"/>
                    <a:gd name="T30" fmla="*/ 34 w 55"/>
                    <a:gd name="T31" fmla="*/ 14 h 31"/>
                    <a:gd name="T32" fmla="*/ 36 w 55"/>
                    <a:gd name="T33" fmla="*/ 16 h 31"/>
                    <a:gd name="T34" fmla="*/ 36 w 55"/>
                    <a:gd name="T35" fmla="*/ 14 h 31"/>
                    <a:gd name="T36" fmla="*/ 33 w 55"/>
                    <a:gd name="T37" fmla="*/ 11 h 31"/>
                    <a:gd name="T38" fmla="*/ 32 w 55"/>
                    <a:gd name="T39" fmla="*/ 9 h 31"/>
                    <a:gd name="T40" fmla="*/ 33 w 55"/>
                    <a:gd name="T41" fmla="*/ 9 h 31"/>
                    <a:gd name="T42" fmla="*/ 33 w 55"/>
                    <a:gd name="T43" fmla="*/ 8 h 31"/>
                    <a:gd name="T44" fmla="*/ 33 w 55"/>
                    <a:gd name="T45" fmla="*/ 9 h 31"/>
                    <a:gd name="T46" fmla="*/ 37 w 55"/>
                    <a:gd name="T47" fmla="*/ 15 h 31"/>
                    <a:gd name="T48" fmla="*/ 41 w 55"/>
                    <a:gd name="T49" fmla="*/ 16 h 31"/>
                    <a:gd name="T50" fmla="*/ 45 w 55"/>
                    <a:gd name="T51" fmla="*/ 15 h 31"/>
                    <a:gd name="T52" fmla="*/ 47 w 55"/>
                    <a:gd name="T53" fmla="*/ 15 h 31"/>
                    <a:gd name="T54" fmla="*/ 50 w 55"/>
                    <a:gd name="T55" fmla="*/ 14 h 31"/>
                    <a:gd name="T56" fmla="*/ 53 w 55"/>
                    <a:gd name="T57" fmla="*/ 14 h 31"/>
                    <a:gd name="T58" fmla="*/ 55 w 55"/>
                    <a:gd name="T59" fmla="*/ 15 h 31"/>
                    <a:gd name="T60" fmla="*/ 52 w 55"/>
                    <a:gd name="T61" fmla="*/ 19 h 31"/>
                    <a:gd name="T62" fmla="*/ 52 w 55"/>
                    <a:gd name="T63" fmla="*/ 21 h 31"/>
                    <a:gd name="T64" fmla="*/ 44 w 55"/>
                    <a:gd name="T65" fmla="*/ 22 h 31"/>
                    <a:gd name="T66" fmla="*/ 42 w 55"/>
                    <a:gd name="T67" fmla="*/ 20 h 31"/>
                    <a:gd name="T68" fmla="*/ 38 w 55"/>
                    <a:gd name="T69" fmla="*/ 20 h 31"/>
                    <a:gd name="T70" fmla="*/ 38 w 55"/>
                    <a:gd name="T71" fmla="*/ 22 h 31"/>
                    <a:gd name="T72" fmla="*/ 36 w 55"/>
                    <a:gd name="T73" fmla="*/ 23 h 31"/>
                    <a:gd name="T74" fmla="*/ 34 w 55"/>
                    <a:gd name="T75" fmla="*/ 25 h 31"/>
                    <a:gd name="T76" fmla="*/ 33 w 55"/>
                    <a:gd name="T77" fmla="*/ 24 h 31"/>
                    <a:gd name="T78" fmla="*/ 27 w 55"/>
                    <a:gd name="T79" fmla="*/ 25 h 31"/>
                    <a:gd name="T80" fmla="*/ 25 w 55"/>
                    <a:gd name="T81" fmla="*/ 28 h 31"/>
                    <a:gd name="T82" fmla="*/ 23 w 55"/>
                    <a:gd name="T83" fmla="*/ 30 h 31"/>
                    <a:gd name="T84" fmla="*/ 20 w 55"/>
                    <a:gd name="T85" fmla="*/ 31 h 31"/>
                    <a:gd name="T86" fmla="*/ 15 w 55"/>
                    <a:gd name="T87" fmla="*/ 31 h 31"/>
                    <a:gd name="T88" fmla="*/ 13 w 55"/>
                    <a:gd name="T89" fmla="*/ 30 h 31"/>
                    <a:gd name="T90" fmla="*/ 13 w 55"/>
                    <a:gd name="T91" fmla="*/ 30 h 31"/>
                    <a:gd name="T92" fmla="*/ 10 w 55"/>
                    <a:gd name="T93" fmla="*/ 29 h 31"/>
                    <a:gd name="T94" fmla="*/ 12 w 55"/>
                    <a:gd name="T95" fmla="*/ 28 h 31"/>
                    <a:gd name="T96" fmla="*/ 12 w 55"/>
                    <a:gd name="T97" fmla="*/ 25 h 31"/>
                    <a:gd name="T98" fmla="*/ 15 w 55"/>
                    <a:gd name="T99" fmla="*/ 22 h 31"/>
                    <a:gd name="T100" fmla="*/ 11 w 55"/>
                    <a:gd name="T101" fmla="*/ 19 h 31"/>
                    <a:gd name="T102" fmla="*/ 10 w 55"/>
                    <a:gd name="T103" fmla="*/ 19 h 31"/>
                    <a:gd name="T104" fmla="*/ 7 w 55"/>
                    <a:gd name="T105" fmla="*/ 17 h 31"/>
                    <a:gd name="T106" fmla="*/ 4 w 55"/>
                    <a:gd name="T107" fmla="*/ 15 h 31"/>
                    <a:gd name="T108" fmla="*/ 2 w 55"/>
                    <a:gd name="T109" fmla="*/ 15 h 31"/>
                    <a:gd name="T110" fmla="*/ 0 w 55"/>
                    <a:gd name="T111" fmla="*/ 16 h 31"/>
                    <a:gd name="T112" fmla="*/ 0 w 55"/>
                    <a:gd name="T113" fmla="*/ 13 h 31"/>
                    <a:gd name="T114" fmla="*/ 6 w 55"/>
                    <a:gd name="T115" fmla="*/ 11 h 31"/>
                    <a:gd name="T116" fmla="*/ 13 w 55"/>
                    <a:gd name="T117" fmla="*/ 7 h 31"/>
                    <a:gd name="T118" fmla="*/ 16 w 55"/>
                    <a:gd name="T119" fmla="*/ 6 h 31"/>
                    <a:gd name="T120" fmla="*/ 15 w 55"/>
                    <a:gd name="T121" fmla="*/ 3 h 31"/>
                    <a:gd name="T122" fmla="*/ 15 w 55"/>
                    <a:gd name="T123"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 h="31">
                      <a:moveTo>
                        <a:pt x="15" y="3"/>
                      </a:moveTo>
                      <a:lnTo>
                        <a:pt x="15" y="2"/>
                      </a:lnTo>
                      <a:lnTo>
                        <a:pt x="15" y="2"/>
                      </a:lnTo>
                      <a:lnTo>
                        <a:pt x="15" y="0"/>
                      </a:lnTo>
                      <a:lnTo>
                        <a:pt x="15" y="0"/>
                      </a:lnTo>
                      <a:lnTo>
                        <a:pt x="18" y="3"/>
                      </a:lnTo>
                      <a:lnTo>
                        <a:pt x="19" y="3"/>
                      </a:lnTo>
                      <a:lnTo>
                        <a:pt x="21" y="6"/>
                      </a:lnTo>
                      <a:lnTo>
                        <a:pt x="25" y="5"/>
                      </a:lnTo>
                      <a:lnTo>
                        <a:pt x="26" y="6"/>
                      </a:lnTo>
                      <a:lnTo>
                        <a:pt x="27" y="5"/>
                      </a:lnTo>
                      <a:lnTo>
                        <a:pt x="26" y="8"/>
                      </a:lnTo>
                      <a:lnTo>
                        <a:pt x="26" y="8"/>
                      </a:lnTo>
                      <a:lnTo>
                        <a:pt x="28" y="7"/>
                      </a:lnTo>
                      <a:lnTo>
                        <a:pt x="33" y="11"/>
                      </a:lnTo>
                      <a:lnTo>
                        <a:pt x="34" y="14"/>
                      </a:lnTo>
                      <a:lnTo>
                        <a:pt x="36" y="16"/>
                      </a:lnTo>
                      <a:lnTo>
                        <a:pt x="36" y="14"/>
                      </a:lnTo>
                      <a:lnTo>
                        <a:pt x="33" y="11"/>
                      </a:lnTo>
                      <a:lnTo>
                        <a:pt x="32" y="9"/>
                      </a:lnTo>
                      <a:lnTo>
                        <a:pt x="33" y="9"/>
                      </a:lnTo>
                      <a:lnTo>
                        <a:pt x="33" y="8"/>
                      </a:lnTo>
                      <a:lnTo>
                        <a:pt x="33" y="9"/>
                      </a:lnTo>
                      <a:lnTo>
                        <a:pt x="37" y="15"/>
                      </a:lnTo>
                      <a:lnTo>
                        <a:pt x="41" y="16"/>
                      </a:lnTo>
                      <a:lnTo>
                        <a:pt x="45" y="15"/>
                      </a:lnTo>
                      <a:lnTo>
                        <a:pt x="47" y="15"/>
                      </a:lnTo>
                      <a:lnTo>
                        <a:pt x="50" y="14"/>
                      </a:lnTo>
                      <a:lnTo>
                        <a:pt x="53" y="14"/>
                      </a:lnTo>
                      <a:lnTo>
                        <a:pt x="55" y="15"/>
                      </a:lnTo>
                      <a:lnTo>
                        <a:pt x="52" y="19"/>
                      </a:lnTo>
                      <a:lnTo>
                        <a:pt x="52" y="21"/>
                      </a:lnTo>
                      <a:lnTo>
                        <a:pt x="44" y="22"/>
                      </a:lnTo>
                      <a:lnTo>
                        <a:pt x="42" y="20"/>
                      </a:lnTo>
                      <a:lnTo>
                        <a:pt x="38" y="20"/>
                      </a:lnTo>
                      <a:lnTo>
                        <a:pt x="38" y="22"/>
                      </a:lnTo>
                      <a:lnTo>
                        <a:pt x="36" y="23"/>
                      </a:lnTo>
                      <a:lnTo>
                        <a:pt x="34" y="25"/>
                      </a:lnTo>
                      <a:lnTo>
                        <a:pt x="33" y="24"/>
                      </a:lnTo>
                      <a:lnTo>
                        <a:pt x="27" y="25"/>
                      </a:lnTo>
                      <a:lnTo>
                        <a:pt x="25" y="28"/>
                      </a:lnTo>
                      <a:lnTo>
                        <a:pt x="23" y="30"/>
                      </a:lnTo>
                      <a:lnTo>
                        <a:pt x="20" y="31"/>
                      </a:lnTo>
                      <a:lnTo>
                        <a:pt x="15" y="31"/>
                      </a:lnTo>
                      <a:lnTo>
                        <a:pt x="13" y="30"/>
                      </a:lnTo>
                      <a:lnTo>
                        <a:pt x="13" y="30"/>
                      </a:lnTo>
                      <a:lnTo>
                        <a:pt x="10" y="29"/>
                      </a:lnTo>
                      <a:lnTo>
                        <a:pt x="12" y="28"/>
                      </a:lnTo>
                      <a:lnTo>
                        <a:pt x="12" y="25"/>
                      </a:lnTo>
                      <a:lnTo>
                        <a:pt x="15" y="22"/>
                      </a:lnTo>
                      <a:lnTo>
                        <a:pt x="11" y="19"/>
                      </a:lnTo>
                      <a:lnTo>
                        <a:pt x="10" y="19"/>
                      </a:lnTo>
                      <a:lnTo>
                        <a:pt x="7" y="17"/>
                      </a:lnTo>
                      <a:lnTo>
                        <a:pt x="4" y="15"/>
                      </a:lnTo>
                      <a:lnTo>
                        <a:pt x="2" y="15"/>
                      </a:lnTo>
                      <a:lnTo>
                        <a:pt x="0" y="16"/>
                      </a:lnTo>
                      <a:lnTo>
                        <a:pt x="0" y="13"/>
                      </a:lnTo>
                      <a:lnTo>
                        <a:pt x="6" y="11"/>
                      </a:lnTo>
                      <a:lnTo>
                        <a:pt x="13" y="7"/>
                      </a:lnTo>
                      <a:lnTo>
                        <a:pt x="16" y="6"/>
                      </a:lnTo>
                      <a:lnTo>
                        <a:pt x="15" y="3"/>
                      </a:lnTo>
                      <a:lnTo>
                        <a:pt x="1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44" name="Freeform 106">
                  <a:extLst>
                    <a:ext uri="{FF2B5EF4-FFF2-40B4-BE49-F238E27FC236}">
                      <a16:creationId xmlns:a16="http://schemas.microsoft.com/office/drawing/2014/main" id="{EDF49FB1-509E-CCE9-8FFE-05E7D9D8A5EE}"/>
                    </a:ext>
                  </a:extLst>
                </p:cNvPr>
                <p:cNvSpPr>
                  <a:spLocks/>
                </p:cNvSpPr>
                <p:nvPr/>
              </p:nvSpPr>
              <p:spPr bwMode="auto">
                <a:xfrm>
                  <a:off x="4277" y="2972"/>
                  <a:ext cx="99" cy="192"/>
                </a:xfrm>
                <a:custGeom>
                  <a:avLst/>
                  <a:gdLst>
                    <a:gd name="T0" fmla="*/ 0 w 99"/>
                    <a:gd name="T1" fmla="*/ 146 h 192"/>
                    <a:gd name="T2" fmla="*/ 5 w 99"/>
                    <a:gd name="T3" fmla="*/ 156 h 192"/>
                    <a:gd name="T4" fmla="*/ 6 w 99"/>
                    <a:gd name="T5" fmla="*/ 164 h 192"/>
                    <a:gd name="T6" fmla="*/ 10 w 99"/>
                    <a:gd name="T7" fmla="*/ 181 h 192"/>
                    <a:gd name="T8" fmla="*/ 17 w 99"/>
                    <a:gd name="T9" fmla="*/ 188 h 192"/>
                    <a:gd name="T10" fmla="*/ 32 w 99"/>
                    <a:gd name="T11" fmla="*/ 191 h 192"/>
                    <a:gd name="T12" fmla="*/ 48 w 99"/>
                    <a:gd name="T13" fmla="*/ 185 h 192"/>
                    <a:gd name="T14" fmla="*/ 56 w 99"/>
                    <a:gd name="T15" fmla="*/ 176 h 192"/>
                    <a:gd name="T16" fmla="*/ 60 w 99"/>
                    <a:gd name="T17" fmla="*/ 163 h 192"/>
                    <a:gd name="T18" fmla="*/ 68 w 99"/>
                    <a:gd name="T19" fmla="*/ 134 h 192"/>
                    <a:gd name="T20" fmla="*/ 75 w 99"/>
                    <a:gd name="T21" fmla="*/ 111 h 192"/>
                    <a:gd name="T22" fmla="*/ 84 w 99"/>
                    <a:gd name="T23" fmla="*/ 89 h 192"/>
                    <a:gd name="T24" fmla="*/ 85 w 99"/>
                    <a:gd name="T25" fmla="*/ 82 h 192"/>
                    <a:gd name="T26" fmla="*/ 87 w 99"/>
                    <a:gd name="T27" fmla="*/ 68 h 192"/>
                    <a:gd name="T28" fmla="*/ 88 w 99"/>
                    <a:gd name="T29" fmla="*/ 55 h 192"/>
                    <a:gd name="T30" fmla="*/ 89 w 99"/>
                    <a:gd name="T31" fmla="*/ 46 h 192"/>
                    <a:gd name="T32" fmla="*/ 94 w 99"/>
                    <a:gd name="T33" fmla="*/ 54 h 192"/>
                    <a:gd name="T34" fmla="*/ 99 w 99"/>
                    <a:gd name="T35" fmla="*/ 47 h 192"/>
                    <a:gd name="T36" fmla="*/ 95 w 99"/>
                    <a:gd name="T37" fmla="*/ 37 h 192"/>
                    <a:gd name="T38" fmla="*/ 94 w 99"/>
                    <a:gd name="T39" fmla="*/ 28 h 192"/>
                    <a:gd name="T40" fmla="*/ 91 w 99"/>
                    <a:gd name="T41" fmla="*/ 12 h 192"/>
                    <a:gd name="T42" fmla="*/ 86 w 99"/>
                    <a:gd name="T43" fmla="*/ 5 h 192"/>
                    <a:gd name="T44" fmla="*/ 84 w 99"/>
                    <a:gd name="T45" fmla="*/ 0 h 192"/>
                    <a:gd name="T46" fmla="*/ 78 w 99"/>
                    <a:gd name="T47" fmla="*/ 5 h 192"/>
                    <a:gd name="T48" fmla="*/ 78 w 99"/>
                    <a:gd name="T49" fmla="*/ 10 h 192"/>
                    <a:gd name="T50" fmla="*/ 77 w 99"/>
                    <a:gd name="T51" fmla="*/ 17 h 192"/>
                    <a:gd name="T52" fmla="*/ 69 w 99"/>
                    <a:gd name="T53" fmla="*/ 22 h 192"/>
                    <a:gd name="T54" fmla="*/ 63 w 99"/>
                    <a:gd name="T55" fmla="*/ 23 h 192"/>
                    <a:gd name="T56" fmla="*/ 63 w 99"/>
                    <a:gd name="T57" fmla="*/ 30 h 192"/>
                    <a:gd name="T58" fmla="*/ 65 w 99"/>
                    <a:gd name="T59" fmla="*/ 35 h 192"/>
                    <a:gd name="T60" fmla="*/ 61 w 99"/>
                    <a:gd name="T61" fmla="*/ 37 h 192"/>
                    <a:gd name="T62" fmla="*/ 56 w 99"/>
                    <a:gd name="T63" fmla="*/ 38 h 192"/>
                    <a:gd name="T64" fmla="*/ 54 w 99"/>
                    <a:gd name="T65" fmla="*/ 46 h 192"/>
                    <a:gd name="T66" fmla="*/ 52 w 99"/>
                    <a:gd name="T67" fmla="*/ 47 h 192"/>
                    <a:gd name="T68" fmla="*/ 45 w 99"/>
                    <a:gd name="T69" fmla="*/ 47 h 192"/>
                    <a:gd name="T70" fmla="*/ 44 w 99"/>
                    <a:gd name="T71" fmla="*/ 54 h 192"/>
                    <a:gd name="T72" fmla="*/ 42 w 99"/>
                    <a:gd name="T73" fmla="*/ 53 h 192"/>
                    <a:gd name="T74" fmla="*/ 34 w 99"/>
                    <a:gd name="T75" fmla="*/ 52 h 192"/>
                    <a:gd name="T76" fmla="*/ 24 w 99"/>
                    <a:gd name="T77" fmla="*/ 57 h 192"/>
                    <a:gd name="T78" fmla="*/ 16 w 99"/>
                    <a:gd name="T79" fmla="*/ 57 h 192"/>
                    <a:gd name="T80" fmla="*/ 16 w 99"/>
                    <a:gd name="T81" fmla="*/ 65 h 192"/>
                    <a:gd name="T82" fmla="*/ 10 w 99"/>
                    <a:gd name="T83" fmla="*/ 80 h 192"/>
                    <a:gd name="T84" fmla="*/ 14 w 99"/>
                    <a:gd name="T85" fmla="*/ 94 h 192"/>
                    <a:gd name="T86" fmla="*/ 16 w 99"/>
                    <a:gd name="T87" fmla="*/ 102 h 192"/>
                    <a:gd name="T88" fmla="*/ 16 w 99"/>
                    <a:gd name="T89" fmla="*/ 106 h 192"/>
                    <a:gd name="T90" fmla="*/ 17 w 99"/>
                    <a:gd name="T91" fmla="*/ 111 h 192"/>
                    <a:gd name="T92" fmla="*/ 11 w 99"/>
                    <a:gd name="T93" fmla="*/ 121 h 192"/>
                    <a:gd name="T94" fmla="*/ 7 w 99"/>
                    <a:gd name="T95" fmla="*/ 130 h 192"/>
                    <a:gd name="T96" fmla="*/ 3 w 99"/>
                    <a:gd name="T97" fmla="*/ 133 h 192"/>
                    <a:gd name="T98" fmla="*/ 0 w 99"/>
                    <a:gd name="T99" fmla="*/ 14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9" h="192">
                      <a:moveTo>
                        <a:pt x="0" y="141"/>
                      </a:moveTo>
                      <a:lnTo>
                        <a:pt x="0" y="142"/>
                      </a:lnTo>
                      <a:lnTo>
                        <a:pt x="0" y="146"/>
                      </a:lnTo>
                      <a:lnTo>
                        <a:pt x="1" y="150"/>
                      </a:lnTo>
                      <a:lnTo>
                        <a:pt x="2" y="154"/>
                      </a:lnTo>
                      <a:lnTo>
                        <a:pt x="5" y="156"/>
                      </a:lnTo>
                      <a:lnTo>
                        <a:pt x="5" y="158"/>
                      </a:lnTo>
                      <a:lnTo>
                        <a:pt x="7" y="163"/>
                      </a:lnTo>
                      <a:lnTo>
                        <a:pt x="6" y="164"/>
                      </a:lnTo>
                      <a:lnTo>
                        <a:pt x="6" y="173"/>
                      </a:lnTo>
                      <a:lnTo>
                        <a:pt x="9" y="177"/>
                      </a:lnTo>
                      <a:lnTo>
                        <a:pt x="10" y="181"/>
                      </a:lnTo>
                      <a:lnTo>
                        <a:pt x="11" y="184"/>
                      </a:lnTo>
                      <a:lnTo>
                        <a:pt x="14" y="185"/>
                      </a:lnTo>
                      <a:lnTo>
                        <a:pt x="17" y="188"/>
                      </a:lnTo>
                      <a:lnTo>
                        <a:pt x="20" y="188"/>
                      </a:lnTo>
                      <a:lnTo>
                        <a:pt x="26" y="192"/>
                      </a:lnTo>
                      <a:lnTo>
                        <a:pt x="32" y="191"/>
                      </a:lnTo>
                      <a:lnTo>
                        <a:pt x="35" y="189"/>
                      </a:lnTo>
                      <a:lnTo>
                        <a:pt x="41" y="186"/>
                      </a:lnTo>
                      <a:lnTo>
                        <a:pt x="48" y="185"/>
                      </a:lnTo>
                      <a:lnTo>
                        <a:pt x="51" y="184"/>
                      </a:lnTo>
                      <a:lnTo>
                        <a:pt x="53" y="181"/>
                      </a:lnTo>
                      <a:lnTo>
                        <a:pt x="56" y="176"/>
                      </a:lnTo>
                      <a:lnTo>
                        <a:pt x="56" y="173"/>
                      </a:lnTo>
                      <a:lnTo>
                        <a:pt x="59" y="166"/>
                      </a:lnTo>
                      <a:lnTo>
                        <a:pt x="60" y="163"/>
                      </a:lnTo>
                      <a:lnTo>
                        <a:pt x="61" y="157"/>
                      </a:lnTo>
                      <a:lnTo>
                        <a:pt x="65" y="145"/>
                      </a:lnTo>
                      <a:lnTo>
                        <a:pt x="68" y="134"/>
                      </a:lnTo>
                      <a:lnTo>
                        <a:pt x="74" y="116"/>
                      </a:lnTo>
                      <a:lnTo>
                        <a:pt x="76" y="111"/>
                      </a:lnTo>
                      <a:lnTo>
                        <a:pt x="75" y="111"/>
                      </a:lnTo>
                      <a:lnTo>
                        <a:pt x="76" y="111"/>
                      </a:lnTo>
                      <a:lnTo>
                        <a:pt x="79" y="99"/>
                      </a:lnTo>
                      <a:lnTo>
                        <a:pt x="84" y="89"/>
                      </a:lnTo>
                      <a:lnTo>
                        <a:pt x="84" y="86"/>
                      </a:lnTo>
                      <a:lnTo>
                        <a:pt x="85" y="85"/>
                      </a:lnTo>
                      <a:lnTo>
                        <a:pt x="85" y="82"/>
                      </a:lnTo>
                      <a:lnTo>
                        <a:pt x="86" y="80"/>
                      </a:lnTo>
                      <a:lnTo>
                        <a:pt x="85" y="72"/>
                      </a:lnTo>
                      <a:lnTo>
                        <a:pt x="87" y="68"/>
                      </a:lnTo>
                      <a:lnTo>
                        <a:pt x="91" y="62"/>
                      </a:lnTo>
                      <a:lnTo>
                        <a:pt x="91" y="60"/>
                      </a:lnTo>
                      <a:lnTo>
                        <a:pt x="88" y="55"/>
                      </a:lnTo>
                      <a:lnTo>
                        <a:pt x="88" y="52"/>
                      </a:lnTo>
                      <a:lnTo>
                        <a:pt x="87" y="49"/>
                      </a:lnTo>
                      <a:lnTo>
                        <a:pt x="89" y="46"/>
                      </a:lnTo>
                      <a:lnTo>
                        <a:pt x="91" y="48"/>
                      </a:lnTo>
                      <a:lnTo>
                        <a:pt x="93" y="51"/>
                      </a:lnTo>
                      <a:lnTo>
                        <a:pt x="94" y="54"/>
                      </a:lnTo>
                      <a:lnTo>
                        <a:pt x="96" y="53"/>
                      </a:lnTo>
                      <a:lnTo>
                        <a:pt x="97" y="49"/>
                      </a:lnTo>
                      <a:lnTo>
                        <a:pt x="99" y="47"/>
                      </a:lnTo>
                      <a:lnTo>
                        <a:pt x="99" y="44"/>
                      </a:lnTo>
                      <a:lnTo>
                        <a:pt x="96" y="39"/>
                      </a:lnTo>
                      <a:lnTo>
                        <a:pt x="95" y="37"/>
                      </a:lnTo>
                      <a:lnTo>
                        <a:pt x="95" y="34"/>
                      </a:lnTo>
                      <a:lnTo>
                        <a:pt x="95" y="31"/>
                      </a:lnTo>
                      <a:lnTo>
                        <a:pt x="94" y="28"/>
                      </a:lnTo>
                      <a:lnTo>
                        <a:pt x="94" y="23"/>
                      </a:lnTo>
                      <a:lnTo>
                        <a:pt x="92" y="15"/>
                      </a:lnTo>
                      <a:lnTo>
                        <a:pt x="91" y="12"/>
                      </a:lnTo>
                      <a:lnTo>
                        <a:pt x="89" y="10"/>
                      </a:lnTo>
                      <a:lnTo>
                        <a:pt x="87" y="8"/>
                      </a:lnTo>
                      <a:lnTo>
                        <a:pt x="86" y="5"/>
                      </a:lnTo>
                      <a:lnTo>
                        <a:pt x="84" y="2"/>
                      </a:lnTo>
                      <a:lnTo>
                        <a:pt x="82" y="3"/>
                      </a:lnTo>
                      <a:lnTo>
                        <a:pt x="84" y="0"/>
                      </a:lnTo>
                      <a:lnTo>
                        <a:pt x="80" y="0"/>
                      </a:lnTo>
                      <a:lnTo>
                        <a:pt x="80" y="2"/>
                      </a:lnTo>
                      <a:lnTo>
                        <a:pt x="78" y="5"/>
                      </a:lnTo>
                      <a:lnTo>
                        <a:pt x="76" y="4"/>
                      </a:lnTo>
                      <a:lnTo>
                        <a:pt x="77" y="6"/>
                      </a:lnTo>
                      <a:lnTo>
                        <a:pt x="78" y="10"/>
                      </a:lnTo>
                      <a:lnTo>
                        <a:pt x="77" y="12"/>
                      </a:lnTo>
                      <a:lnTo>
                        <a:pt x="77" y="13"/>
                      </a:lnTo>
                      <a:lnTo>
                        <a:pt x="77" y="17"/>
                      </a:lnTo>
                      <a:lnTo>
                        <a:pt x="74" y="19"/>
                      </a:lnTo>
                      <a:lnTo>
                        <a:pt x="71" y="20"/>
                      </a:lnTo>
                      <a:lnTo>
                        <a:pt x="69" y="22"/>
                      </a:lnTo>
                      <a:lnTo>
                        <a:pt x="67" y="21"/>
                      </a:lnTo>
                      <a:lnTo>
                        <a:pt x="63" y="21"/>
                      </a:lnTo>
                      <a:lnTo>
                        <a:pt x="63" y="23"/>
                      </a:lnTo>
                      <a:lnTo>
                        <a:pt x="65" y="26"/>
                      </a:lnTo>
                      <a:lnTo>
                        <a:pt x="66" y="28"/>
                      </a:lnTo>
                      <a:lnTo>
                        <a:pt x="63" y="30"/>
                      </a:lnTo>
                      <a:lnTo>
                        <a:pt x="61" y="31"/>
                      </a:lnTo>
                      <a:lnTo>
                        <a:pt x="62" y="35"/>
                      </a:lnTo>
                      <a:lnTo>
                        <a:pt x="65" y="35"/>
                      </a:lnTo>
                      <a:lnTo>
                        <a:pt x="65" y="37"/>
                      </a:lnTo>
                      <a:lnTo>
                        <a:pt x="63" y="36"/>
                      </a:lnTo>
                      <a:lnTo>
                        <a:pt x="61" y="37"/>
                      </a:lnTo>
                      <a:lnTo>
                        <a:pt x="57" y="42"/>
                      </a:lnTo>
                      <a:lnTo>
                        <a:pt x="58" y="37"/>
                      </a:lnTo>
                      <a:lnTo>
                        <a:pt x="56" y="38"/>
                      </a:lnTo>
                      <a:lnTo>
                        <a:pt x="54" y="42"/>
                      </a:lnTo>
                      <a:lnTo>
                        <a:pt x="52" y="44"/>
                      </a:lnTo>
                      <a:lnTo>
                        <a:pt x="54" y="46"/>
                      </a:lnTo>
                      <a:lnTo>
                        <a:pt x="54" y="47"/>
                      </a:lnTo>
                      <a:lnTo>
                        <a:pt x="53" y="47"/>
                      </a:lnTo>
                      <a:lnTo>
                        <a:pt x="52" y="47"/>
                      </a:lnTo>
                      <a:lnTo>
                        <a:pt x="51" y="46"/>
                      </a:lnTo>
                      <a:lnTo>
                        <a:pt x="51" y="44"/>
                      </a:lnTo>
                      <a:lnTo>
                        <a:pt x="45" y="47"/>
                      </a:lnTo>
                      <a:lnTo>
                        <a:pt x="42" y="49"/>
                      </a:lnTo>
                      <a:lnTo>
                        <a:pt x="42" y="52"/>
                      </a:lnTo>
                      <a:lnTo>
                        <a:pt x="44" y="54"/>
                      </a:lnTo>
                      <a:lnTo>
                        <a:pt x="43" y="54"/>
                      </a:lnTo>
                      <a:lnTo>
                        <a:pt x="42" y="54"/>
                      </a:lnTo>
                      <a:lnTo>
                        <a:pt x="42" y="53"/>
                      </a:lnTo>
                      <a:lnTo>
                        <a:pt x="41" y="51"/>
                      </a:lnTo>
                      <a:lnTo>
                        <a:pt x="37" y="53"/>
                      </a:lnTo>
                      <a:lnTo>
                        <a:pt x="34" y="52"/>
                      </a:lnTo>
                      <a:lnTo>
                        <a:pt x="28" y="56"/>
                      </a:lnTo>
                      <a:lnTo>
                        <a:pt x="26" y="54"/>
                      </a:lnTo>
                      <a:lnTo>
                        <a:pt x="24" y="57"/>
                      </a:lnTo>
                      <a:lnTo>
                        <a:pt x="22" y="57"/>
                      </a:lnTo>
                      <a:lnTo>
                        <a:pt x="19" y="57"/>
                      </a:lnTo>
                      <a:lnTo>
                        <a:pt x="16" y="57"/>
                      </a:lnTo>
                      <a:lnTo>
                        <a:pt x="16" y="60"/>
                      </a:lnTo>
                      <a:lnTo>
                        <a:pt x="16" y="63"/>
                      </a:lnTo>
                      <a:lnTo>
                        <a:pt x="16" y="65"/>
                      </a:lnTo>
                      <a:lnTo>
                        <a:pt x="12" y="70"/>
                      </a:lnTo>
                      <a:lnTo>
                        <a:pt x="9" y="75"/>
                      </a:lnTo>
                      <a:lnTo>
                        <a:pt x="10" y="80"/>
                      </a:lnTo>
                      <a:lnTo>
                        <a:pt x="10" y="82"/>
                      </a:lnTo>
                      <a:lnTo>
                        <a:pt x="11" y="88"/>
                      </a:lnTo>
                      <a:lnTo>
                        <a:pt x="14" y="94"/>
                      </a:lnTo>
                      <a:lnTo>
                        <a:pt x="14" y="96"/>
                      </a:lnTo>
                      <a:lnTo>
                        <a:pt x="14" y="99"/>
                      </a:lnTo>
                      <a:lnTo>
                        <a:pt x="16" y="102"/>
                      </a:lnTo>
                      <a:lnTo>
                        <a:pt x="16" y="102"/>
                      </a:lnTo>
                      <a:lnTo>
                        <a:pt x="17" y="105"/>
                      </a:lnTo>
                      <a:lnTo>
                        <a:pt x="16" y="106"/>
                      </a:lnTo>
                      <a:lnTo>
                        <a:pt x="16" y="108"/>
                      </a:lnTo>
                      <a:lnTo>
                        <a:pt x="16" y="109"/>
                      </a:lnTo>
                      <a:lnTo>
                        <a:pt x="17" y="111"/>
                      </a:lnTo>
                      <a:lnTo>
                        <a:pt x="16" y="112"/>
                      </a:lnTo>
                      <a:lnTo>
                        <a:pt x="14" y="115"/>
                      </a:lnTo>
                      <a:lnTo>
                        <a:pt x="11" y="121"/>
                      </a:lnTo>
                      <a:lnTo>
                        <a:pt x="9" y="124"/>
                      </a:lnTo>
                      <a:lnTo>
                        <a:pt x="8" y="126"/>
                      </a:lnTo>
                      <a:lnTo>
                        <a:pt x="7" y="130"/>
                      </a:lnTo>
                      <a:lnTo>
                        <a:pt x="5" y="129"/>
                      </a:lnTo>
                      <a:lnTo>
                        <a:pt x="3" y="131"/>
                      </a:lnTo>
                      <a:lnTo>
                        <a:pt x="3" y="133"/>
                      </a:lnTo>
                      <a:lnTo>
                        <a:pt x="1" y="137"/>
                      </a:lnTo>
                      <a:lnTo>
                        <a:pt x="0" y="141"/>
                      </a:lnTo>
                      <a:lnTo>
                        <a:pt x="0"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45" name="Freeform 107">
                  <a:extLst>
                    <a:ext uri="{FF2B5EF4-FFF2-40B4-BE49-F238E27FC236}">
                      <a16:creationId xmlns:a16="http://schemas.microsoft.com/office/drawing/2014/main" id="{277F6214-2AB9-B99A-A00F-2E3E14BCD0B6}"/>
                    </a:ext>
                  </a:extLst>
                </p:cNvPr>
                <p:cNvSpPr>
                  <a:spLocks/>
                </p:cNvSpPr>
                <p:nvPr/>
              </p:nvSpPr>
              <p:spPr bwMode="auto">
                <a:xfrm>
                  <a:off x="4301" y="1341"/>
                  <a:ext cx="51" cy="14"/>
                </a:xfrm>
                <a:custGeom>
                  <a:avLst/>
                  <a:gdLst>
                    <a:gd name="T0" fmla="*/ 0 w 51"/>
                    <a:gd name="T1" fmla="*/ 8 h 14"/>
                    <a:gd name="T2" fmla="*/ 0 w 51"/>
                    <a:gd name="T3" fmla="*/ 9 h 14"/>
                    <a:gd name="T4" fmla="*/ 3 w 51"/>
                    <a:gd name="T5" fmla="*/ 9 h 14"/>
                    <a:gd name="T6" fmla="*/ 9 w 51"/>
                    <a:gd name="T7" fmla="*/ 10 h 14"/>
                    <a:gd name="T8" fmla="*/ 11 w 51"/>
                    <a:gd name="T9" fmla="*/ 10 h 14"/>
                    <a:gd name="T10" fmla="*/ 15 w 51"/>
                    <a:gd name="T11" fmla="*/ 11 h 14"/>
                    <a:gd name="T12" fmla="*/ 15 w 51"/>
                    <a:gd name="T13" fmla="*/ 14 h 14"/>
                    <a:gd name="T14" fmla="*/ 18 w 51"/>
                    <a:gd name="T15" fmla="*/ 14 h 14"/>
                    <a:gd name="T16" fmla="*/ 22 w 51"/>
                    <a:gd name="T17" fmla="*/ 10 h 14"/>
                    <a:gd name="T18" fmla="*/ 26 w 51"/>
                    <a:gd name="T19" fmla="*/ 10 h 14"/>
                    <a:gd name="T20" fmla="*/ 32 w 51"/>
                    <a:gd name="T21" fmla="*/ 7 h 14"/>
                    <a:gd name="T22" fmla="*/ 34 w 51"/>
                    <a:gd name="T23" fmla="*/ 4 h 14"/>
                    <a:gd name="T24" fmla="*/ 37 w 51"/>
                    <a:gd name="T25" fmla="*/ 3 h 14"/>
                    <a:gd name="T26" fmla="*/ 43 w 51"/>
                    <a:gd name="T27" fmla="*/ 7 h 14"/>
                    <a:gd name="T28" fmla="*/ 51 w 51"/>
                    <a:gd name="T29" fmla="*/ 8 h 14"/>
                    <a:gd name="T30" fmla="*/ 50 w 51"/>
                    <a:gd name="T31" fmla="*/ 6 h 14"/>
                    <a:gd name="T32" fmla="*/ 48 w 51"/>
                    <a:gd name="T33" fmla="*/ 2 h 14"/>
                    <a:gd name="T34" fmla="*/ 46 w 51"/>
                    <a:gd name="T35" fmla="*/ 1 h 14"/>
                    <a:gd name="T36" fmla="*/ 39 w 51"/>
                    <a:gd name="T37" fmla="*/ 2 h 14"/>
                    <a:gd name="T38" fmla="*/ 34 w 51"/>
                    <a:gd name="T39" fmla="*/ 0 h 14"/>
                    <a:gd name="T40" fmla="*/ 32 w 51"/>
                    <a:gd name="T41" fmla="*/ 1 h 14"/>
                    <a:gd name="T42" fmla="*/ 28 w 51"/>
                    <a:gd name="T43" fmla="*/ 3 h 14"/>
                    <a:gd name="T44" fmla="*/ 26 w 51"/>
                    <a:gd name="T45" fmla="*/ 3 h 14"/>
                    <a:gd name="T46" fmla="*/ 22 w 51"/>
                    <a:gd name="T47" fmla="*/ 3 h 14"/>
                    <a:gd name="T48" fmla="*/ 17 w 51"/>
                    <a:gd name="T49" fmla="*/ 6 h 14"/>
                    <a:gd name="T50" fmla="*/ 0 w 51"/>
                    <a:gd name="T51" fmla="*/ 8 h 14"/>
                    <a:gd name="T52" fmla="*/ 0 w 51"/>
                    <a:gd name="T53"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14">
                      <a:moveTo>
                        <a:pt x="0" y="8"/>
                      </a:moveTo>
                      <a:lnTo>
                        <a:pt x="0" y="9"/>
                      </a:lnTo>
                      <a:lnTo>
                        <a:pt x="3" y="9"/>
                      </a:lnTo>
                      <a:lnTo>
                        <a:pt x="9" y="10"/>
                      </a:lnTo>
                      <a:lnTo>
                        <a:pt x="11" y="10"/>
                      </a:lnTo>
                      <a:lnTo>
                        <a:pt x="15" y="11"/>
                      </a:lnTo>
                      <a:lnTo>
                        <a:pt x="15" y="14"/>
                      </a:lnTo>
                      <a:lnTo>
                        <a:pt x="18" y="14"/>
                      </a:lnTo>
                      <a:lnTo>
                        <a:pt x="22" y="10"/>
                      </a:lnTo>
                      <a:lnTo>
                        <a:pt x="26" y="10"/>
                      </a:lnTo>
                      <a:lnTo>
                        <a:pt x="32" y="7"/>
                      </a:lnTo>
                      <a:lnTo>
                        <a:pt x="34" y="4"/>
                      </a:lnTo>
                      <a:lnTo>
                        <a:pt x="37" y="3"/>
                      </a:lnTo>
                      <a:lnTo>
                        <a:pt x="43" y="7"/>
                      </a:lnTo>
                      <a:lnTo>
                        <a:pt x="51" y="8"/>
                      </a:lnTo>
                      <a:lnTo>
                        <a:pt x="50" y="6"/>
                      </a:lnTo>
                      <a:lnTo>
                        <a:pt x="48" y="2"/>
                      </a:lnTo>
                      <a:lnTo>
                        <a:pt x="46" y="1"/>
                      </a:lnTo>
                      <a:lnTo>
                        <a:pt x="39" y="2"/>
                      </a:lnTo>
                      <a:lnTo>
                        <a:pt x="34" y="0"/>
                      </a:lnTo>
                      <a:lnTo>
                        <a:pt x="32" y="1"/>
                      </a:lnTo>
                      <a:lnTo>
                        <a:pt x="28" y="3"/>
                      </a:lnTo>
                      <a:lnTo>
                        <a:pt x="26" y="3"/>
                      </a:lnTo>
                      <a:lnTo>
                        <a:pt x="22" y="3"/>
                      </a:lnTo>
                      <a:lnTo>
                        <a:pt x="17" y="6"/>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46" name="Freeform 108">
                  <a:extLst>
                    <a:ext uri="{FF2B5EF4-FFF2-40B4-BE49-F238E27FC236}">
                      <a16:creationId xmlns:a16="http://schemas.microsoft.com/office/drawing/2014/main" id="{821EBCD2-6B40-B77E-7197-7EFD0B0C724E}"/>
                    </a:ext>
                  </a:extLst>
                </p:cNvPr>
                <p:cNvSpPr>
                  <a:spLocks/>
                </p:cNvSpPr>
                <p:nvPr/>
              </p:nvSpPr>
              <p:spPr bwMode="auto">
                <a:xfrm>
                  <a:off x="4325" y="1340"/>
                  <a:ext cx="68" cy="26"/>
                </a:xfrm>
                <a:custGeom>
                  <a:avLst/>
                  <a:gdLst>
                    <a:gd name="T0" fmla="*/ 14 w 68"/>
                    <a:gd name="T1" fmla="*/ 26 h 26"/>
                    <a:gd name="T2" fmla="*/ 23 w 68"/>
                    <a:gd name="T3" fmla="*/ 25 h 26"/>
                    <a:gd name="T4" fmla="*/ 29 w 68"/>
                    <a:gd name="T5" fmla="*/ 24 h 26"/>
                    <a:gd name="T6" fmla="*/ 28 w 68"/>
                    <a:gd name="T7" fmla="*/ 19 h 26"/>
                    <a:gd name="T8" fmla="*/ 39 w 68"/>
                    <a:gd name="T9" fmla="*/ 17 h 26"/>
                    <a:gd name="T10" fmla="*/ 41 w 68"/>
                    <a:gd name="T11" fmla="*/ 13 h 26"/>
                    <a:gd name="T12" fmla="*/ 55 w 68"/>
                    <a:gd name="T13" fmla="*/ 11 h 26"/>
                    <a:gd name="T14" fmla="*/ 62 w 68"/>
                    <a:gd name="T15" fmla="*/ 9 h 26"/>
                    <a:gd name="T16" fmla="*/ 68 w 68"/>
                    <a:gd name="T17" fmla="*/ 8 h 26"/>
                    <a:gd name="T18" fmla="*/ 61 w 68"/>
                    <a:gd name="T19" fmla="*/ 3 h 26"/>
                    <a:gd name="T20" fmla="*/ 53 w 68"/>
                    <a:gd name="T21" fmla="*/ 4 h 26"/>
                    <a:gd name="T22" fmla="*/ 51 w 68"/>
                    <a:gd name="T23" fmla="*/ 3 h 26"/>
                    <a:gd name="T24" fmla="*/ 56 w 68"/>
                    <a:gd name="T25" fmla="*/ 0 h 26"/>
                    <a:gd name="T26" fmla="*/ 45 w 68"/>
                    <a:gd name="T27" fmla="*/ 1 h 26"/>
                    <a:gd name="T28" fmla="*/ 45 w 68"/>
                    <a:gd name="T29" fmla="*/ 0 h 26"/>
                    <a:gd name="T30" fmla="*/ 39 w 68"/>
                    <a:gd name="T31" fmla="*/ 1 h 26"/>
                    <a:gd name="T32" fmla="*/ 34 w 68"/>
                    <a:gd name="T33" fmla="*/ 5 h 26"/>
                    <a:gd name="T34" fmla="*/ 39 w 68"/>
                    <a:gd name="T35" fmla="*/ 5 h 26"/>
                    <a:gd name="T36" fmla="*/ 36 w 68"/>
                    <a:gd name="T37" fmla="*/ 8 h 26"/>
                    <a:gd name="T38" fmla="*/ 31 w 68"/>
                    <a:gd name="T39" fmla="*/ 12 h 26"/>
                    <a:gd name="T40" fmla="*/ 26 w 68"/>
                    <a:gd name="T41" fmla="*/ 12 h 26"/>
                    <a:gd name="T42" fmla="*/ 20 w 68"/>
                    <a:gd name="T43" fmla="*/ 11 h 26"/>
                    <a:gd name="T44" fmla="*/ 9 w 68"/>
                    <a:gd name="T45" fmla="*/ 15 h 26"/>
                    <a:gd name="T46" fmla="*/ 18 w 68"/>
                    <a:gd name="T47" fmla="*/ 13 h 26"/>
                    <a:gd name="T48" fmla="*/ 14 w 68"/>
                    <a:gd name="T49" fmla="*/ 16 h 26"/>
                    <a:gd name="T50" fmla="*/ 14 w 68"/>
                    <a:gd name="T51" fmla="*/ 19 h 26"/>
                    <a:gd name="T52" fmla="*/ 3 w 68"/>
                    <a:gd name="T53" fmla="*/ 17 h 26"/>
                    <a:gd name="T54" fmla="*/ 1 w 68"/>
                    <a:gd name="T55" fmla="*/ 20 h 26"/>
                    <a:gd name="T56" fmla="*/ 10 w 68"/>
                    <a:gd name="T57" fmla="*/ 21 h 26"/>
                    <a:gd name="T58" fmla="*/ 15 w 68"/>
                    <a:gd name="T59" fmla="*/ 20 h 26"/>
                    <a:gd name="T60" fmla="*/ 15 w 68"/>
                    <a:gd name="T61" fmla="*/ 22 h 26"/>
                    <a:gd name="T62" fmla="*/ 12 w 68"/>
                    <a:gd name="T63"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 h="26">
                      <a:moveTo>
                        <a:pt x="12" y="25"/>
                      </a:moveTo>
                      <a:lnTo>
                        <a:pt x="14" y="26"/>
                      </a:lnTo>
                      <a:lnTo>
                        <a:pt x="20" y="25"/>
                      </a:lnTo>
                      <a:lnTo>
                        <a:pt x="23" y="25"/>
                      </a:lnTo>
                      <a:lnTo>
                        <a:pt x="23" y="22"/>
                      </a:lnTo>
                      <a:lnTo>
                        <a:pt x="29" y="24"/>
                      </a:lnTo>
                      <a:lnTo>
                        <a:pt x="31" y="21"/>
                      </a:lnTo>
                      <a:lnTo>
                        <a:pt x="28" y="19"/>
                      </a:lnTo>
                      <a:lnTo>
                        <a:pt x="28" y="17"/>
                      </a:lnTo>
                      <a:lnTo>
                        <a:pt x="39" y="17"/>
                      </a:lnTo>
                      <a:lnTo>
                        <a:pt x="43" y="16"/>
                      </a:lnTo>
                      <a:lnTo>
                        <a:pt x="41" y="13"/>
                      </a:lnTo>
                      <a:lnTo>
                        <a:pt x="46" y="12"/>
                      </a:lnTo>
                      <a:lnTo>
                        <a:pt x="55" y="11"/>
                      </a:lnTo>
                      <a:lnTo>
                        <a:pt x="58" y="11"/>
                      </a:lnTo>
                      <a:lnTo>
                        <a:pt x="62" y="9"/>
                      </a:lnTo>
                      <a:lnTo>
                        <a:pt x="64" y="9"/>
                      </a:lnTo>
                      <a:lnTo>
                        <a:pt x="68" y="8"/>
                      </a:lnTo>
                      <a:lnTo>
                        <a:pt x="64" y="5"/>
                      </a:lnTo>
                      <a:lnTo>
                        <a:pt x="61" y="3"/>
                      </a:lnTo>
                      <a:lnTo>
                        <a:pt x="55" y="4"/>
                      </a:lnTo>
                      <a:lnTo>
                        <a:pt x="53" y="4"/>
                      </a:lnTo>
                      <a:lnTo>
                        <a:pt x="49" y="5"/>
                      </a:lnTo>
                      <a:lnTo>
                        <a:pt x="51" y="3"/>
                      </a:lnTo>
                      <a:lnTo>
                        <a:pt x="57" y="2"/>
                      </a:lnTo>
                      <a:lnTo>
                        <a:pt x="56" y="0"/>
                      </a:lnTo>
                      <a:lnTo>
                        <a:pt x="47" y="1"/>
                      </a:lnTo>
                      <a:lnTo>
                        <a:pt x="45" y="1"/>
                      </a:lnTo>
                      <a:lnTo>
                        <a:pt x="48" y="0"/>
                      </a:lnTo>
                      <a:lnTo>
                        <a:pt x="45" y="0"/>
                      </a:lnTo>
                      <a:lnTo>
                        <a:pt x="43" y="0"/>
                      </a:lnTo>
                      <a:lnTo>
                        <a:pt x="39" y="1"/>
                      </a:lnTo>
                      <a:lnTo>
                        <a:pt x="31" y="3"/>
                      </a:lnTo>
                      <a:lnTo>
                        <a:pt x="34" y="5"/>
                      </a:lnTo>
                      <a:lnTo>
                        <a:pt x="37" y="5"/>
                      </a:lnTo>
                      <a:lnTo>
                        <a:pt x="39" y="5"/>
                      </a:lnTo>
                      <a:lnTo>
                        <a:pt x="39" y="8"/>
                      </a:lnTo>
                      <a:lnTo>
                        <a:pt x="36" y="8"/>
                      </a:lnTo>
                      <a:lnTo>
                        <a:pt x="34" y="10"/>
                      </a:lnTo>
                      <a:lnTo>
                        <a:pt x="31" y="12"/>
                      </a:lnTo>
                      <a:lnTo>
                        <a:pt x="28" y="12"/>
                      </a:lnTo>
                      <a:lnTo>
                        <a:pt x="26" y="12"/>
                      </a:lnTo>
                      <a:lnTo>
                        <a:pt x="22" y="10"/>
                      </a:lnTo>
                      <a:lnTo>
                        <a:pt x="20" y="11"/>
                      </a:lnTo>
                      <a:lnTo>
                        <a:pt x="17" y="11"/>
                      </a:lnTo>
                      <a:lnTo>
                        <a:pt x="9" y="15"/>
                      </a:lnTo>
                      <a:lnTo>
                        <a:pt x="14" y="13"/>
                      </a:lnTo>
                      <a:lnTo>
                        <a:pt x="18" y="13"/>
                      </a:lnTo>
                      <a:lnTo>
                        <a:pt x="20" y="15"/>
                      </a:lnTo>
                      <a:lnTo>
                        <a:pt x="14" y="16"/>
                      </a:lnTo>
                      <a:lnTo>
                        <a:pt x="17" y="17"/>
                      </a:lnTo>
                      <a:lnTo>
                        <a:pt x="14" y="19"/>
                      </a:lnTo>
                      <a:lnTo>
                        <a:pt x="6" y="19"/>
                      </a:lnTo>
                      <a:lnTo>
                        <a:pt x="3" y="17"/>
                      </a:lnTo>
                      <a:lnTo>
                        <a:pt x="0" y="18"/>
                      </a:lnTo>
                      <a:lnTo>
                        <a:pt x="1" y="20"/>
                      </a:lnTo>
                      <a:lnTo>
                        <a:pt x="4" y="22"/>
                      </a:lnTo>
                      <a:lnTo>
                        <a:pt x="10" y="21"/>
                      </a:lnTo>
                      <a:lnTo>
                        <a:pt x="12" y="20"/>
                      </a:lnTo>
                      <a:lnTo>
                        <a:pt x="15" y="20"/>
                      </a:lnTo>
                      <a:lnTo>
                        <a:pt x="18" y="22"/>
                      </a:lnTo>
                      <a:lnTo>
                        <a:pt x="15" y="22"/>
                      </a:lnTo>
                      <a:lnTo>
                        <a:pt x="12" y="25"/>
                      </a:lnTo>
                      <a:lnTo>
                        <a:pt x="12" y="25"/>
                      </a:lnTo>
                      <a:lnTo>
                        <a:pt x="12"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47" name="Freeform 109">
                  <a:extLst>
                    <a:ext uri="{FF2B5EF4-FFF2-40B4-BE49-F238E27FC236}">
                      <a16:creationId xmlns:a16="http://schemas.microsoft.com/office/drawing/2014/main" id="{BC2346B6-488A-1DBD-30F2-097D3706FAF6}"/>
                    </a:ext>
                  </a:extLst>
                </p:cNvPr>
                <p:cNvSpPr>
                  <a:spLocks/>
                </p:cNvSpPr>
                <p:nvPr/>
              </p:nvSpPr>
              <p:spPr bwMode="auto">
                <a:xfrm>
                  <a:off x="4365" y="1361"/>
                  <a:ext cx="7" cy="6"/>
                </a:xfrm>
                <a:custGeom>
                  <a:avLst/>
                  <a:gdLst>
                    <a:gd name="T0" fmla="*/ 3 w 7"/>
                    <a:gd name="T1" fmla="*/ 5 h 6"/>
                    <a:gd name="T2" fmla="*/ 3 w 7"/>
                    <a:gd name="T3" fmla="*/ 6 h 6"/>
                    <a:gd name="T4" fmla="*/ 6 w 7"/>
                    <a:gd name="T5" fmla="*/ 4 h 6"/>
                    <a:gd name="T6" fmla="*/ 7 w 7"/>
                    <a:gd name="T7" fmla="*/ 0 h 6"/>
                    <a:gd name="T8" fmla="*/ 5 w 7"/>
                    <a:gd name="T9" fmla="*/ 0 h 6"/>
                    <a:gd name="T10" fmla="*/ 1 w 7"/>
                    <a:gd name="T11" fmla="*/ 0 h 6"/>
                    <a:gd name="T12" fmla="*/ 0 w 7"/>
                    <a:gd name="T13" fmla="*/ 4 h 6"/>
                    <a:gd name="T14" fmla="*/ 3 w 7"/>
                    <a:gd name="T15" fmla="*/ 5 h 6"/>
                    <a:gd name="T16" fmla="*/ 3 w 7"/>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3" y="5"/>
                      </a:moveTo>
                      <a:lnTo>
                        <a:pt x="3" y="6"/>
                      </a:lnTo>
                      <a:lnTo>
                        <a:pt x="6" y="4"/>
                      </a:lnTo>
                      <a:lnTo>
                        <a:pt x="7" y="0"/>
                      </a:lnTo>
                      <a:lnTo>
                        <a:pt x="5" y="0"/>
                      </a:lnTo>
                      <a:lnTo>
                        <a:pt x="1" y="0"/>
                      </a:lnTo>
                      <a:lnTo>
                        <a:pt x="0" y="4"/>
                      </a:lnTo>
                      <a:lnTo>
                        <a:pt x="3"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48" name="Freeform 110">
                  <a:extLst>
                    <a:ext uri="{FF2B5EF4-FFF2-40B4-BE49-F238E27FC236}">
                      <a16:creationId xmlns:a16="http://schemas.microsoft.com/office/drawing/2014/main" id="{4DDDF74B-F0E7-C78D-5AD0-37259B8F46F1}"/>
                    </a:ext>
                  </a:extLst>
                </p:cNvPr>
                <p:cNvSpPr>
                  <a:spLocks/>
                </p:cNvSpPr>
                <p:nvPr/>
              </p:nvSpPr>
              <p:spPr bwMode="auto">
                <a:xfrm>
                  <a:off x="4371" y="1365"/>
                  <a:ext cx="18" cy="5"/>
                </a:xfrm>
                <a:custGeom>
                  <a:avLst/>
                  <a:gdLst>
                    <a:gd name="T0" fmla="*/ 7 w 18"/>
                    <a:gd name="T1" fmla="*/ 3 h 5"/>
                    <a:gd name="T2" fmla="*/ 6 w 18"/>
                    <a:gd name="T3" fmla="*/ 4 h 5"/>
                    <a:gd name="T4" fmla="*/ 2 w 18"/>
                    <a:gd name="T5" fmla="*/ 3 h 5"/>
                    <a:gd name="T6" fmla="*/ 0 w 18"/>
                    <a:gd name="T7" fmla="*/ 4 h 5"/>
                    <a:gd name="T8" fmla="*/ 3 w 18"/>
                    <a:gd name="T9" fmla="*/ 5 h 5"/>
                    <a:gd name="T10" fmla="*/ 15 w 18"/>
                    <a:gd name="T11" fmla="*/ 5 h 5"/>
                    <a:gd name="T12" fmla="*/ 18 w 18"/>
                    <a:gd name="T13" fmla="*/ 5 h 5"/>
                    <a:gd name="T14" fmla="*/ 15 w 18"/>
                    <a:gd name="T15" fmla="*/ 3 h 5"/>
                    <a:gd name="T16" fmla="*/ 15 w 18"/>
                    <a:gd name="T17" fmla="*/ 2 h 5"/>
                    <a:gd name="T18" fmla="*/ 12 w 18"/>
                    <a:gd name="T19" fmla="*/ 0 h 5"/>
                    <a:gd name="T20" fmla="*/ 9 w 18"/>
                    <a:gd name="T21" fmla="*/ 2 h 5"/>
                    <a:gd name="T22" fmla="*/ 7 w 18"/>
                    <a:gd name="T23" fmla="*/ 3 h 5"/>
                    <a:gd name="T24" fmla="*/ 7 w 18"/>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5">
                      <a:moveTo>
                        <a:pt x="7" y="3"/>
                      </a:moveTo>
                      <a:lnTo>
                        <a:pt x="6" y="4"/>
                      </a:lnTo>
                      <a:lnTo>
                        <a:pt x="2" y="3"/>
                      </a:lnTo>
                      <a:lnTo>
                        <a:pt x="0" y="4"/>
                      </a:lnTo>
                      <a:lnTo>
                        <a:pt x="3" y="5"/>
                      </a:lnTo>
                      <a:lnTo>
                        <a:pt x="15" y="5"/>
                      </a:lnTo>
                      <a:lnTo>
                        <a:pt x="18" y="5"/>
                      </a:lnTo>
                      <a:lnTo>
                        <a:pt x="15" y="3"/>
                      </a:lnTo>
                      <a:lnTo>
                        <a:pt x="15" y="2"/>
                      </a:lnTo>
                      <a:lnTo>
                        <a:pt x="12" y="0"/>
                      </a:lnTo>
                      <a:lnTo>
                        <a:pt x="9" y="2"/>
                      </a:lnTo>
                      <a:lnTo>
                        <a:pt x="7" y="3"/>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49" name="Freeform 111">
                  <a:extLst>
                    <a:ext uri="{FF2B5EF4-FFF2-40B4-BE49-F238E27FC236}">
                      <a16:creationId xmlns:a16="http://schemas.microsoft.com/office/drawing/2014/main" id="{D8E8E4DA-A472-C601-565A-8BFA7DD55DF8}"/>
                    </a:ext>
                  </a:extLst>
                </p:cNvPr>
                <p:cNvSpPr>
                  <a:spLocks/>
                </p:cNvSpPr>
                <p:nvPr/>
              </p:nvSpPr>
              <p:spPr bwMode="auto">
                <a:xfrm>
                  <a:off x="4374" y="1332"/>
                  <a:ext cx="8" cy="4"/>
                </a:xfrm>
                <a:custGeom>
                  <a:avLst/>
                  <a:gdLst>
                    <a:gd name="T0" fmla="*/ 2 w 8"/>
                    <a:gd name="T1" fmla="*/ 3 h 4"/>
                    <a:gd name="T2" fmla="*/ 0 w 8"/>
                    <a:gd name="T3" fmla="*/ 4 h 4"/>
                    <a:gd name="T4" fmla="*/ 6 w 8"/>
                    <a:gd name="T5" fmla="*/ 2 h 4"/>
                    <a:gd name="T6" fmla="*/ 8 w 8"/>
                    <a:gd name="T7" fmla="*/ 1 h 4"/>
                    <a:gd name="T8" fmla="*/ 6 w 8"/>
                    <a:gd name="T9" fmla="*/ 0 h 4"/>
                    <a:gd name="T10" fmla="*/ 4 w 8"/>
                    <a:gd name="T11" fmla="*/ 0 h 4"/>
                    <a:gd name="T12" fmla="*/ 0 w 8"/>
                    <a:gd name="T13" fmla="*/ 1 h 4"/>
                    <a:gd name="T14" fmla="*/ 2 w 8"/>
                    <a:gd name="T15" fmla="*/ 3 h 4"/>
                    <a:gd name="T16" fmla="*/ 2 w 8"/>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2" y="3"/>
                      </a:moveTo>
                      <a:lnTo>
                        <a:pt x="0" y="4"/>
                      </a:lnTo>
                      <a:lnTo>
                        <a:pt x="6" y="2"/>
                      </a:lnTo>
                      <a:lnTo>
                        <a:pt x="8" y="1"/>
                      </a:lnTo>
                      <a:lnTo>
                        <a:pt x="6" y="0"/>
                      </a:lnTo>
                      <a:lnTo>
                        <a:pt x="4" y="0"/>
                      </a:lnTo>
                      <a:lnTo>
                        <a:pt x="0" y="1"/>
                      </a:lnTo>
                      <a:lnTo>
                        <a:pt x="2" y="3"/>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50" name="Freeform 112">
                  <a:extLst>
                    <a:ext uri="{FF2B5EF4-FFF2-40B4-BE49-F238E27FC236}">
                      <a16:creationId xmlns:a16="http://schemas.microsoft.com/office/drawing/2014/main" id="{4EC61C4A-55B7-48FB-7F0D-04AC5F65CF90}"/>
                    </a:ext>
                  </a:extLst>
                </p:cNvPr>
                <p:cNvSpPr>
                  <a:spLocks/>
                </p:cNvSpPr>
                <p:nvPr/>
              </p:nvSpPr>
              <p:spPr bwMode="auto">
                <a:xfrm>
                  <a:off x="4389" y="1458"/>
                  <a:ext cx="239" cy="172"/>
                </a:xfrm>
                <a:custGeom>
                  <a:avLst/>
                  <a:gdLst>
                    <a:gd name="T0" fmla="*/ 24 w 239"/>
                    <a:gd name="T1" fmla="*/ 111 h 172"/>
                    <a:gd name="T2" fmla="*/ 14 w 239"/>
                    <a:gd name="T3" fmla="*/ 117 h 172"/>
                    <a:gd name="T4" fmla="*/ 23 w 239"/>
                    <a:gd name="T5" fmla="*/ 121 h 172"/>
                    <a:gd name="T6" fmla="*/ 14 w 239"/>
                    <a:gd name="T7" fmla="*/ 131 h 172"/>
                    <a:gd name="T8" fmla="*/ 2 w 239"/>
                    <a:gd name="T9" fmla="*/ 134 h 172"/>
                    <a:gd name="T10" fmla="*/ 5 w 239"/>
                    <a:gd name="T11" fmla="*/ 149 h 172"/>
                    <a:gd name="T12" fmla="*/ 21 w 239"/>
                    <a:gd name="T13" fmla="*/ 150 h 172"/>
                    <a:gd name="T14" fmla="*/ 33 w 239"/>
                    <a:gd name="T15" fmla="*/ 150 h 172"/>
                    <a:gd name="T16" fmla="*/ 38 w 239"/>
                    <a:gd name="T17" fmla="*/ 158 h 172"/>
                    <a:gd name="T18" fmla="*/ 26 w 239"/>
                    <a:gd name="T19" fmla="*/ 165 h 172"/>
                    <a:gd name="T20" fmla="*/ 40 w 239"/>
                    <a:gd name="T21" fmla="*/ 167 h 172"/>
                    <a:gd name="T22" fmla="*/ 52 w 239"/>
                    <a:gd name="T23" fmla="*/ 172 h 172"/>
                    <a:gd name="T24" fmla="*/ 60 w 239"/>
                    <a:gd name="T25" fmla="*/ 168 h 172"/>
                    <a:gd name="T26" fmla="*/ 69 w 239"/>
                    <a:gd name="T27" fmla="*/ 167 h 172"/>
                    <a:gd name="T28" fmla="*/ 77 w 239"/>
                    <a:gd name="T29" fmla="*/ 169 h 172"/>
                    <a:gd name="T30" fmla="*/ 65 w 239"/>
                    <a:gd name="T31" fmla="*/ 155 h 172"/>
                    <a:gd name="T32" fmla="*/ 55 w 239"/>
                    <a:gd name="T33" fmla="*/ 135 h 172"/>
                    <a:gd name="T34" fmla="*/ 51 w 239"/>
                    <a:gd name="T35" fmla="*/ 124 h 172"/>
                    <a:gd name="T36" fmla="*/ 60 w 239"/>
                    <a:gd name="T37" fmla="*/ 116 h 172"/>
                    <a:gd name="T38" fmla="*/ 65 w 239"/>
                    <a:gd name="T39" fmla="*/ 111 h 172"/>
                    <a:gd name="T40" fmla="*/ 61 w 239"/>
                    <a:gd name="T41" fmla="*/ 108 h 172"/>
                    <a:gd name="T42" fmla="*/ 59 w 239"/>
                    <a:gd name="T43" fmla="*/ 101 h 172"/>
                    <a:gd name="T44" fmla="*/ 47 w 239"/>
                    <a:gd name="T45" fmla="*/ 98 h 172"/>
                    <a:gd name="T46" fmla="*/ 64 w 239"/>
                    <a:gd name="T47" fmla="*/ 99 h 172"/>
                    <a:gd name="T48" fmla="*/ 78 w 239"/>
                    <a:gd name="T49" fmla="*/ 99 h 172"/>
                    <a:gd name="T50" fmla="*/ 79 w 239"/>
                    <a:gd name="T51" fmla="*/ 95 h 172"/>
                    <a:gd name="T52" fmla="*/ 70 w 239"/>
                    <a:gd name="T53" fmla="*/ 87 h 172"/>
                    <a:gd name="T54" fmla="*/ 87 w 239"/>
                    <a:gd name="T55" fmla="*/ 84 h 172"/>
                    <a:gd name="T56" fmla="*/ 88 w 239"/>
                    <a:gd name="T57" fmla="*/ 83 h 172"/>
                    <a:gd name="T58" fmla="*/ 100 w 239"/>
                    <a:gd name="T59" fmla="*/ 77 h 172"/>
                    <a:gd name="T60" fmla="*/ 105 w 239"/>
                    <a:gd name="T61" fmla="*/ 70 h 172"/>
                    <a:gd name="T62" fmla="*/ 115 w 239"/>
                    <a:gd name="T63" fmla="*/ 64 h 172"/>
                    <a:gd name="T64" fmla="*/ 122 w 239"/>
                    <a:gd name="T65" fmla="*/ 61 h 172"/>
                    <a:gd name="T66" fmla="*/ 117 w 239"/>
                    <a:gd name="T67" fmla="*/ 56 h 172"/>
                    <a:gd name="T68" fmla="*/ 136 w 239"/>
                    <a:gd name="T69" fmla="*/ 49 h 172"/>
                    <a:gd name="T70" fmla="*/ 155 w 239"/>
                    <a:gd name="T71" fmla="*/ 41 h 172"/>
                    <a:gd name="T72" fmla="*/ 170 w 239"/>
                    <a:gd name="T73" fmla="*/ 38 h 172"/>
                    <a:gd name="T74" fmla="*/ 201 w 239"/>
                    <a:gd name="T75" fmla="*/ 30 h 172"/>
                    <a:gd name="T76" fmla="*/ 220 w 239"/>
                    <a:gd name="T77" fmla="*/ 23 h 172"/>
                    <a:gd name="T78" fmla="*/ 237 w 239"/>
                    <a:gd name="T79" fmla="*/ 14 h 172"/>
                    <a:gd name="T80" fmla="*/ 232 w 239"/>
                    <a:gd name="T81" fmla="*/ 2 h 172"/>
                    <a:gd name="T82" fmla="*/ 209 w 239"/>
                    <a:gd name="T83" fmla="*/ 3 h 172"/>
                    <a:gd name="T84" fmla="*/ 190 w 239"/>
                    <a:gd name="T85" fmla="*/ 14 h 172"/>
                    <a:gd name="T86" fmla="*/ 168 w 239"/>
                    <a:gd name="T87" fmla="*/ 19 h 172"/>
                    <a:gd name="T88" fmla="*/ 149 w 239"/>
                    <a:gd name="T89" fmla="*/ 21 h 172"/>
                    <a:gd name="T90" fmla="*/ 132 w 239"/>
                    <a:gd name="T91" fmla="*/ 27 h 172"/>
                    <a:gd name="T92" fmla="*/ 120 w 239"/>
                    <a:gd name="T93" fmla="*/ 29 h 172"/>
                    <a:gd name="T94" fmla="*/ 103 w 239"/>
                    <a:gd name="T95" fmla="*/ 32 h 172"/>
                    <a:gd name="T96" fmla="*/ 85 w 239"/>
                    <a:gd name="T97" fmla="*/ 41 h 172"/>
                    <a:gd name="T98" fmla="*/ 74 w 239"/>
                    <a:gd name="T99" fmla="*/ 47 h 172"/>
                    <a:gd name="T100" fmla="*/ 61 w 239"/>
                    <a:gd name="T101" fmla="*/ 52 h 172"/>
                    <a:gd name="T102" fmla="*/ 72 w 239"/>
                    <a:gd name="T103" fmla="*/ 57 h 172"/>
                    <a:gd name="T104" fmla="*/ 72 w 239"/>
                    <a:gd name="T105" fmla="*/ 65 h 172"/>
                    <a:gd name="T106" fmla="*/ 56 w 239"/>
                    <a:gd name="T107" fmla="*/ 69 h 172"/>
                    <a:gd name="T108" fmla="*/ 52 w 239"/>
                    <a:gd name="T109" fmla="*/ 74 h 172"/>
                    <a:gd name="T110" fmla="*/ 56 w 239"/>
                    <a:gd name="T111" fmla="*/ 78 h 172"/>
                    <a:gd name="T112" fmla="*/ 42 w 239"/>
                    <a:gd name="T113" fmla="*/ 84 h 172"/>
                    <a:gd name="T114" fmla="*/ 33 w 239"/>
                    <a:gd name="T115" fmla="*/ 92 h 172"/>
                    <a:gd name="T116" fmla="*/ 48 w 239"/>
                    <a:gd name="T117" fmla="*/ 91 h 172"/>
                    <a:gd name="T118" fmla="*/ 39 w 239"/>
                    <a:gd name="T119" fmla="*/ 101 h 172"/>
                    <a:gd name="T120" fmla="*/ 28 w 239"/>
                    <a:gd name="T121" fmla="*/ 10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9" h="172">
                      <a:moveTo>
                        <a:pt x="26" y="104"/>
                      </a:moveTo>
                      <a:lnTo>
                        <a:pt x="25" y="105"/>
                      </a:lnTo>
                      <a:lnTo>
                        <a:pt x="24" y="108"/>
                      </a:lnTo>
                      <a:lnTo>
                        <a:pt x="26" y="109"/>
                      </a:lnTo>
                      <a:lnTo>
                        <a:pt x="24" y="111"/>
                      </a:lnTo>
                      <a:lnTo>
                        <a:pt x="26" y="113"/>
                      </a:lnTo>
                      <a:lnTo>
                        <a:pt x="21" y="112"/>
                      </a:lnTo>
                      <a:lnTo>
                        <a:pt x="17" y="113"/>
                      </a:lnTo>
                      <a:lnTo>
                        <a:pt x="15" y="115"/>
                      </a:lnTo>
                      <a:lnTo>
                        <a:pt x="14" y="117"/>
                      </a:lnTo>
                      <a:lnTo>
                        <a:pt x="17" y="118"/>
                      </a:lnTo>
                      <a:lnTo>
                        <a:pt x="19" y="118"/>
                      </a:lnTo>
                      <a:lnTo>
                        <a:pt x="23" y="118"/>
                      </a:lnTo>
                      <a:lnTo>
                        <a:pt x="19" y="121"/>
                      </a:lnTo>
                      <a:lnTo>
                        <a:pt x="23" y="121"/>
                      </a:lnTo>
                      <a:lnTo>
                        <a:pt x="17" y="124"/>
                      </a:lnTo>
                      <a:lnTo>
                        <a:pt x="19" y="126"/>
                      </a:lnTo>
                      <a:lnTo>
                        <a:pt x="16" y="128"/>
                      </a:lnTo>
                      <a:lnTo>
                        <a:pt x="14" y="129"/>
                      </a:lnTo>
                      <a:lnTo>
                        <a:pt x="14" y="131"/>
                      </a:lnTo>
                      <a:lnTo>
                        <a:pt x="13" y="134"/>
                      </a:lnTo>
                      <a:lnTo>
                        <a:pt x="10" y="132"/>
                      </a:lnTo>
                      <a:lnTo>
                        <a:pt x="7" y="133"/>
                      </a:lnTo>
                      <a:lnTo>
                        <a:pt x="5" y="132"/>
                      </a:lnTo>
                      <a:lnTo>
                        <a:pt x="2" y="134"/>
                      </a:lnTo>
                      <a:lnTo>
                        <a:pt x="0" y="137"/>
                      </a:lnTo>
                      <a:lnTo>
                        <a:pt x="0" y="139"/>
                      </a:lnTo>
                      <a:lnTo>
                        <a:pt x="0" y="142"/>
                      </a:lnTo>
                      <a:lnTo>
                        <a:pt x="2" y="148"/>
                      </a:lnTo>
                      <a:lnTo>
                        <a:pt x="5" y="149"/>
                      </a:lnTo>
                      <a:lnTo>
                        <a:pt x="8" y="149"/>
                      </a:lnTo>
                      <a:lnTo>
                        <a:pt x="10" y="147"/>
                      </a:lnTo>
                      <a:lnTo>
                        <a:pt x="17" y="147"/>
                      </a:lnTo>
                      <a:lnTo>
                        <a:pt x="18" y="150"/>
                      </a:lnTo>
                      <a:lnTo>
                        <a:pt x="21" y="150"/>
                      </a:lnTo>
                      <a:lnTo>
                        <a:pt x="26" y="148"/>
                      </a:lnTo>
                      <a:lnTo>
                        <a:pt x="26" y="151"/>
                      </a:lnTo>
                      <a:lnTo>
                        <a:pt x="28" y="154"/>
                      </a:lnTo>
                      <a:lnTo>
                        <a:pt x="31" y="151"/>
                      </a:lnTo>
                      <a:lnTo>
                        <a:pt x="33" y="150"/>
                      </a:lnTo>
                      <a:lnTo>
                        <a:pt x="31" y="152"/>
                      </a:lnTo>
                      <a:lnTo>
                        <a:pt x="27" y="155"/>
                      </a:lnTo>
                      <a:lnTo>
                        <a:pt x="31" y="156"/>
                      </a:lnTo>
                      <a:lnTo>
                        <a:pt x="36" y="156"/>
                      </a:lnTo>
                      <a:lnTo>
                        <a:pt x="38" y="158"/>
                      </a:lnTo>
                      <a:lnTo>
                        <a:pt x="34" y="157"/>
                      </a:lnTo>
                      <a:lnTo>
                        <a:pt x="28" y="160"/>
                      </a:lnTo>
                      <a:lnTo>
                        <a:pt x="32" y="163"/>
                      </a:lnTo>
                      <a:lnTo>
                        <a:pt x="28" y="164"/>
                      </a:lnTo>
                      <a:lnTo>
                        <a:pt x="26" y="165"/>
                      </a:lnTo>
                      <a:lnTo>
                        <a:pt x="28" y="165"/>
                      </a:lnTo>
                      <a:lnTo>
                        <a:pt x="32" y="166"/>
                      </a:lnTo>
                      <a:lnTo>
                        <a:pt x="34" y="166"/>
                      </a:lnTo>
                      <a:lnTo>
                        <a:pt x="38" y="167"/>
                      </a:lnTo>
                      <a:lnTo>
                        <a:pt x="40" y="167"/>
                      </a:lnTo>
                      <a:lnTo>
                        <a:pt x="43" y="169"/>
                      </a:lnTo>
                      <a:lnTo>
                        <a:pt x="45" y="169"/>
                      </a:lnTo>
                      <a:lnTo>
                        <a:pt x="43" y="166"/>
                      </a:lnTo>
                      <a:lnTo>
                        <a:pt x="47" y="169"/>
                      </a:lnTo>
                      <a:lnTo>
                        <a:pt x="52" y="172"/>
                      </a:lnTo>
                      <a:lnTo>
                        <a:pt x="52" y="169"/>
                      </a:lnTo>
                      <a:lnTo>
                        <a:pt x="56" y="167"/>
                      </a:lnTo>
                      <a:lnTo>
                        <a:pt x="58" y="171"/>
                      </a:lnTo>
                      <a:lnTo>
                        <a:pt x="64" y="172"/>
                      </a:lnTo>
                      <a:lnTo>
                        <a:pt x="60" y="168"/>
                      </a:lnTo>
                      <a:lnTo>
                        <a:pt x="66" y="171"/>
                      </a:lnTo>
                      <a:lnTo>
                        <a:pt x="69" y="172"/>
                      </a:lnTo>
                      <a:lnTo>
                        <a:pt x="72" y="171"/>
                      </a:lnTo>
                      <a:lnTo>
                        <a:pt x="66" y="167"/>
                      </a:lnTo>
                      <a:lnTo>
                        <a:pt x="69" y="167"/>
                      </a:lnTo>
                      <a:lnTo>
                        <a:pt x="72" y="169"/>
                      </a:lnTo>
                      <a:lnTo>
                        <a:pt x="74" y="171"/>
                      </a:lnTo>
                      <a:lnTo>
                        <a:pt x="79" y="172"/>
                      </a:lnTo>
                      <a:lnTo>
                        <a:pt x="74" y="169"/>
                      </a:lnTo>
                      <a:lnTo>
                        <a:pt x="77" y="169"/>
                      </a:lnTo>
                      <a:lnTo>
                        <a:pt x="81" y="171"/>
                      </a:lnTo>
                      <a:lnTo>
                        <a:pt x="83" y="169"/>
                      </a:lnTo>
                      <a:lnTo>
                        <a:pt x="84" y="167"/>
                      </a:lnTo>
                      <a:lnTo>
                        <a:pt x="75" y="164"/>
                      </a:lnTo>
                      <a:lnTo>
                        <a:pt x="65" y="155"/>
                      </a:lnTo>
                      <a:lnTo>
                        <a:pt x="62" y="152"/>
                      </a:lnTo>
                      <a:lnTo>
                        <a:pt x="59" y="147"/>
                      </a:lnTo>
                      <a:lnTo>
                        <a:pt x="56" y="141"/>
                      </a:lnTo>
                      <a:lnTo>
                        <a:pt x="56" y="138"/>
                      </a:lnTo>
                      <a:lnTo>
                        <a:pt x="55" y="135"/>
                      </a:lnTo>
                      <a:lnTo>
                        <a:pt x="55" y="133"/>
                      </a:lnTo>
                      <a:lnTo>
                        <a:pt x="57" y="130"/>
                      </a:lnTo>
                      <a:lnTo>
                        <a:pt x="55" y="128"/>
                      </a:lnTo>
                      <a:lnTo>
                        <a:pt x="53" y="124"/>
                      </a:lnTo>
                      <a:lnTo>
                        <a:pt x="51" y="124"/>
                      </a:lnTo>
                      <a:lnTo>
                        <a:pt x="57" y="123"/>
                      </a:lnTo>
                      <a:lnTo>
                        <a:pt x="55" y="121"/>
                      </a:lnTo>
                      <a:lnTo>
                        <a:pt x="58" y="121"/>
                      </a:lnTo>
                      <a:lnTo>
                        <a:pt x="58" y="117"/>
                      </a:lnTo>
                      <a:lnTo>
                        <a:pt x="60" y="116"/>
                      </a:lnTo>
                      <a:lnTo>
                        <a:pt x="55" y="115"/>
                      </a:lnTo>
                      <a:lnTo>
                        <a:pt x="60" y="115"/>
                      </a:lnTo>
                      <a:lnTo>
                        <a:pt x="62" y="116"/>
                      </a:lnTo>
                      <a:lnTo>
                        <a:pt x="66" y="114"/>
                      </a:lnTo>
                      <a:lnTo>
                        <a:pt x="65" y="111"/>
                      </a:lnTo>
                      <a:lnTo>
                        <a:pt x="62" y="112"/>
                      </a:lnTo>
                      <a:lnTo>
                        <a:pt x="59" y="111"/>
                      </a:lnTo>
                      <a:lnTo>
                        <a:pt x="65" y="109"/>
                      </a:lnTo>
                      <a:lnTo>
                        <a:pt x="67" y="108"/>
                      </a:lnTo>
                      <a:lnTo>
                        <a:pt x="61" y="108"/>
                      </a:lnTo>
                      <a:lnTo>
                        <a:pt x="67" y="107"/>
                      </a:lnTo>
                      <a:lnTo>
                        <a:pt x="70" y="106"/>
                      </a:lnTo>
                      <a:lnTo>
                        <a:pt x="67" y="104"/>
                      </a:lnTo>
                      <a:lnTo>
                        <a:pt x="62" y="103"/>
                      </a:lnTo>
                      <a:lnTo>
                        <a:pt x="59" y="101"/>
                      </a:lnTo>
                      <a:lnTo>
                        <a:pt x="53" y="101"/>
                      </a:lnTo>
                      <a:lnTo>
                        <a:pt x="51" y="99"/>
                      </a:lnTo>
                      <a:lnTo>
                        <a:pt x="48" y="99"/>
                      </a:lnTo>
                      <a:lnTo>
                        <a:pt x="43" y="100"/>
                      </a:lnTo>
                      <a:lnTo>
                        <a:pt x="47" y="98"/>
                      </a:lnTo>
                      <a:lnTo>
                        <a:pt x="49" y="98"/>
                      </a:lnTo>
                      <a:lnTo>
                        <a:pt x="55" y="100"/>
                      </a:lnTo>
                      <a:lnTo>
                        <a:pt x="58" y="100"/>
                      </a:lnTo>
                      <a:lnTo>
                        <a:pt x="60" y="101"/>
                      </a:lnTo>
                      <a:lnTo>
                        <a:pt x="64" y="99"/>
                      </a:lnTo>
                      <a:lnTo>
                        <a:pt x="65" y="103"/>
                      </a:lnTo>
                      <a:lnTo>
                        <a:pt x="73" y="103"/>
                      </a:lnTo>
                      <a:lnTo>
                        <a:pt x="73" y="100"/>
                      </a:lnTo>
                      <a:lnTo>
                        <a:pt x="76" y="100"/>
                      </a:lnTo>
                      <a:lnTo>
                        <a:pt x="78" y="99"/>
                      </a:lnTo>
                      <a:lnTo>
                        <a:pt x="78" y="96"/>
                      </a:lnTo>
                      <a:lnTo>
                        <a:pt x="76" y="95"/>
                      </a:lnTo>
                      <a:lnTo>
                        <a:pt x="74" y="92"/>
                      </a:lnTo>
                      <a:lnTo>
                        <a:pt x="76" y="95"/>
                      </a:lnTo>
                      <a:lnTo>
                        <a:pt x="79" y="95"/>
                      </a:lnTo>
                      <a:lnTo>
                        <a:pt x="82" y="95"/>
                      </a:lnTo>
                      <a:lnTo>
                        <a:pt x="85" y="92"/>
                      </a:lnTo>
                      <a:lnTo>
                        <a:pt x="83" y="89"/>
                      </a:lnTo>
                      <a:lnTo>
                        <a:pt x="79" y="88"/>
                      </a:lnTo>
                      <a:lnTo>
                        <a:pt x="70" y="87"/>
                      </a:lnTo>
                      <a:lnTo>
                        <a:pt x="82" y="88"/>
                      </a:lnTo>
                      <a:lnTo>
                        <a:pt x="85" y="90"/>
                      </a:lnTo>
                      <a:lnTo>
                        <a:pt x="87" y="90"/>
                      </a:lnTo>
                      <a:lnTo>
                        <a:pt x="88" y="87"/>
                      </a:lnTo>
                      <a:lnTo>
                        <a:pt x="87" y="84"/>
                      </a:lnTo>
                      <a:lnTo>
                        <a:pt x="84" y="82"/>
                      </a:lnTo>
                      <a:lnTo>
                        <a:pt x="82" y="81"/>
                      </a:lnTo>
                      <a:lnTo>
                        <a:pt x="84" y="79"/>
                      </a:lnTo>
                      <a:lnTo>
                        <a:pt x="86" y="82"/>
                      </a:lnTo>
                      <a:lnTo>
                        <a:pt x="88" y="83"/>
                      </a:lnTo>
                      <a:lnTo>
                        <a:pt x="92" y="81"/>
                      </a:lnTo>
                      <a:lnTo>
                        <a:pt x="94" y="81"/>
                      </a:lnTo>
                      <a:lnTo>
                        <a:pt x="96" y="80"/>
                      </a:lnTo>
                      <a:lnTo>
                        <a:pt x="94" y="79"/>
                      </a:lnTo>
                      <a:lnTo>
                        <a:pt x="100" y="77"/>
                      </a:lnTo>
                      <a:lnTo>
                        <a:pt x="96" y="71"/>
                      </a:lnTo>
                      <a:lnTo>
                        <a:pt x="94" y="69"/>
                      </a:lnTo>
                      <a:lnTo>
                        <a:pt x="100" y="70"/>
                      </a:lnTo>
                      <a:lnTo>
                        <a:pt x="103" y="71"/>
                      </a:lnTo>
                      <a:lnTo>
                        <a:pt x="105" y="70"/>
                      </a:lnTo>
                      <a:lnTo>
                        <a:pt x="107" y="66"/>
                      </a:lnTo>
                      <a:lnTo>
                        <a:pt x="107" y="64"/>
                      </a:lnTo>
                      <a:lnTo>
                        <a:pt x="112" y="68"/>
                      </a:lnTo>
                      <a:lnTo>
                        <a:pt x="115" y="66"/>
                      </a:lnTo>
                      <a:lnTo>
                        <a:pt x="115" y="64"/>
                      </a:lnTo>
                      <a:lnTo>
                        <a:pt x="111" y="62"/>
                      </a:lnTo>
                      <a:lnTo>
                        <a:pt x="115" y="63"/>
                      </a:lnTo>
                      <a:lnTo>
                        <a:pt x="117" y="64"/>
                      </a:lnTo>
                      <a:lnTo>
                        <a:pt x="121" y="63"/>
                      </a:lnTo>
                      <a:lnTo>
                        <a:pt x="122" y="61"/>
                      </a:lnTo>
                      <a:lnTo>
                        <a:pt x="125" y="60"/>
                      </a:lnTo>
                      <a:lnTo>
                        <a:pt x="126" y="57"/>
                      </a:lnTo>
                      <a:lnTo>
                        <a:pt x="120" y="57"/>
                      </a:lnTo>
                      <a:lnTo>
                        <a:pt x="117" y="57"/>
                      </a:lnTo>
                      <a:lnTo>
                        <a:pt x="117" y="56"/>
                      </a:lnTo>
                      <a:lnTo>
                        <a:pt x="122" y="56"/>
                      </a:lnTo>
                      <a:lnTo>
                        <a:pt x="126" y="55"/>
                      </a:lnTo>
                      <a:lnTo>
                        <a:pt x="134" y="51"/>
                      </a:lnTo>
                      <a:lnTo>
                        <a:pt x="136" y="47"/>
                      </a:lnTo>
                      <a:lnTo>
                        <a:pt x="136" y="49"/>
                      </a:lnTo>
                      <a:lnTo>
                        <a:pt x="139" y="48"/>
                      </a:lnTo>
                      <a:lnTo>
                        <a:pt x="145" y="45"/>
                      </a:lnTo>
                      <a:lnTo>
                        <a:pt x="147" y="44"/>
                      </a:lnTo>
                      <a:lnTo>
                        <a:pt x="153" y="43"/>
                      </a:lnTo>
                      <a:lnTo>
                        <a:pt x="155" y="41"/>
                      </a:lnTo>
                      <a:lnTo>
                        <a:pt x="159" y="40"/>
                      </a:lnTo>
                      <a:lnTo>
                        <a:pt x="161" y="40"/>
                      </a:lnTo>
                      <a:lnTo>
                        <a:pt x="164" y="39"/>
                      </a:lnTo>
                      <a:lnTo>
                        <a:pt x="167" y="37"/>
                      </a:lnTo>
                      <a:lnTo>
                        <a:pt x="170" y="38"/>
                      </a:lnTo>
                      <a:lnTo>
                        <a:pt x="175" y="36"/>
                      </a:lnTo>
                      <a:lnTo>
                        <a:pt x="186" y="35"/>
                      </a:lnTo>
                      <a:lnTo>
                        <a:pt x="192" y="31"/>
                      </a:lnTo>
                      <a:lnTo>
                        <a:pt x="197" y="30"/>
                      </a:lnTo>
                      <a:lnTo>
                        <a:pt x="201" y="30"/>
                      </a:lnTo>
                      <a:lnTo>
                        <a:pt x="203" y="29"/>
                      </a:lnTo>
                      <a:lnTo>
                        <a:pt x="205" y="29"/>
                      </a:lnTo>
                      <a:lnTo>
                        <a:pt x="209" y="27"/>
                      </a:lnTo>
                      <a:lnTo>
                        <a:pt x="214" y="26"/>
                      </a:lnTo>
                      <a:lnTo>
                        <a:pt x="220" y="23"/>
                      </a:lnTo>
                      <a:lnTo>
                        <a:pt x="226" y="21"/>
                      </a:lnTo>
                      <a:lnTo>
                        <a:pt x="229" y="21"/>
                      </a:lnTo>
                      <a:lnTo>
                        <a:pt x="231" y="19"/>
                      </a:lnTo>
                      <a:lnTo>
                        <a:pt x="233" y="17"/>
                      </a:lnTo>
                      <a:lnTo>
                        <a:pt x="237" y="14"/>
                      </a:lnTo>
                      <a:lnTo>
                        <a:pt x="238" y="12"/>
                      </a:lnTo>
                      <a:lnTo>
                        <a:pt x="239" y="10"/>
                      </a:lnTo>
                      <a:lnTo>
                        <a:pt x="239" y="6"/>
                      </a:lnTo>
                      <a:lnTo>
                        <a:pt x="238" y="4"/>
                      </a:lnTo>
                      <a:lnTo>
                        <a:pt x="232" y="2"/>
                      </a:lnTo>
                      <a:lnTo>
                        <a:pt x="229" y="1"/>
                      </a:lnTo>
                      <a:lnTo>
                        <a:pt x="227" y="0"/>
                      </a:lnTo>
                      <a:lnTo>
                        <a:pt x="220" y="0"/>
                      </a:lnTo>
                      <a:lnTo>
                        <a:pt x="214" y="2"/>
                      </a:lnTo>
                      <a:lnTo>
                        <a:pt x="209" y="3"/>
                      </a:lnTo>
                      <a:lnTo>
                        <a:pt x="201" y="7"/>
                      </a:lnTo>
                      <a:lnTo>
                        <a:pt x="197" y="9"/>
                      </a:lnTo>
                      <a:lnTo>
                        <a:pt x="198" y="14"/>
                      </a:lnTo>
                      <a:lnTo>
                        <a:pt x="194" y="12"/>
                      </a:lnTo>
                      <a:lnTo>
                        <a:pt x="190" y="14"/>
                      </a:lnTo>
                      <a:lnTo>
                        <a:pt x="187" y="15"/>
                      </a:lnTo>
                      <a:lnTo>
                        <a:pt x="185" y="14"/>
                      </a:lnTo>
                      <a:lnTo>
                        <a:pt x="173" y="20"/>
                      </a:lnTo>
                      <a:lnTo>
                        <a:pt x="171" y="19"/>
                      </a:lnTo>
                      <a:lnTo>
                        <a:pt x="168" y="19"/>
                      </a:lnTo>
                      <a:lnTo>
                        <a:pt x="166" y="20"/>
                      </a:lnTo>
                      <a:lnTo>
                        <a:pt x="160" y="22"/>
                      </a:lnTo>
                      <a:lnTo>
                        <a:pt x="154" y="22"/>
                      </a:lnTo>
                      <a:lnTo>
                        <a:pt x="151" y="23"/>
                      </a:lnTo>
                      <a:lnTo>
                        <a:pt x="149" y="21"/>
                      </a:lnTo>
                      <a:lnTo>
                        <a:pt x="145" y="21"/>
                      </a:lnTo>
                      <a:lnTo>
                        <a:pt x="139" y="20"/>
                      </a:lnTo>
                      <a:lnTo>
                        <a:pt x="132" y="21"/>
                      </a:lnTo>
                      <a:lnTo>
                        <a:pt x="130" y="23"/>
                      </a:lnTo>
                      <a:lnTo>
                        <a:pt x="132" y="27"/>
                      </a:lnTo>
                      <a:lnTo>
                        <a:pt x="126" y="27"/>
                      </a:lnTo>
                      <a:lnTo>
                        <a:pt x="128" y="26"/>
                      </a:lnTo>
                      <a:lnTo>
                        <a:pt x="122" y="26"/>
                      </a:lnTo>
                      <a:lnTo>
                        <a:pt x="120" y="26"/>
                      </a:lnTo>
                      <a:lnTo>
                        <a:pt x="120" y="29"/>
                      </a:lnTo>
                      <a:lnTo>
                        <a:pt x="117" y="29"/>
                      </a:lnTo>
                      <a:lnTo>
                        <a:pt x="115" y="30"/>
                      </a:lnTo>
                      <a:lnTo>
                        <a:pt x="111" y="30"/>
                      </a:lnTo>
                      <a:lnTo>
                        <a:pt x="105" y="32"/>
                      </a:lnTo>
                      <a:lnTo>
                        <a:pt x="103" y="32"/>
                      </a:lnTo>
                      <a:lnTo>
                        <a:pt x="100" y="34"/>
                      </a:lnTo>
                      <a:lnTo>
                        <a:pt x="98" y="36"/>
                      </a:lnTo>
                      <a:lnTo>
                        <a:pt x="90" y="38"/>
                      </a:lnTo>
                      <a:lnTo>
                        <a:pt x="91" y="40"/>
                      </a:lnTo>
                      <a:lnTo>
                        <a:pt x="85" y="41"/>
                      </a:lnTo>
                      <a:lnTo>
                        <a:pt x="85" y="45"/>
                      </a:lnTo>
                      <a:lnTo>
                        <a:pt x="84" y="47"/>
                      </a:lnTo>
                      <a:lnTo>
                        <a:pt x="82" y="46"/>
                      </a:lnTo>
                      <a:lnTo>
                        <a:pt x="76" y="46"/>
                      </a:lnTo>
                      <a:lnTo>
                        <a:pt x="74" y="47"/>
                      </a:lnTo>
                      <a:lnTo>
                        <a:pt x="75" y="51"/>
                      </a:lnTo>
                      <a:lnTo>
                        <a:pt x="69" y="54"/>
                      </a:lnTo>
                      <a:lnTo>
                        <a:pt x="67" y="52"/>
                      </a:lnTo>
                      <a:lnTo>
                        <a:pt x="64" y="51"/>
                      </a:lnTo>
                      <a:lnTo>
                        <a:pt x="61" y="52"/>
                      </a:lnTo>
                      <a:lnTo>
                        <a:pt x="60" y="54"/>
                      </a:lnTo>
                      <a:lnTo>
                        <a:pt x="62" y="56"/>
                      </a:lnTo>
                      <a:lnTo>
                        <a:pt x="66" y="56"/>
                      </a:lnTo>
                      <a:lnTo>
                        <a:pt x="68" y="57"/>
                      </a:lnTo>
                      <a:lnTo>
                        <a:pt x="72" y="57"/>
                      </a:lnTo>
                      <a:lnTo>
                        <a:pt x="62" y="61"/>
                      </a:lnTo>
                      <a:lnTo>
                        <a:pt x="60" y="62"/>
                      </a:lnTo>
                      <a:lnTo>
                        <a:pt x="64" y="62"/>
                      </a:lnTo>
                      <a:lnTo>
                        <a:pt x="66" y="62"/>
                      </a:lnTo>
                      <a:lnTo>
                        <a:pt x="72" y="65"/>
                      </a:lnTo>
                      <a:lnTo>
                        <a:pt x="74" y="65"/>
                      </a:lnTo>
                      <a:lnTo>
                        <a:pt x="72" y="65"/>
                      </a:lnTo>
                      <a:lnTo>
                        <a:pt x="66" y="64"/>
                      </a:lnTo>
                      <a:lnTo>
                        <a:pt x="57" y="65"/>
                      </a:lnTo>
                      <a:lnTo>
                        <a:pt x="56" y="69"/>
                      </a:lnTo>
                      <a:lnTo>
                        <a:pt x="58" y="70"/>
                      </a:lnTo>
                      <a:lnTo>
                        <a:pt x="61" y="69"/>
                      </a:lnTo>
                      <a:lnTo>
                        <a:pt x="65" y="71"/>
                      </a:lnTo>
                      <a:lnTo>
                        <a:pt x="56" y="72"/>
                      </a:lnTo>
                      <a:lnTo>
                        <a:pt x="52" y="74"/>
                      </a:lnTo>
                      <a:lnTo>
                        <a:pt x="56" y="74"/>
                      </a:lnTo>
                      <a:lnTo>
                        <a:pt x="58" y="77"/>
                      </a:lnTo>
                      <a:lnTo>
                        <a:pt x="56" y="75"/>
                      </a:lnTo>
                      <a:lnTo>
                        <a:pt x="50" y="77"/>
                      </a:lnTo>
                      <a:lnTo>
                        <a:pt x="56" y="78"/>
                      </a:lnTo>
                      <a:lnTo>
                        <a:pt x="58" y="80"/>
                      </a:lnTo>
                      <a:lnTo>
                        <a:pt x="50" y="79"/>
                      </a:lnTo>
                      <a:lnTo>
                        <a:pt x="44" y="82"/>
                      </a:lnTo>
                      <a:lnTo>
                        <a:pt x="44" y="84"/>
                      </a:lnTo>
                      <a:lnTo>
                        <a:pt x="42" y="84"/>
                      </a:lnTo>
                      <a:lnTo>
                        <a:pt x="39" y="86"/>
                      </a:lnTo>
                      <a:lnTo>
                        <a:pt x="36" y="88"/>
                      </a:lnTo>
                      <a:lnTo>
                        <a:pt x="33" y="89"/>
                      </a:lnTo>
                      <a:lnTo>
                        <a:pt x="31" y="90"/>
                      </a:lnTo>
                      <a:lnTo>
                        <a:pt x="33" y="92"/>
                      </a:lnTo>
                      <a:lnTo>
                        <a:pt x="36" y="94"/>
                      </a:lnTo>
                      <a:lnTo>
                        <a:pt x="39" y="94"/>
                      </a:lnTo>
                      <a:lnTo>
                        <a:pt x="42" y="91"/>
                      </a:lnTo>
                      <a:lnTo>
                        <a:pt x="44" y="91"/>
                      </a:lnTo>
                      <a:lnTo>
                        <a:pt x="48" y="91"/>
                      </a:lnTo>
                      <a:lnTo>
                        <a:pt x="50" y="91"/>
                      </a:lnTo>
                      <a:lnTo>
                        <a:pt x="42" y="94"/>
                      </a:lnTo>
                      <a:lnTo>
                        <a:pt x="40" y="96"/>
                      </a:lnTo>
                      <a:lnTo>
                        <a:pt x="39" y="98"/>
                      </a:lnTo>
                      <a:lnTo>
                        <a:pt x="39" y="101"/>
                      </a:lnTo>
                      <a:lnTo>
                        <a:pt x="43" y="100"/>
                      </a:lnTo>
                      <a:lnTo>
                        <a:pt x="40" y="101"/>
                      </a:lnTo>
                      <a:lnTo>
                        <a:pt x="38" y="103"/>
                      </a:lnTo>
                      <a:lnTo>
                        <a:pt x="32" y="101"/>
                      </a:lnTo>
                      <a:lnTo>
                        <a:pt x="28" y="104"/>
                      </a:lnTo>
                      <a:lnTo>
                        <a:pt x="26" y="104"/>
                      </a:lnTo>
                      <a:lnTo>
                        <a:pt x="2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51" name="Freeform 113">
                  <a:extLst>
                    <a:ext uri="{FF2B5EF4-FFF2-40B4-BE49-F238E27FC236}">
                      <a16:creationId xmlns:a16="http://schemas.microsoft.com/office/drawing/2014/main" id="{CC3380E6-61D4-DE33-0E8D-868028093540}"/>
                    </a:ext>
                  </a:extLst>
                </p:cNvPr>
                <p:cNvSpPr>
                  <a:spLocks/>
                </p:cNvSpPr>
                <p:nvPr/>
              </p:nvSpPr>
              <p:spPr bwMode="auto">
                <a:xfrm>
                  <a:off x="4402" y="1356"/>
                  <a:ext cx="18" cy="6"/>
                </a:xfrm>
                <a:custGeom>
                  <a:avLst/>
                  <a:gdLst>
                    <a:gd name="T0" fmla="*/ 0 w 18"/>
                    <a:gd name="T1" fmla="*/ 5 h 6"/>
                    <a:gd name="T2" fmla="*/ 4 w 18"/>
                    <a:gd name="T3" fmla="*/ 6 h 6"/>
                    <a:gd name="T4" fmla="*/ 13 w 18"/>
                    <a:gd name="T5" fmla="*/ 6 h 6"/>
                    <a:gd name="T6" fmla="*/ 15 w 18"/>
                    <a:gd name="T7" fmla="*/ 6 h 6"/>
                    <a:gd name="T8" fmla="*/ 18 w 18"/>
                    <a:gd name="T9" fmla="*/ 3 h 6"/>
                    <a:gd name="T10" fmla="*/ 15 w 18"/>
                    <a:gd name="T11" fmla="*/ 2 h 6"/>
                    <a:gd name="T12" fmla="*/ 12 w 18"/>
                    <a:gd name="T13" fmla="*/ 0 h 6"/>
                    <a:gd name="T14" fmla="*/ 6 w 18"/>
                    <a:gd name="T15" fmla="*/ 0 h 6"/>
                    <a:gd name="T16" fmla="*/ 4 w 18"/>
                    <a:gd name="T17" fmla="*/ 2 h 6"/>
                    <a:gd name="T18" fmla="*/ 2 w 18"/>
                    <a:gd name="T19" fmla="*/ 3 h 6"/>
                    <a:gd name="T20" fmla="*/ 0 w 18"/>
                    <a:gd name="T21" fmla="*/ 5 h 6"/>
                    <a:gd name="T22" fmla="*/ 0 w 18"/>
                    <a:gd name="T2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6">
                      <a:moveTo>
                        <a:pt x="0" y="5"/>
                      </a:moveTo>
                      <a:lnTo>
                        <a:pt x="4" y="6"/>
                      </a:lnTo>
                      <a:lnTo>
                        <a:pt x="13" y="6"/>
                      </a:lnTo>
                      <a:lnTo>
                        <a:pt x="15" y="6"/>
                      </a:lnTo>
                      <a:lnTo>
                        <a:pt x="18" y="3"/>
                      </a:lnTo>
                      <a:lnTo>
                        <a:pt x="15" y="2"/>
                      </a:lnTo>
                      <a:lnTo>
                        <a:pt x="12" y="0"/>
                      </a:lnTo>
                      <a:lnTo>
                        <a:pt x="6" y="0"/>
                      </a:lnTo>
                      <a:lnTo>
                        <a:pt x="4" y="2"/>
                      </a:lnTo>
                      <a:lnTo>
                        <a:pt x="2" y="3"/>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52" name="Freeform 114">
                  <a:extLst>
                    <a:ext uri="{FF2B5EF4-FFF2-40B4-BE49-F238E27FC236}">
                      <a16:creationId xmlns:a16="http://schemas.microsoft.com/office/drawing/2014/main" id="{8C60A1B5-3B53-B36B-95CF-74E51DCEE4E3}"/>
                    </a:ext>
                  </a:extLst>
                </p:cNvPr>
                <p:cNvSpPr>
                  <a:spLocks/>
                </p:cNvSpPr>
                <p:nvPr/>
              </p:nvSpPr>
              <p:spPr bwMode="auto">
                <a:xfrm>
                  <a:off x="4422" y="1350"/>
                  <a:ext cx="8" cy="5"/>
                </a:xfrm>
                <a:custGeom>
                  <a:avLst/>
                  <a:gdLst>
                    <a:gd name="T0" fmla="*/ 0 w 8"/>
                    <a:gd name="T1" fmla="*/ 2 h 5"/>
                    <a:gd name="T2" fmla="*/ 1 w 8"/>
                    <a:gd name="T3" fmla="*/ 3 h 5"/>
                    <a:gd name="T4" fmla="*/ 6 w 8"/>
                    <a:gd name="T5" fmla="*/ 5 h 5"/>
                    <a:gd name="T6" fmla="*/ 8 w 8"/>
                    <a:gd name="T7" fmla="*/ 2 h 5"/>
                    <a:gd name="T8" fmla="*/ 6 w 8"/>
                    <a:gd name="T9" fmla="*/ 0 h 5"/>
                    <a:gd name="T10" fmla="*/ 2 w 8"/>
                    <a:gd name="T11" fmla="*/ 0 h 5"/>
                    <a:gd name="T12" fmla="*/ 0 w 8"/>
                    <a:gd name="T13" fmla="*/ 0 h 5"/>
                    <a:gd name="T14" fmla="*/ 0 w 8"/>
                    <a:gd name="T15" fmla="*/ 2 h 5"/>
                    <a:gd name="T16" fmla="*/ 0 w 8"/>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5">
                      <a:moveTo>
                        <a:pt x="0" y="2"/>
                      </a:moveTo>
                      <a:lnTo>
                        <a:pt x="1" y="3"/>
                      </a:lnTo>
                      <a:lnTo>
                        <a:pt x="6" y="5"/>
                      </a:lnTo>
                      <a:lnTo>
                        <a:pt x="8" y="2"/>
                      </a:lnTo>
                      <a:lnTo>
                        <a:pt x="6" y="0"/>
                      </a:lnTo>
                      <a:lnTo>
                        <a:pt x="2"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53" name="Freeform 115">
                  <a:extLst>
                    <a:ext uri="{FF2B5EF4-FFF2-40B4-BE49-F238E27FC236}">
                      <a16:creationId xmlns:a16="http://schemas.microsoft.com/office/drawing/2014/main" id="{65E484B3-39AE-A144-8BB3-2CBC30608038}"/>
                    </a:ext>
                  </a:extLst>
                </p:cNvPr>
                <p:cNvSpPr>
                  <a:spLocks/>
                </p:cNvSpPr>
                <p:nvPr/>
              </p:nvSpPr>
              <p:spPr bwMode="auto">
                <a:xfrm>
                  <a:off x="4424" y="1340"/>
                  <a:ext cx="27" cy="5"/>
                </a:xfrm>
                <a:custGeom>
                  <a:avLst/>
                  <a:gdLst>
                    <a:gd name="T0" fmla="*/ 0 w 27"/>
                    <a:gd name="T1" fmla="*/ 2 h 5"/>
                    <a:gd name="T2" fmla="*/ 1 w 27"/>
                    <a:gd name="T3" fmla="*/ 3 h 5"/>
                    <a:gd name="T4" fmla="*/ 7 w 27"/>
                    <a:gd name="T5" fmla="*/ 3 h 5"/>
                    <a:gd name="T6" fmla="*/ 10 w 27"/>
                    <a:gd name="T7" fmla="*/ 5 h 5"/>
                    <a:gd name="T8" fmla="*/ 13 w 27"/>
                    <a:gd name="T9" fmla="*/ 5 h 5"/>
                    <a:gd name="T10" fmla="*/ 18 w 27"/>
                    <a:gd name="T11" fmla="*/ 4 h 5"/>
                    <a:gd name="T12" fmla="*/ 24 w 27"/>
                    <a:gd name="T13" fmla="*/ 3 h 5"/>
                    <a:gd name="T14" fmla="*/ 27 w 27"/>
                    <a:gd name="T15" fmla="*/ 3 h 5"/>
                    <a:gd name="T16" fmla="*/ 15 w 27"/>
                    <a:gd name="T17" fmla="*/ 0 h 5"/>
                    <a:gd name="T18" fmla="*/ 13 w 27"/>
                    <a:gd name="T19" fmla="*/ 2 h 5"/>
                    <a:gd name="T20" fmla="*/ 9 w 27"/>
                    <a:gd name="T21" fmla="*/ 1 h 5"/>
                    <a:gd name="T22" fmla="*/ 7 w 27"/>
                    <a:gd name="T23" fmla="*/ 1 h 5"/>
                    <a:gd name="T24" fmla="*/ 4 w 27"/>
                    <a:gd name="T25" fmla="*/ 1 h 5"/>
                    <a:gd name="T26" fmla="*/ 0 w 27"/>
                    <a:gd name="T27" fmla="*/ 2 h 5"/>
                    <a:gd name="T28" fmla="*/ 0 w 27"/>
                    <a:gd name="T2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5">
                      <a:moveTo>
                        <a:pt x="0" y="2"/>
                      </a:moveTo>
                      <a:lnTo>
                        <a:pt x="1" y="3"/>
                      </a:lnTo>
                      <a:lnTo>
                        <a:pt x="7" y="3"/>
                      </a:lnTo>
                      <a:lnTo>
                        <a:pt x="10" y="5"/>
                      </a:lnTo>
                      <a:lnTo>
                        <a:pt x="13" y="5"/>
                      </a:lnTo>
                      <a:lnTo>
                        <a:pt x="18" y="4"/>
                      </a:lnTo>
                      <a:lnTo>
                        <a:pt x="24" y="3"/>
                      </a:lnTo>
                      <a:lnTo>
                        <a:pt x="27" y="3"/>
                      </a:lnTo>
                      <a:lnTo>
                        <a:pt x="15" y="0"/>
                      </a:lnTo>
                      <a:lnTo>
                        <a:pt x="13" y="2"/>
                      </a:lnTo>
                      <a:lnTo>
                        <a:pt x="9" y="1"/>
                      </a:lnTo>
                      <a:lnTo>
                        <a:pt x="7" y="1"/>
                      </a:lnTo>
                      <a:lnTo>
                        <a:pt x="4" y="1"/>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54" name="Freeform 116">
                  <a:extLst>
                    <a:ext uri="{FF2B5EF4-FFF2-40B4-BE49-F238E27FC236}">
                      <a16:creationId xmlns:a16="http://schemas.microsoft.com/office/drawing/2014/main" id="{933CA3B1-8822-DC28-C8C1-4CA3AEC4DCBD}"/>
                    </a:ext>
                  </a:extLst>
                </p:cNvPr>
                <p:cNvSpPr>
                  <a:spLocks/>
                </p:cNvSpPr>
                <p:nvPr/>
              </p:nvSpPr>
              <p:spPr bwMode="auto">
                <a:xfrm>
                  <a:off x="4430" y="1333"/>
                  <a:ext cx="43" cy="14"/>
                </a:xfrm>
                <a:custGeom>
                  <a:avLst/>
                  <a:gdLst>
                    <a:gd name="T0" fmla="*/ 0 w 43"/>
                    <a:gd name="T1" fmla="*/ 3 h 14"/>
                    <a:gd name="T2" fmla="*/ 0 w 43"/>
                    <a:gd name="T3" fmla="*/ 3 h 14"/>
                    <a:gd name="T4" fmla="*/ 9 w 43"/>
                    <a:gd name="T5" fmla="*/ 5 h 14"/>
                    <a:gd name="T6" fmla="*/ 11 w 43"/>
                    <a:gd name="T7" fmla="*/ 5 h 14"/>
                    <a:gd name="T8" fmla="*/ 15 w 43"/>
                    <a:gd name="T9" fmla="*/ 7 h 14"/>
                    <a:gd name="T10" fmla="*/ 17 w 43"/>
                    <a:gd name="T11" fmla="*/ 7 h 14"/>
                    <a:gd name="T12" fmla="*/ 20 w 43"/>
                    <a:gd name="T13" fmla="*/ 8 h 14"/>
                    <a:gd name="T14" fmla="*/ 28 w 43"/>
                    <a:gd name="T15" fmla="*/ 9 h 14"/>
                    <a:gd name="T16" fmla="*/ 37 w 43"/>
                    <a:gd name="T17" fmla="*/ 14 h 14"/>
                    <a:gd name="T18" fmla="*/ 43 w 43"/>
                    <a:gd name="T19" fmla="*/ 12 h 14"/>
                    <a:gd name="T20" fmla="*/ 43 w 43"/>
                    <a:gd name="T21" fmla="*/ 9 h 14"/>
                    <a:gd name="T22" fmla="*/ 33 w 43"/>
                    <a:gd name="T23" fmla="*/ 7 h 14"/>
                    <a:gd name="T24" fmla="*/ 29 w 43"/>
                    <a:gd name="T25" fmla="*/ 5 h 14"/>
                    <a:gd name="T26" fmla="*/ 24 w 43"/>
                    <a:gd name="T27" fmla="*/ 2 h 14"/>
                    <a:gd name="T28" fmla="*/ 17 w 43"/>
                    <a:gd name="T29" fmla="*/ 3 h 14"/>
                    <a:gd name="T30" fmla="*/ 15 w 43"/>
                    <a:gd name="T31" fmla="*/ 3 h 14"/>
                    <a:gd name="T32" fmla="*/ 11 w 43"/>
                    <a:gd name="T33" fmla="*/ 2 h 14"/>
                    <a:gd name="T34" fmla="*/ 2 w 43"/>
                    <a:gd name="T35" fmla="*/ 0 h 14"/>
                    <a:gd name="T36" fmla="*/ 0 w 43"/>
                    <a:gd name="T37" fmla="*/ 3 h 14"/>
                    <a:gd name="T38" fmla="*/ 0 w 43"/>
                    <a:gd name="T3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14">
                      <a:moveTo>
                        <a:pt x="0" y="3"/>
                      </a:moveTo>
                      <a:lnTo>
                        <a:pt x="0" y="3"/>
                      </a:lnTo>
                      <a:lnTo>
                        <a:pt x="9" y="5"/>
                      </a:lnTo>
                      <a:lnTo>
                        <a:pt x="11" y="5"/>
                      </a:lnTo>
                      <a:lnTo>
                        <a:pt x="15" y="7"/>
                      </a:lnTo>
                      <a:lnTo>
                        <a:pt x="17" y="7"/>
                      </a:lnTo>
                      <a:lnTo>
                        <a:pt x="20" y="8"/>
                      </a:lnTo>
                      <a:lnTo>
                        <a:pt x="28" y="9"/>
                      </a:lnTo>
                      <a:lnTo>
                        <a:pt x="37" y="14"/>
                      </a:lnTo>
                      <a:lnTo>
                        <a:pt x="43" y="12"/>
                      </a:lnTo>
                      <a:lnTo>
                        <a:pt x="43" y="9"/>
                      </a:lnTo>
                      <a:lnTo>
                        <a:pt x="33" y="7"/>
                      </a:lnTo>
                      <a:lnTo>
                        <a:pt x="29" y="5"/>
                      </a:lnTo>
                      <a:lnTo>
                        <a:pt x="24" y="2"/>
                      </a:lnTo>
                      <a:lnTo>
                        <a:pt x="17" y="3"/>
                      </a:lnTo>
                      <a:lnTo>
                        <a:pt x="15" y="3"/>
                      </a:lnTo>
                      <a:lnTo>
                        <a:pt x="11" y="2"/>
                      </a:lnTo>
                      <a:lnTo>
                        <a:pt x="2" y="0"/>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55" name="Freeform 117">
                  <a:extLst>
                    <a:ext uri="{FF2B5EF4-FFF2-40B4-BE49-F238E27FC236}">
                      <a16:creationId xmlns:a16="http://schemas.microsoft.com/office/drawing/2014/main" id="{EBD42CCE-72D5-9ACE-715A-BD30DD64DD87}"/>
                    </a:ext>
                  </a:extLst>
                </p:cNvPr>
                <p:cNvSpPr>
                  <a:spLocks/>
                </p:cNvSpPr>
                <p:nvPr/>
              </p:nvSpPr>
              <p:spPr bwMode="auto">
                <a:xfrm>
                  <a:off x="4445" y="1343"/>
                  <a:ext cx="19" cy="6"/>
                </a:xfrm>
                <a:custGeom>
                  <a:avLst/>
                  <a:gdLst>
                    <a:gd name="T0" fmla="*/ 0 w 19"/>
                    <a:gd name="T1" fmla="*/ 2 h 6"/>
                    <a:gd name="T2" fmla="*/ 1 w 19"/>
                    <a:gd name="T3" fmla="*/ 5 h 6"/>
                    <a:gd name="T4" fmla="*/ 4 w 19"/>
                    <a:gd name="T5" fmla="*/ 6 h 6"/>
                    <a:gd name="T6" fmla="*/ 8 w 19"/>
                    <a:gd name="T7" fmla="*/ 6 h 6"/>
                    <a:gd name="T8" fmla="*/ 10 w 19"/>
                    <a:gd name="T9" fmla="*/ 5 h 6"/>
                    <a:gd name="T10" fmla="*/ 17 w 19"/>
                    <a:gd name="T11" fmla="*/ 6 h 6"/>
                    <a:gd name="T12" fmla="*/ 19 w 19"/>
                    <a:gd name="T13" fmla="*/ 5 h 6"/>
                    <a:gd name="T14" fmla="*/ 17 w 19"/>
                    <a:gd name="T15" fmla="*/ 2 h 6"/>
                    <a:gd name="T16" fmla="*/ 14 w 19"/>
                    <a:gd name="T17" fmla="*/ 0 h 6"/>
                    <a:gd name="T18" fmla="*/ 5 w 19"/>
                    <a:gd name="T19" fmla="*/ 1 h 6"/>
                    <a:gd name="T20" fmla="*/ 2 w 19"/>
                    <a:gd name="T21" fmla="*/ 2 h 6"/>
                    <a:gd name="T22" fmla="*/ 0 w 19"/>
                    <a:gd name="T23" fmla="*/ 2 h 6"/>
                    <a:gd name="T24" fmla="*/ 0 w 19"/>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6">
                      <a:moveTo>
                        <a:pt x="0" y="2"/>
                      </a:moveTo>
                      <a:lnTo>
                        <a:pt x="1" y="5"/>
                      </a:lnTo>
                      <a:lnTo>
                        <a:pt x="4" y="6"/>
                      </a:lnTo>
                      <a:lnTo>
                        <a:pt x="8" y="6"/>
                      </a:lnTo>
                      <a:lnTo>
                        <a:pt x="10" y="5"/>
                      </a:lnTo>
                      <a:lnTo>
                        <a:pt x="17" y="6"/>
                      </a:lnTo>
                      <a:lnTo>
                        <a:pt x="19" y="5"/>
                      </a:lnTo>
                      <a:lnTo>
                        <a:pt x="17" y="2"/>
                      </a:lnTo>
                      <a:lnTo>
                        <a:pt x="14" y="0"/>
                      </a:lnTo>
                      <a:lnTo>
                        <a:pt x="5" y="1"/>
                      </a:lnTo>
                      <a:lnTo>
                        <a:pt x="2"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56" name="Freeform 118">
                  <a:extLst>
                    <a:ext uri="{FF2B5EF4-FFF2-40B4-BE49-F238E27FC236}">
                      <a16:creationId xmlns:a16="http://schemas.microsoft.com/office/drawing/2014/main" id="{25A7FDD1-BE03-AF17-EF41-43BB327A4E7B}"/>
                    </a:ext>
                  </a:extLst>
                </p:cNvPr>
                <p:cNvSpPr>
                  <a:spLocks/>
                </p:cNvSpPr>
                <p:nvPr/>
              </p:nvSpPr>
              <p:spPr bwMode="auto">
                <a:xfrm>
                  <a:off x="4445" y="1324"/>
                  <a:ext cx="32" cy="7"/>
                </a:xfrm>
                <a:custGeom>
                  <a:avLst/>
                  <a:gdLst>
                    <a:gd name="T0" fmla="*/ 1 w 32"/>
                    <a:gd name="T1" fmla="*/ 6 h 7"/>
                    <a:gd name="T2" fmla="*/ 1 w 32"/>
                    <a:gd name="T3" fmla="*/ 6 h 7"/>
                    <a:gd name="T4" fmla="*/ 6 w 32"/>
                    <a:gd name="T5" fmla="*/ 7 h 7"/>
                    <a:gd name="T6" fmla="*/ 9 w 32"/>
                    <a:gd name="T7" fmla="*/ 6 h 7"/>
                    <a:gd name="T8" fmla="*/ 12 w 32"/>
                    <a:gd name="T9" fmla="*/ 7 h 7"/>
                    <a:gd name="T10" fmla="*/ 27 w 32"/>
                    <a:gd name="T11" fmla="*/ 3 h 7"/>
                    <a:gd name="T12" fmla="*/ 29 w 32"/>
                    <a:gd name="T13" fmla="*/ 3 h 7"/>
                    <a:gd name="T14" fmla="*/ 32 w 32"/>
                    <a:gd name="T15" fmla="*/ 3 h 7"/>
                    <a:gd name="T16" fmla="*/ 30 w 32"/>
                    <a:gd name="T17" fmla="*/ 2 h 7"/>
                    <a:gd name="T18" fmla="*/ 27 w 32"/>
                    <a:gd name="T19" fmla="*/ 2 h 7"/>
                    <a:gd name="T20" fmla="*/ 21 w 32"/>
                    <a:gd name="T21" fmla="*/ 0 h 7"/>
                    <a:gd name="T22" fmla="*/ 18 w 32"/>
                    <a:gd name="T23" fmla="*/ 0 h 7"/>
                    <a:gd name="T24" fmla="*/ 16 w 32"/>
                    <a:gd name="T25" fmla="*/ 0 h 7"/>
                    <a:gd name="T26" fmla="*/ 12 w 32"/>
                    <a:gd name="T27" fmla="*/ 1 h 7"/>
                    <a:gd name="T28" fmla="*/ 13 w 32"/>
                    <a:gd name="T29" fmla="*/ 4 h 7"/>
                    <a:gd name="T30" fmla="*/ 5 w 32"/>
                    <a:gd name="T31" fmla="*/ 2 h 7"/>
                    <a:gd name="T32" fmla="*/ 3 w 32"/>
                    <a:gd name="T33" fmla="*/ 2 h 7"/>
                    <a:gd name="T34" fmla="*/ 0 w 32"/>
                    <a:gd name="T35" fmla="*/ 2 h 7"/>
                    <a:gd name="T36" fmla="*/ 1 w 32"/>
                    <a:gd name="T37" fmla="*/ 6 h 7"/>
                    <a:gd name="T38" fmla="*/ 1 w 32"/>
                    <a:gd name="T3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7">
                      <a:moveTo>
                        <a:pt x="1" y="6"/>
                      </a:moveTo>
                      <a:lnTo>
                        <a:pt x="1" y="6"/>
                      </a:lnTo>
                      <a:lnTo>
                        <a:pt x="6" y="7"/>
                      </a:lnTo>
                      <a:lnTo>
                        <a:pt x="9" y="6"/>
                      </a:lnTo>
                      <a:lnTo>
                        <a:pt x="12" y="7"/>
                      </a:lnTo>
                      <a:lnTo>
                        <a:pt x="27" y="3"/>
                      </a:lnTo>
                      <a:lnTo>
                        <a:pt x="29" y="3"/>
                      </a:lnTo>
                      <a:lnTo>
                        <a:pt x="32" y="3"/>
                      </a:lnTo>
                      <a:lnTo>
                        <a:pt x="30" y="2"/>
                      </a:lnTo>
                      <a:lnTo>
                        <a:pt x="27" y="2"/>
                      </a:lnTo>
                      <a:lnTo>
                        <a:pt x="21" y="0"/>
                      </a:lnTo>
                      <a:lnTo>
                        <a:pt x="18" y="0"/>
                      </a:lnTo>
                      <a:lnTo>
                        <a:pt x="16" y="0"/>
                      </a:lnTo>
                      <a:lnTo>
                        <a:pt x="12" y="1"/>
                      </a:lnTo>
                      <a:lnTo>
                        <a:pt x="13" y="4"/>
                      </a:lnTo>
                      <a:lnTo>
                        <a:pt x="5" y="2"/>
                      </a:lnTo>
                      <a:lnTo>
                        <a:pt x="3" y="2"/>
                      </a:lnTo>
                      <a:lnTo>
                        <a:pt x="0" y="2"/>
                      </a:lnTo>
                      <a:lnTo>
                        <a:pt x="1" y="6"/>
                      </a:ln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57" name="Freeform 119">
                  <a:extLst>
                    <a:ext uri="{FF2B5EF4-FFF2-40B4-BE49-F238E27FC236}">
                      <a16:creationId xmlns:a16="http://schemas.microsoft.com/office/drawing/2014/main" id="{12CA27BF-54A8-7A44-2378-B4D309ED3615}"/>
                    </a:ext>
                  </a:extLst>
                </p:cNvPr>
                <p:cNvSpPr>
                  <a:spLocks/>
                </p:cNvSpPr>
                <p:nvPr/>
              </p:nvSpPr>
              <p:spPr bwMode="auto">
                <a:xfrm>
                  <a:off x="4449" y="1357"/>
                  <a:ext cx="18" cy="9"/>
                </a:xfrm>
                <a:custGeom>
                  <a:avLst/>
                  <a:gdLst>
                    <a:gd name="T0" fmla="*/ 0 w 18"/>
                    <a:gd name="T1" fmla="*/ 8 h 9"/>
                    <a:gd name="T2" fmla="*/ 0 w 18"/>
                    <a:gd name="T3" fmla="*/ 9 h 9"/>
                    <a:gd name="T4" fmla="*/ 4 w 18"/>
                    <a:gd name="T5" fmla="*/ 9 h 9"/>
                    <a:gd name="T6" fmla="*/ 15 w 18"/>
                    <a:gd name="T7" fmla="*/ 9 h 9"/>
                    <a:gd name="T8" fmla="*/ 17 w 18"/>
                    <a:gd name="T9" fmla="*/ 9 h 9"/>
                    <a:gd name="T10" fmla="*/ 18 w 18"/>
                    <a:gd name="T11" fmla="*/ 5 h 9"/>
                    <a:gd name="T12" fmla="*/ 17 w 18"/>
                    <a:gd name="T13" fmla="*/ 0 h 9"/>
                    <a:gd name="T14" fmla="*/ 14 w 18"/>
                    <a:gd name="T15" fmla="*/ 0 h 9"/>
                    <a:gd name="T16" fmla="*/ 10 w 18"/>
                    <a:gd name="T17" fmla="*/ 1 h 9"/>
                    <a:gd name="T18" fmla="*/ 5 w 18"/>
                    <a:gd name="T19" fmla="*/ 1 h 9"/>
                    <a:gd name="T20" fmla="*/ 2 w 18"/>
                    <a:gd name="T21" fmla="*/ 3 h 9"/>
                    <a:gd name="T22" fmla="*/ 2 w 18"/>
                    <a:gd name="T23" fmla="*/ 5 h 9"/>
                    <a:gd name="T24" fmla="*/ 0 w 18"/>
                    <a:gd name="T25" fmla="*/ 8 h 9"/>
                    <a:gd name="T26" fmla="*/ 0 w 18"/>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9">
                      <a:moveTo>
                        <a:pt x="0" y="8"/>
                      </a:moveTo>
                      <a:lnTo>
                        <a:pt x="0" y="9"/>
                      </a:lnTo>
                      <a:lnTo>
                        <a:pt x="4" y="9"/>
                      </a:lnTo>
                      <a:lnTo>
                        <a:pt x="15" y="9"/>
                      </a:lnTo>
                      <a:lnTo>
                        <a:pt x="17" y="9"/>
                      </a:lnTo>
                      <a:lnTo>
                        <a:pt x="18" y="5"/>
                      </a:lnTo>
                      <a:lnTo>
                        <a:pt x="17" y="0"/>
                      </a:lnTo>
                      <a:lnTo>
                        <a:pt x="14" y="0"/>
                      </a:lnTo>
                      <a:lnTo>
                        <a:pt x="10" y="1"/>
                      </a:lnTo>
                      <a:lnTo>
                        <a:pt x="5" y="1"/>
                      </a:lnTo>
                      <a:lnTo>
                        <a:pt x="2" y="3"/>
                      </a:lnTo>
                      <a:lnTo>
                        <a:pt x="2" y="5"/>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58" name="Freeform 120">
                  <a:extLst>
                    <a:ext uri="{FF2B5EF4-FFF2-40B4-BE49-F238E27FC236}">
                      <a16:creationId xmlns:a16="http://schemas.microsoft.com/office/drawing/2014/main" id="{9323957C-ADBE-F5A0-1303-BB8233E25343}"/>
                    </a:ext>
                  </a:extLst>
                </p:cNvPr>
                <p:cNvSpPr>
                  <a:spLocks/>
                </p:cNvSpPr>
                <p:nvPr/>
              </p:nvSpPr>
              <p:spPr bwMode="auto">
                <a:xfrm>
                  <a:off x="4453" y="1333"/>
                  <a:ext cx="29" cy="8"/>
                </a:xfrm>
                <a:custGeom>
                  <a:avLst/>
                  <a:gdLst>
                    <a:gd name="T0" fmla="*/ 0 w 29"/>
                    <a:gd name="T1" fmla="*/ 0 h 8"/>
                    <a:gd name="T2" fmla="*/ 2 w 29"/>
                    <a:gd name="T3" fmla="*/ 1 h 8"/>
                    <a:gd name="T4" fmla="*/ 9 w 29"/>
                    <a:gd name="T5" fmla="*/ 2 h 8"/>
                    <a:gd name="T6" fmla="*/ 11 w 29"/>
                    <a:gd name="T7" fmla="*/ 5 h 8"/>
                    <a:gd name="T8" fmla="*/ 14 w 29"/>
                    <a:gd name="T9" fmla="*/ 5 h 8"/>
                    <a:gd name="T10" fmla="*/ 18 w 29"/>
                    <a:gd name="T11" fmla="*/ 8 h 8"/>
                    <a:gd name="T12" fmla="*/ 23 w 29"/>
                    <a:gd name="T13" fmla="*/ 8 h 8"/>
                    <a:gd name="T14" fmla="*/ 29 w 29"/>
                    <a:gd name="T15" fmla="*/ 6 h 8"/>
                    <a:gd name="T16" fmla="*/ 23 w 29"/>
                    <a:gd name="T17" fmla="*/ 5 h 8"/>
                    <a:gd name="T18" fmla="*/ 20 w 29"/>
                    <a:gd name="T19" fmla="*/ 2 h 8"/>
                    <a:gd name="T20" fmla="*/ 14 w 29"/>
                    <a:gd name="T21" fmla="*/ 2 h 8"/>
                    <a:gd name="T22" fmla="*/ 9 w 29"/>
                    <a:gd name="T23" fmla="*/ 0 h 8"/>
                    <a:gd name="T24" fmla="*/ 0 w 29"/>
                    <a:gd name="T25" fmla="*/ 0 h 8"/>
                    <a:gd name="T26" fmla="*/ 0 w 29"/>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8">
                      <a:moveTo>
                        <a:pt x="0" y="0"/>
                      </a:moveTo>
                      <a:lnTo>
                        <a:pt x="2" y="1"/>
                      </a:lnTo>
                      <a:lnTo>
                        <a:pt x="9" y="2"/>
                      </a:lnTo>
                      <a:lnTo>
                        <a:pt x="11" y="5"/>
                      </a:lnTo>
                      <a:lnTo>
                        <a:pt x="14" y="5"/>
                      </a:lnTo>
                      <a:lnTo>
                        <a:pt x="18" y="8"/>
                      </a:lnTo>
                      <a:lnTo>
                        <a:pt x="23" y="8"/>
                      </a:lnTo>
                      <a:lnTo>
                        <a:pt x="29" y="6"/>
                      </a:lnTo>
                      <a:lnTo>
                        <a:pt x="23" y="5"/>
                      </a:lnTo>
                      <a:lnTo>
                        <a:pt x="20" y="2"/>
                      </a:lnTo>
                      <a:lnTo>
                        <a:pt x="14" y="2"/>
                      </a:lnTo>
                      <a:lnTo>
                        <a:pt x="9"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59" name="Freeform 121">
                  <a:extLst>
                    <a:ext uri="{FF2B5EF4-FFF2-40B4-BE49-F238E27FC236}">
                      <a16:creationId xmlns:a16="http://schemas.microsoft.com/office/drawing/2014/main" id="{C025BA60-4C18-C9A7-62AA-D095D3B6FD78}"/>
                    </a:ext>
                  </a:extLst>
                </p:cNvPr>
                <p:cNvSpPr>
                  <a:spLocks/>
                </p:cNvSpPr>
                <p:nvPr/>
              </p:nvSpPr>
              <p:spPr bwMode="auto">
                <a:xfrm>
                  <a:off x="4463" y="1318"/>
                  <a:ext cx="22" cy="7"/>
                </a:xfrm>
                <a:custGeom>
                  <a:avLst/>
                  <a:gdLst>
                    <a:gd name="T0" fmla="*/ 17 w 22"/>
                    <a:gd name="T1" fmla="*/ 7 h 7"/>
                    <a:gd name="T2" fmla="*/ 19 w 22"/>
                    <a:gd name="T3" fmla="*/ 6 h 7"/>
                    <a:gd name="T4" fmla="*/ 22 w 22"/>
                    <a:gd name="T5" fmla="*/ 5 h 7"/>
                    <a:gd name="T6" fmla="*/ 20 w 22"/>
                    <a:gd name="T7" fmla="*/ 4 h 7"/>
                    <a:gd name="T8" fmla="*/ 17 w 22"/>
                    <a:gd name="T9" fmla="*/ 3 h 7"/>
                    <a:gd name="T10" fmla="*/ 13 w 22"/>
                    <a:gd name="T11" fmla="*/ 1 h 7"/>
                    <a:gd name="T12" fmla="*/ 11 w 22"/>
                    <a:gd name="T13" fmla="*/ 0 h 7"/>
                    <a:gd name="T14" fmla="*/ 8 w 22"/>
                    <a:gd name="T15" fmla="*/ 1 h 7"/>
                    <a:gd name="T16" fmla="*/ 5 w 22"/>
                    <a:gd name="T17" fmla="*/ 1 h 7"/>
                    <a:gd name="T18" fmla="*/ 2 w 22"/>
                    <a:gd name="T19" fmla="*/ 3 h 7"/>
                    <a:gd name="T20" fmla="*/ 0 w 22"/>
                    <a:gd name="T21" fmla="*/ 5 h 7"/>
                    <a:gd name="T22" fmla="*/ 5 w 22"/>
                    <a:gd name="T23" fmla="*/ 5 h 7"/>
                    <a:gd name="T24" fmla="*/ 9 w 22"/>
                    <a:gd name="T25" fmla="*/ 5 h 7"/>
                    <a:gd name="T26" fmla="*/ 11 w 22"/>
                    <a:gd name="T27" fmla="*/ 6 h 7"/>
                    <a:gd name="T28" fmla="*/ 17 w 22"/>
                    <a:gd name="T29" fmla="*/ 7 h 7"/>
                    <a:gd name="T30" fmla="*/ 17 w 22"/>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7">
                      <a:moveTo>
                        <a:pt x="17" y="7"/>
                      </a:moveTo>
                      <a:lnTo>
                        <a:pt x="19" y="6"/>
                      </a:lnTo>
                      <a:lnTo>
                        <a:pt x="22" y="5"/>
                      </a:lnTo>
                      <a:lnTo>
                        <a:pt x="20" y="4"/>
                      </a:lnTo>
                      <a:lnTo>
                        <a:pt x="17" y="3"/>
                      </a:lnTo>
                      <a:lnTo>
                        <a:pt x="13" y="1"/>
                      </a:lnTo>
                      <a:lnTo>
                        <a:pt x="11" y="0"/>
                      </a:lnTo>
                      <a:lnTo>
                        <a:pt x="8" y="1"/>
                      </a:lnTo>
                      <a:lnTo>
                        <a:pt x="5" y="1"/>
                      </a:lnTo>
                      <a:lnTo>
                        <a:pt x="2" y="3"/>
                      </a:lnTo>
                      <a:lnTo>
                        <a:pt x="0" y="5"/>
                      </a:lnTo>
                      <a:lnTo>
                        <a:pt x="5" y="5"/>
                      </a:lnTo>
                      <a:lnTo>
                        <a:pt x="9" y="5"/>
                      </a:lnTo>
                      <a:lnTo>
                        <a:pt x="11" y="6"/>
                      </a:lnTo>
                      <a:lnTo>
                        <a:pt x="17" y="7"/>
                      </a:lnTo>
                      <a:lnTo>
                        <a:pt x="1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60" name="Freeform 122">
                  <a:extLst>
                    <a:ext uri="{FF2B5EF4-FFF2-40B4-BE49-F238E27FC236}">
                      <a16:creationId xmlns:a16="http://schemas.microsoft.com/office/drawing/2014/main" id="{CBF1CD37-D050-6B9E-41FC-D6C535F0F03C}"/>
                    </a:ext>
                  </a:extLst>
                </p:cNvPr>
                <p:cNvSpPr>
                  <a:spLocks/>
                </p:cNvSpPr>
                <p:nvPr/>
              </p:nvSpPr>
              <p:spPr bwMode="auto">
                <a:xfrm>
                  <a:off x="4466" y="1353"/>
                  <a:ext cx="28" cy="12"/>
                </a:xfrm>
                <a:custGeom>
                  <a:avLst/>
                  <a:gdLst>
                    <a:gd name="T0" fmla="*/ 8 w 28"/>
                    <a:gd name="T1" fmla="*/ 12 h 12"/>
                    <a:gd name="T2" fmla="*/ 13 w 28"/>
                    <a:gd name="T3" fmla="*/ 12 h 12"/>
                    <a:gd name="T4" fmla="*/ 13 w 28"/>
                    <a:gd name="T5" fmla="*/ 9 h 12"/>
                    <a:gd name="T6" fmla="*/ 15 w 28"/>
                    <a:gd name="T7" fmla="*/ 9 h 12"/>
                    <a:gd name="T8" fmla="*/ 17 w 28"/>
                    <a:gd name="T9" fmla="*/ 8 h 12"/>
                    <a:gd name="T10" fmla="*/ 15 w 28"/>
                    <a:gd name="T11" fmla="*/ 6 h 12"/>
                    <a:gd name="T12" fmla="*/ 18 w 28"/>
                    <a:gd name="T13" fmla="*/ 6 h 12"/>
                    <a:gd name="T14" fmla="*/ 21 w 28"/>
                    <a:gd name="T15" fmla="*/ 6 h 12"/>
                    <a:gd name="T16" fmla="*/ 23 w 28"/>
                    <a:gd name="T17" fmla="*/ 5 h 12"/>
                    <a:gd name="T18" fmla="*/ 26 w 28"/>
                    <a:gd name="T19" fmla="*/ 5 h 12"/>
                    <a:gd name="T20" fmla="*/ 28 w 28"/>
                    <a:gd name="T21" fmla="*/ 4 h 12"/>
                    <a:gd name="T22" fmla="*/ 18 w 28"/>
                    <a:gd name="T23" fmla="*/ 0 h 12"/>
                    <a:gd name="T24" fmla="*/ 11 w 28"/>
                    <a:gd name="T25" fmla="*/ 0 h 12"/>
                    <a:gd name="T26" fmla="*/ 4 w 28"/>
                    <a:gd name="T27" fmla="*/ 0 h 12"/>
                    <a:gd name="T28" fmla="*/ 0 w 28"/>
                    <a:gd name="T29" fmla="*/ 2 h 12"/>
                    <a:gd name="T30" fmla="*/ 2 w 28"/>
                    <a:gd name="T31" fmla="*/ 3 h 12"/>
                    <a:gd name="T32" fmla="*/ 2 w 28"/>
                    <a:gd name="T33" fmla="*/ 6 h 12"/>
                    <a:gd name="T34" fmla="*/ 4 w 28"/>
                    <a:gd name="T35" fmla="*/ 8 h 12"/>
                    <a:gd name="T36" fmla="*/ 6 w 28"/>
                    <a:gd name="T37" fmla="*/ 12 h 12"/>
                    <a:gd name="T38" fmla="*/ 8 w 28"/>
                    <a:gd name="T39" fmla="*/ 12 h 12"/>
                    <a:gd name="T40" fmla="*/ 8 w 28"/>
                    <a:gd name="T4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2">
                      <a:moveTo>
                        <a:pt x="8" y="12"/>
                      </a:moveTo>
                      <a:lnTo>
                        <a:pt x="13" y="12"/>
                      </a:lnTo>
                      <a:lnTo>
                        <a:pt x="13" y="9"/>
                      </a:lnTo>
                      <a:lnTo>
                        <a:pt x="15" y="9"/>
                      </a:lnTo>
                      <a:lnTo>
                        <a:pt x="17" y="8"/>
                      </a:lnTo>
                      <a:lnTo>
                        <a:pt x="15" y="6"/>
                      </a:lnTo>
                      <a:lnTo>
                        <a:pt x="18" y="6"/>
                      </a:lnTo>
                      <a:lnTo>
                        <a:pt x="21" y="6"/>
                      </a:lnTo>
                      <a:lnTo>
                        <a:pt x="23" y="5"/>
                      </a:lnTo>
                      <a:lnTo>
                        <a:pt x="26" y="5"/>
                      </a:lnTo>
                      <a:lnTo>
                        <a:pt x="28" y="4"/>
                      </a:lnTo>
                      <a:lnTo>
                        <a:pt x="18" y="0"/>
                      </a:lnTo>
                      <a:lnTo>
                        <a:pt x="11" y="0"/>
                      </a:lnTo>
                      <a:lnTo>
                        <a:pt x="4" y="0"/>
                      </a:lnTo>
                      <a:lnTo>
                        <a:pt x="0" y="2"/>
                      </a:lnTo>
                      <a:lnTo>
                        <a:pt x="2" y="3"/>
                      </a:lnTo>
                      <a:lnTo>
                        <a:pt x="2" y="6"/>
                      </a:lnTo>
                      <a:lnTo>
                        <a:pt x="4" y="8"/>
                      </a:lnTo>
                      <a:lnTo>
                        <a:pt x="6" y="12"/>
                      </a:lnTo>
                      <a:lnTo>
                        <a:pt x="8" y="12"/>
                      </a:lnTo>
                      <a:lnTo>
                        <a:pt x="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61" name="Freeform 123">
                  <a:extLst>
                    <a:ext uri="{FF2B5EF4-FFF2-40B4-BE49-F238E27FC236}">
                      <a16:creationId xmlns:a16="http://schemas.microsoft.com/office/drawing/2014/main" id="{A85FDE85-F66B-EA33-2DC8-3557BE2C53F4}"/>
                    </a:ext>
                  </a:extLst>
                </p:cNvPr>
                <p:cNvSpPr>
                  <a:spLocks/>
                </p:cNvSpPr>
                <p:nvPr/>
              </p:nvSpPr>
              <p:spPr bwMode="auto">
                <a:xfrm>
                  <a:off x="4466" y="1328"/>
                  <a:ext cx="11" cy="4"/>
                </a:xfrm>
                <a:custGeom>
                  <a:avLst/>
                  <a:gdLst>
                    <a:gd name="T0" fmla="*/ 0 w 11"/>
                    <a:gd name="T1" fmla="*/ 3 h 4"/>
                    <a:gd name="T2" fmla="*/ 1 w 11"/>
                    <a:gd name="T3" fmla="*/ 4 h 4"/>
                    <a:gd name="T4" fmla="*/ 7 w 11"/>
                    <a:gd name="T5" fmla="*/ 4 h 4"/>
                    <a:gd name="T6" fmla="*/ 10 w 11"/>
                    <a:gd name="T7" fmla="*/ 4 h 4"/>
                    <a:gd name="T8" fmla="*/ 11 w 11"/>
                    <a:gd name="T9" fmla="*/ 0 h 4"/>
                    <a:gd name="T10" fmla="*/ 6 w 11"/>
                    <a:gd name="T11" fmla="*/ 2 h 4"/>
                    <a:gd name="T12" fmla="*/ 0 w 11"/>
                    <a:gd name="T13" fmla="*/ 3 h 4"/>
                    <a:gd name="T14" fmla="*/ 0 w 11"/>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0" y="3"/>
                      </a:moveTo>
                      <a:lnTo>
                        <a:pt x="1" y="4"/>
                      </a:lnTo>
                      <a:lnTo>
                        <a:pt x="7" y="4"/>
                      </a:lnTo>
                      <a:lnTo>
                        <a:pt x="10" y="4"/>
                      </a:lnTo>
                      <a:lnTo>
                        <a:pt x="11" y="0"/>
                      </a:lnTo>
                      <a:lnTo>
                        <a:pt x="6" y="2"/>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62" name="Freeform 124">
                  <a:extLst>
                    <a:ext uri="{FF2B5EF4-FFF2-40B4-BE49-F238E27FC236}">
                      <a16:creationId xmlns:a16="http://schemas.microsoft.com/office/drawing/2014/main" id="{E5AB779C-2773-7449-8601-D25E30207F93}"/>
                    </a:ext>
                  </a:extLst>
                </p:cNvPr>
                <p:cNvSpPr>
                  <a:spLocks/>
                </p:cNvSpPr>
                <p:nvPr/>
              </p:nvSpPr>
              <p:spPr bwMode="auto">
                <a:xfrm>
                  <a:off x="4476" y="1333"/>
                  <a:ext cx="12" cy="6"/>
                </a:xfrm>
                <a:custGeom>
                  <a:avLst/>
                  <a:gdLst>
                    <a:gd name="T0" fmla="*/ 0 w 12"/>
                    <a:gd name="T1" fmla="*/ 2 h 6"/>
                    <a:gd name="T2" fmla="*/ 8 w 12"/>
                    <a:gd name="T3" fmla="*/ 6 h 6"/>
                    <a:gd name="T4" fmla="*/ 11 w 12"/>
                    <a:gd name="T5" fmla="*/ 5 h 6"/>
                    <a:gd name="T6" fmla="*/ 12 w 12"/>
                    <a:gd name="T7" fmla="*/ 2 h 6"/>
                    <a:gd name="T8" fmla="*/ 6 w 12"/>
                    <a:gd name="T9" fmla="*/ 0 h 6"/>
                    <a:gd name="T10" fmla="*/ 4 w 12"/>
                    <a:gd name="T11" fmla="*/ 0 h 6"/>
                    <a:gd name="T12" fmla="*/ 0 w 12"/>
                    <a:gd name="T13" fmla="*/ 2 h 6"/>
                    <a:gd name="T14" fmla="*/ 0 w 12"/>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0" y="2"/>
                      </a:moveTo>
                      <a:lnTo>
                        <a:pt x="8" y="6"/>
                      </a:lnTo>
                      <a:lnTo>
                        <a:pt x="11" y="5"/>
                      </a:lnTo>
                      <a:lnTo>
                        <a:pt x="12" y="2"/>
                      </a:lnTo>
                      <a:lnTo>
                        <a:pt x="6" y="0"/>
                      </a:lnTo>
                      <a:lnTo>
                        <a:pt x="4"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63" name="Freeform 125">
                  <a:extLst>
                    <a:ext uri="{FF2B5EF4-FFF2-40B4-BE49-F238E27FC236}">
                      <a16:creationId xmlns:a16="http://schemas.microsoft.com/office/drawing/2014/main" id="{66AE0955-BF54-650B-47DC-7C4EAE52B12D}"/>
                    </a:ext>
                  </a:extLst>
                </p:cNvPr>
                <p:cNvSpPr>
                  <a:spLocks/>
                </p:cNvSpPr>
                <p:nvPr/>
              </p:nvSpPr>
              <p:spPr bwMode="auto">
                <a:xfrm>
                  <a:off x="4477" y="1340"/>
                  <a:ext cx="15" cy="4"/>
                </a:xfrm>
                <a:custGeom>
                  <a:avLst/>
                  <a:gdLst>
                    <a:gd name="T0" fmla="*/ 2 w 15"/>
                    <a:gd name="T1" fmla="*/ 2 h 4"/>
                    <a:gd name="T2" fmla="*/ 0 w 15"/>
                    <a:gd name="T3" fmla="*/ 3 h 4"/>
                    <a:gd name="T4" fmla="*/ 10 w 15"/>
                    <a:gd name="T5" fmla="*/ 4 h 4"/>
                    <a:gd name="T6" fmla="*/ 12 w 15"/>
                    <a:gd name="T7" fmla="*/ 3 h 4"/>
                    <a:gd name="T8" fmla="*/ 15 w 15"/>
                    <a:gd name="T9" fmla="*/ 3 h 4"/>
                    <a:gd name="T10" fmla="*/ 15 w 15"/>
                    <a:gd name="T11" fmla="*/ 1 h 4"/>
                    <a:gd name="T12" fmla="*/ 12 w 15"/>
                    <a:gd name="T13" fmla="*/ 0 h 4"/>
                    <a:gd name="T14" fmla="*/ 7 w 15"/>
                    <a:gd name="T15" fmla="*/ 1 h 4"/>
                    <a:gd name="T16" fmla="*/ 2 w 15"/>
                    <a:gd name="T17" fmla="*/ 2 h 4"/>
                    <a:gd name="T18" fmla="*/ 2 w 15"/>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
                      <a:moveTo>
                        <a:pt x="2" y="2"/>
                      </a:moveTo>
                      <a:lnTo>
                        <a:pt x="0" y="3"/>
                      </a:lnTo>
                      <a:lnTo>
                        <a:pt x="10" y="4"/>
                      </a:lnTo>
                      <a:lnTo>
                        <a:pt x="12" y="3"/>
                      </a:lnTo>
                      <a:lnTo>
                        <a:pt x="15" y="3"/>
                      </a:lnTo>
                      <a:lnTo>
                        <a:pt x="15" y="1"/>
                      </a:lnTo>
                      <a:lnTo>
                        <a:pt x="12" y="0"/>
                      </a:lnTo>
                      <a:lnTo>
                        <a:pt x="7" y="1"/>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64" name="Freeform 126">
                  <a:extLst>
                    <a:ext uri="{FF2B5EF4-FFF2-40B4-BE49-F238E27FC236}">
                      <a16:creationId xmlns:a16="http://schemas.microsoft.com/office/drawing/2014/main" id="{3029DEAA-DDED-4BA2-6ECA-B1D67D467F57}"/>
                    </a:ext>
                  </a:extLst>
                </p:cNvPr>
                <p:cNvSpPr>
                  <a:spLocks/>
                </p:cNvSpPr>
                <p:nvPr/>
              </p:nvSpPr>
              <p:spPr bwMode="auto">
                <a:xfrm>
                  <a:off x="4479" y="1309"/>
                  <a:ext cx="19" cy="5"/>
                </a:xfrm>
                <a:custGeom>
                  <a:avLst/>
                  <a:gdLst>
                    <a:gd name="T0" fmla="*/ 1 w 19"/>
                    <a:gd name="T1" fmla="*/ 5 h 5"/>
                    <a:gd name="T2" fmla="*/ 9 w 19"/>
                    <a:gd name="T3" fmla="*/ 4 h 5"/>
                    <a:gd name="T4" fmla="*/ 18 w 19"/>
                    <a:gd name="T5" fmla="*/ 4 h 5"/>
                    <a:gd name="T6" fmla="*/ 19 w 19"/>
                    <a:gd name="T7" fmla="*/ 0 h 5"/>
                    <a:gd name="T8" fmla="*/ 17 w 19"/>
                    <a:gd name="T9" fmla="*/ 0 h 5"/>
                    <a:gd name="T10" fmla="*/ 2 w 19"/>
                    <a:gd name="T11" fmla="*/ 1 h 5"/>
                    <a:gd name="T12" fmla="*/ 0 w 19"/>
                    <a:gd name="T13" fmla="*/ 1 h 5"/>
                    <a:gd name="T14" fmla="*/ 2 w 19"/>
                    <a:gd name="T15" fmla="*/ 2 h 5"/>
                    <a:gd name="T16" fmla="*/ 1 w 19"/>
                    <a:gd name="T17" fmla="*/ 5 h 5"/>
                    <a:gd name="T18" fmla="*/ 1 w 19"/>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5">
                      <a:moveTo>
                        <a:pt x="1" y="5"/>
                      </a:moveTo>
                      <a:lnTo>
                        <a:pt x="9" y="4"/>
                      </a:lnTo>
                      <a:lnTo>
                        <a:pt x="18" y="4"/>
                      </a:lnTo>
                      <a:lnTo>
                        <a:pt x="19" y="0"/>
                      </a:lnTo>
                      <a:lnTo>
                        <a:pt x="17" y="0"/>
                      </a:lnTo>
                      <a:lnTo>
                        <a:pt x="2" y="1"/>
                      </a:lnTo>
                      <a:lnTo>
                        <a:pt x="0" y="1"/>
                      </a:lnTo>
                      <a:lnTo>
                        <a:pt x="2" y="2"/>
                      </a:lnTo>
                      <a:lnTo>
                        <a:pt x="1" y="5"/>
                      </a:lnTo>
                      <a:lnTo>
                        <a:pt x="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65" name="Freeform 127">
                  <a:extLst>
                    <a:ext uri="{FF2B5EF4-FFF2-40B4-BE49-F238E27FC236}">
                      <a16:creationId xmlns:a16="http://schemas.microsoft.com/office/drawing/2014/main" id="{4688B300-6E86-82A7-10A0-6E37F08114BA}"/>
                    </a:ext>
                  </a:extLst>
                </p:cNvPr>
                <p:cNvSpPr>
                  <a:spLocks/>
                </p:cNvSpPr>
                <p:nvPr/>
              </p:nvSpPr>
              <p:spPr bwMode="auto">
                <a:xfrm>
                  <a:off x="4485" y="1324"/>
                  <a:ext cx="12" cy="3"/>
                </a:xfrm>
                <a:custGeom>
                  <a:avLst/>
                  <a:gdLst>
                    <a:gd name="T0" fmla="*/ 0 w 12"/>
                    <a:gd name="T1" fmla="*/ 1 h 3"/>
                    <a:gd name="T2" fmla="*/ 0 w 12"/>
                    <a:gd name="T3" fmla="*/ 2 h 3"/>
                    <a:gd name="T4" fmla="*/ 4 w 12"/>
                    <a:gd name="T5" fmla="*/ 3 h 3"/>
                    <a:gd name="T6" fmla="*/ 8 w 12"/>
                    <a:gd name="T7" fmla="*/ 3 h 3"/>
                    <a:gd name="T8" fmla="*/ 12 w 12"/>
                    <a:gd name="T9" fmla="*/ 1 h 3"/>
                    <a:gd name="T10" fmla="*/ 8 w 12"/>
                    <a:gd name="T11" fmla="*/ 0 h 3"/>
                    <a:gd name="T12" fmla="*/ 6 w 12"/>
                    <a:gd name="T13" fmla="*/ 0 h 3"/>
                    <a:gd name="T14" fmla="*/ 0 w 12"/>
                    <a:gd name="T15" fmla="*/ 1 h 3"/>
                    <a:gd name="T16" fmla="*/ 0 w 12"/>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
                      <a:moveTo>
                        <a:pt x="0" y="1"/>
                      </a:moveTo>
                      <a:lnTo>
                        <a:pt x="0" y="2"/>
                      </a:lnTo>
                      <a:lnTo>
                        <a:pt x="4" y="3"/>
                      </a:lnTo>
                      <a:lnTo>
                        <a:pt x="8" y="3"/>
                      </a:lnTo>
                      <a:lnTo>
                        <a:pt x="12" y="1"/>
                      </a:lnTo>
                      <a:lnTo>
                        <a:pt x="8" y="0"/>
                      </a:lnTo>
                      <a:lnTo>
                        <a:pt x="6" y="0"/>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66" name="Freeform 128">
                  <a:extLst>
                    <a:ext uri="{FF2B5EF4-FFF2-40B4-BE49-F238E27FC236}">
                      <a16:creationId xmlns:a16="http://schemas.microsoft.com/office/drawing/2014/main" id="{502837EB-B44D-1A37-BA27-26DBFDBA88C3}"/>
                    </a:ext>
                  </a:extLst>
                </p:cNvPr>
                <p:cNvSpPr>
                  <a:spLocks/>
                </p:cNvSpPr>
                <p:nvPr/>
              </p:nvSpPr>
              <p:spPr bwMode="auto">
                <a:xfrm>
                  <a:off x="4490" y="1487"/>
                  <a:ext cx="6" cy="2"/>
                </a:xfrm>
                <a:custGeom>
                  <a:avLst/>
                  <a:gdLst>
                    <a:gd name="T0" fmla="*/ 0 w 6"/>
                    <a:gd name="T1" fmla="*/ 2 h 2"/>
                    <a:gd name="T2" fmla="*/ 0 w 6"/>
                    <a:gd name="T3" fmla="*/ 2 h 2"/>
                    <a:gd name="T4" fmla="*/ 2 w 6"/>
                    <a:gd name="T5" fmla="*/ 2 h 2"/>
                    <a:gd name="T6" fmla="*/ 6 w 6"/>
                    <a:gd name="T7" fmla="*/ 0 h 2"/>
                    <a:gd name="T8" fmla="*/ 0 w 6"/>
                    <a:gd name="T9" fmla="*/ 2 h 2"/>
                    <a:gd name="T10" fmla="*/ 0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0" y="2"/>
                      </a:moveTo>
                      <a:lnTo>
                        <a:pt x="0" y="2"/>
                      </a:lnTo>
                      <a:lnTo>
                        <a:pt x="2" y="2"/>
                      </a:lnTo>
                      <a:lnTo>
                        <a:pt x="6"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67" name="Freeform 129">
                  <a:extLst>
                    <a:ext uri="{FF2B5EF4-FFF2-40B4-BE49-F238E27FC236}">
                      <a16:creationId xmlns:a16="http://schemas.microsoft.com/office/drawing/2014/main" id="{2760D098-72D5-7758-A580-58AC73DD31DD}"/>
                    </a:ext>
                  </a:extLst>
                </p:cNvPr>
                <p:cNvSpPr>
                  <a:spLocks/>
                </p:cNvSpPr>
                <p:nvPr/>
              </p:nvSpPr>
              <p:spPr bwMode="auto">
                <a:xfrm>
                  <a:off x="4490" y="1365"/>
                  <a:ext cx="15" cy="5"/>
                </a:xfrm>
                <a:custGeom>
                  <a:avLst/>
                  <a:gdLst>
                    <a:gd name="T0" fmla="*/ 0 w 15"/>
                    <a:gd name="T1" fmla="*/ 3 h 5"/>
                    <a:gd name="T2" fmla="*/ 3 w 15"/>
                    <a:gd name="T3" fmla="*/ 4 h 5"/>
                    <a:gd name="T4" fmla="*/ 6 w 15"/>
                    <a:gd name="T5" fmla="*/ 5 h 5"/>
                    <a:gd name="T6" fmla="*/ 12 w 15"/>
                    <a:gd name="T7" fmla="*/ 5 h 5"/>
                    <a:gd name="T8" fmla="*/ 15 w 15"/>
                    <a:gd name="T9" fmla="*/ 3 h 5"/>
                    <a:gd name="T10" fmla="*/ 14 w 15"/>
                    <a:gd name="T11" fmla="*/ 3 h 5"/>
                    <a:gd name="T12" fmla="*/ 12 w 15"/>
                    <a:gd name="T13" fmla="*/ 0 h 5"/>
                    <a:gd name="T14" fmla="*/ 9 w 15"/>
                    <a:gd name="T15" fmla="*/ 0 h 5"/>
                    <a:gd name="T16" fmla="*/ 3 w 15"/>
                    <a:gd name="T17" fmla="*/ 1 h 5"/>
                    <a:gd name="T18" fmla="*/ 0 w 15"/>
                    <a:gd name="T19" fmla="*/ 3 h 5"/>
                    <a:gd name="T20" fmla="*/ 0 w 15"/>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5">
                      <a:moveTo>
                        <a:pt x="0" y="3"/>
                      </a:moveTo>
                      <a:lnTo>
                        <a:pt x="3" y="4"/>
                      </a:lnTo>
                      <a:lnTo>
                        <a:pt x="6" y="5"/>
                      </a:lnTo>
                      <a:lnTo>
                        <a:pt x="12" y="5"/>
                      </a:lnTo>
                      <a:lnTo>
                        <a:pt x="15" y="3"/>
                      </a:lnTo>
                      <a:lnTo>
                        <a:pt x="14" y="3"/>
                      </a:lnTo>
                      <a:lnTo>
                        <a:pt x="12" y="0"/>
                      </a:lnTo>
                      <a:lnTo>
                        <a:pt x="9" y="0"/>
                      </a:lnTo>
                      <a:lnTo>
                        <a:pt x="3" y="1"/>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68" name="Freeform 130">
                  <a:extLst>
                    <a:ext uri="{FF2B5EF4-FFF2-40B4-BE49-F238E27FC236}">
                      <a16:creationId xmlns:a16="http://schemas.microsoft.com/office/drawing/2014/main" id="{AC45F5FA-945F-165B-60E4-05530C88A0FC}"/>
                    </a:ext>
                  </a:extLst>
                </p:cNvPr>
                <p:cNvSpPr>
                  <a:spLocks/>
                </p:cNvSpPr>
                <p:nvPr/>
              </p:nvSpPr>
              <p:spPr bwMode="auto">
                <a:xfrm>
                  <a:off x="4497" y="1340"/>
                  <a:ext cx="41" cy="16"/>
                </a:xfrm>
                <a:custGeom>
                  <a:avLst/>
                  <a:gdLst>
                    <a:gd name="T0" fmla="*/ 0 w 41"/>
                    <a:gd name="T1" fmla="*/ 11 h 16"/>
                    <a:gd name="T2" fmla="*/ 0 w 41"/>
                    <a:gd name="T3" fmla="*/ 12 h 16"/>
                    <a:gd name="T4" fmla="*/ 5 w 41"/>
                    <a:gd name="T5" fmla="*/ 15 h 16"/>
                    <a:gd name="T6" fmla="*/ 8 w 41"/>
                    <a:gd name="T7" fmla="*/ 15 h 16"/>
                    <a:gd name="T8" fmla="*/ 13 w 41"/>
                    <a:gd name="T9" fmla="*/ 13 h 16"/>
                    <a:gd name="T10" fmla="*/ 22 w 41"/>
                    <a:gd name="T11" fmla="*/ 16 h 16"/>
                    <a:gd name="T12" fmla="*/ 25 w 41"/>
                    <a:gd name="T13" fmla="*/ 15 h 16"/>
                    <a:gd name="T14" fmla="*/ 27 w 41"/>
                    <a:gd name="T15" fmla="*/ 12 h 16"/>
                    <a:gd name="T16" fmla="*/ 30 w 41"/>
                    <a:gd name="T17" fmla="*/ 12 h 16"/>
                    <a:gd name="T18" fmla="*/ 34 w 41"/>
                    <a:gd name="T19" fmla="*/ 10 h 16"/>
                    <a:gd name="T20" fmla="*/ 36 w 41"/>
                    <a:gd name="T21" fmla="*/ 9 h 16"/>
                    <a:gd name="T22" fmla="*/ 41 w 41"/>
                    <a:gd name="T23" fmla="*/ 4 h 16"/>
                    <a:gd name="T24" fmla="*/ 38 w 41"/>
                    <a:gd name="T25" fmla="*/ 1 h 16"/>
                    <a:gd name="T26" fmla="*/ 36 w 41"/>
                    <a:gd name="T27" fmla="*/ 1 h 16"/>
                    <a:gd name="T28" fmla="*/ 33 w 41"/>
                    <a:gd name="T29" fmla="*/ 0 h 16"/>
                    <a:gd name="T30" fmla="*/ 24 w 41"/>
                    <a:gd name="T31" fmla="*/ 2 h 16"/>
                    <a:gd name="T32" fmla="*/ 14 w 41"/>
                    <a:gd name="T33" fmla="*/ 3 h 16"/>
                    <a:gd name="T34" fmla="*/ 9 w 41"/>
                    <a:gd name="T35" fmla="*/ 2 h 16"/>
                    <a:gd name="T36" fmla="*/ 12 w 41"/>
                    <a:gd name="T37" fmla="*/ 1 h 16"/>
                    <a:gd name="T38" fmla="*/ 9 w 41"/>
                    <a:gd name="T39" fmla="*/ 1 h 16"/>
                    <a:gd name="T40" fmla="*/ 7 w 41"/>
                    <a:gd name="T41" fmla="*/ 2 h 16"/>
                    <a:gd name="T42" fmla="*/ 1 w 41"/>
                    <a:gd name="T43" fmla="*/ 5 h 16"/>
                    <a:gd name="T44" fmla="*/ 0 w 41"/>
                    <a:gd name="T45" fmla="*/ 9 h 16"/>
                    <a:gd name="T46" fmla="*/ 0 w 41"/>
                    <a:gd name="T47" fmla="*/ 11 h 16"/>
                    <a:gd name="T48" fmla="*/ 0 w 41"/>
                    <a:gd name="T49"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16">
                      <a:moveTo>
                        <a:pt x="0" y="11"/>
                      </a:moveTo>
                      <a:lnTo>
                        <a:pt x="0" y="12"/>
                      </a:lnTo>
                      <a:lnTo>
                        <a:pt x="5" y="15"/>
                      </a:lnTo>
                      <a:lnTo>
                        <a:pt x="8" y="15"/>
                      </a:lnTo>
                      <a:lnTo>
                        <a:pt x="13" y="13"/>
                      </a:lnTo>
                      <a:lnTo>
                        <a:pt x="22" y="16"/>
                      </a:lnTo>
                      <a:lnTo>
                        <a:pt x="25" y="15"/>
                      </a:lnTo>
                      <a:lnTo>
                        <a:pt x="27" y="12"/>
                      </a:lnTo>
                      <a:lnTo>
                        <a:pt x="30" y="12"/>
                      </a:lnTo>
                      <a:lnTo>
                        <a:pt x="34" y="10"/>
                      </a:lnTo>
                      <a:lnTo>
                        <a:pt x="36" y="9"/>
                      </a:lnTo>
                      <a:lnTo>
                        <a:pt x="41" y="4"/>
                      </a:lnTo>
                      <a:lnTo>
                        <a:pt x="38" y="1"/>
                      </a:lnTo>
                      <a:lnTo>
                        <a:pt x="36" y="1"/>
                      </a:lnTo>
                      <a:lnTo>
                        <a:pt x="33" y="0"/>
                      </a:lnTo>
                      <a:lnTo>
                        <a:pt x="24" y="2"/>
                      </a:lnTo>
                      <a:lnTo>
                        <a:pt x="14" y="3"/>
                      </a:lnTo>
                      <a:lnTo>
                        <a:pt x="9" y="2"/>
                      </a:lnTo>
                      <a:lnTo>
                        <a:pt x="12" y="1"/>
                      </a:lnTo>
                      <a:lnTo>
                        <a:pt x="9" y="1"/>
                      </a:lnTo>
                      <a:lnTo>
                        <a:pt x="7" y="2"/>
                      </a:lnTo>
                      <a:lnTo>
                        <a:pt x="1" y="5"/>
                      </a:lnTo>
                      <a:lnTo>
                        <a:pt x="0" y="9"/>
                      </a:lnTo>
                      <a:lnTo>
                        <a:pt x="0" y="11"/>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69" name="Freeform 131">
                  <a:extLst>
                    <a:ext uri="{FF2B5EF4-FFF2-40B4-BE49-F238E27FC236}">
                      <a16:creationId xmlns:a16="http://schemas.microsoft.com/office/drawing/2014/main" id="{8A17C675-4912-22F1-FE49-56000420364D}"/>
                    </a:ext>
                  </a:extLst>
                </p:cNvPr>
                <p:cNvSpPr>
                  <a:spLocks/>
                </p:cNvSpPr>
                <p:nvPr/>
              </p:nvSpPr>
              <p:spPr bwMode="auto">
                <a:xfrm>
                  <a:off x="4508" y="1333"/>
                  <a:ext cx="20" cy="7"/>
                </a:xfrm>
                <a:custGeom>
                  <a:avLst/>
                  <a:gdLst>
                    <a:gd name="T0" fmla="*/ 0 w 20"/>
                    <a:gd name="T1" fmla="*/ 3 h 7"/>
                    <a:gd name="T2" fmla="*/ 0 w 20"/>
                    <a:gd name="T3" fmla="*/ 5 h 7"/>
                    <a:gd name="T4" fmla="*/ 3 w 20"/>
                    <a:gd name="T5" fmla="*/ 6 h 7"/>
                    <a:gd name="T6" fmla="*/ 11 w 20"/>
                    <a:gd name="T7" fmla="*/ 7 h 7"/>
                    <a:gd name="T8" fmla="*/ 15 w 20"/>
                    <a:gd name="T9" fmla="*/ 6 h 7"/>
                    <a:gd name="T10" fmla="*/ 20 w 20"/>
                    <a:gd name="T11" fmla="*/ 2 h 7"/>
                    <a:gd name="T12" fmla="*/ 20 w 20"/>
                    <a:gd name="T13" fmla="*/ 0 h 7"/>
                    <a:gd name="T14" fmla="*/ 14 w 20"/>
                    <a:gd name="T15" fmla="*/ 0 h 7"/>
                    <a:gd name="T16" fmla="*/ 8 w 20"/>
                    <a:gd name="T17" fmla="*/ 0 h 7"/>
                    <a:gd name="T18" fmla="*/ 2 w 20"/>
                    <a:gd name="T19" fmla="*/ 2 h 7"/>
                    <a:gd name="T20" fmla="*/ 0 w 20"/>
                    <a:gd name="T21" fmla="*/ 3 h 7"/>
                    <a:gd name="T22" fmla="*/ 0 w 20"/>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7">
                      <a:moveTo>
                        <a:pt x="0" y="3"/>
                      </a:moveTo>
                      <a:lnTo>
                        <a:pt x="0" y="5"/>
                      </a:lnTo>
                      <a:lnTo>
                        <a:pt x="3" y="6"/>
                      </a:lnTo>
                      <a:lnTo>
                        <a:pt x="11" y="7"/>
                      </a:lnTo>
                      <a:lnTo>
                        <a:pt x="15" y="6"/>
                      </a:lnTo>
                      <a:lnTo>
                        <a:pt x="20" y="2"/>
                      </a:lnTo>
                      <a:lnTo>
                        <a:pt x="20" y="0"/>
                      </a:lnTo>
                      <a:lnTo>
                        <a:pt x="14" y="0"/>
                      </a:lnTo>
                      <a:lnTo>
                        <a:pt x="8" y="0"/>
                      </a:lnTo>
                      <a:lnTo>
                        <a:pt x="2" y="2"/>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70" name="Freeform 132">
                  <a:extLst>
                    <a:ext uri="{FF2B5EF4-FFF2-40B4-BE49-F238E27FC236}">
                      <a16:creationId xmlns:a16="http://schemas.microsoft.com/office/drawing/2014/main" id="{CC0FCF33-D255-19AB-EA2B-9D11B681E3B7}"/>
                    </a:ext>
                  </a:extLst>
                </p:cNvPr>
                <p:cNvSpPr>
                  <a:spLocks/>
                </p:cNvSpPr>
                <p:nvPr/>
              </p:nvSpPr>
              <p:spPr bwMode="auto">
                <a:xfrm>
                  <a:off x="4531" y="1317"/>
                  <a:ext cx="5" cy="2"/>
                </a:xfrm>
                <a:custGeom>
                  <a:avLst/>
                  <a:gdLst>
                    <a:gd name="T0" fmla="*/ 0 w 5"/>
                    <a:gd name="T1" fmla="*/ 0 h 2"/>
                    <a:gd name="T2" fmla="*/ 0 w 5"/>
                    <a:gd name="T3" fmla="*/ 1 h 2"/>
                    <a:gd name="T4" fmla="*/ 2 w 5"/>
                    <a:gd name="T5" fmla="*/ 2 h 2"/>
                    <a:gd name="T6" fmla="*/ 5 w 5"/>
                    <a:gd name="T7" fmla="*/ 1 h 2"/>
                    <a:gd name="T8" fmla="*/ 0 w 5"/>
                    <a:gd name="T9" fmla="*/ 0 h 2"/>
                    <a:gd name="T10" fmla="*/ 0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0" y="0"/>
                      </a:moveTo>
                      <a:lnTo>
                        <a:pt x="0" y="1"/>
                      </a:lnTo>
                      <a:lnTo>
                        <a:pt x="2" y="2"/>
                      </a:lnTo>
                      <a:lnTo>
                        <a:pt x="5"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71" name="Freeform 133">
                  <a:extLst>
                    <a:ext uri="{FF2B5EF4-FFF2-40B4-BE49-F238E27FC236}">
                      <a16:creationId xmlns:a16="http://schemas.microsoft.com/office/drawing/2014/main" id="{5EB2FE50-AAF0-DBE4-88BE-52D738A67CAB}"/>
                    </a:ext>
                  </a:extLst>
                </p:cNvPr>
                <p:cNvSpPr>
                  <a:spLocks/>
                </p:cNvSpPr>
                <p:nvPr/>
              </p:nvSpPr>
              <p:spPr bwMode="auto">
                <a:xfrm>
                  <a:off x="4536" y="1313"/>
                  <a:ext cx="21" cy="4"/>
                </a:xfrm>
                <a:custGeom>
                  <a:avLst/>
                  <a:gdLst>
                    <a:gd name="T0" fmla="*/ 0 w 21"/>
                    <a:gd name="T1" fmla="*/ 2 h 4"/>
                    <a:gd name="T2" fmla="*/ 0 w 21"/>
                    <a:gd name="T3" fmla="*/ 2 h 4"/>
                    <a:gd name="T4" fmla="*/ 4 w 21"/>
                    <a:gd name="T5" fmla="*/ 2 h 4"/>
                    <a:gd name="T6" fmla="*/ 6 w 21"/>
                    <a:gd name="T7" fmla="*/ 3 h 4"/>
                    <a:gd name="T8" fmla="*/ 12 w 21"/>
                    <a:gd name="T9" fmla="*/ 4 h 4"/>
                    <a:gd name="T10" fmla="*/ 19 w 21"/>
                    <a:gd name="T11" fmla="*/ 4 h 4"/>
                    <a:gd name="T12" fmla="*/ 21 w 21"/>
                    <a:gd name="T13" fmla="*/ 4 h 4"/>
                    <a:gd name="T14" fmla="*/ 21 w 21"/>
                    <a:gd name="T15" fmla="*/ 1 h 4"/>
                    <a:gd name="T16" fmla="*/ 17 w 21"/>
                    <a:gd name="T17" fmla="*/ 1 h 4"/>
                    <a:gd name="T18" fmla="*/ 15 w 21"/>
                    <a:gd name="T19" fmla="*/ 0 h 4"/>
                    <a:gd name="T20" fmla="*/ 9 w 21"/>
                    <a:gd name="T21" fmla="*/ 1 h 4"/>
                    <a:gd name="T22" fmla="*/ 6 w 21"/>
                    <a:gd name="T23" fmla="*/ 1 h 4"/>
                    <a:gd name="T24" fmla="*/ 0 w 21"/>
                    <a:gd name="T25" fmla="*/ 2 h 4"/>
                    <a:gd name="T26" fmla="*/ 0 w 21"/>
                    <a:gd name="T2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4">
                      <a:moveTo>
                        <a:pt x="0" y="2"/>
                      </a:moveTo>
                      <a:lnTo>
                        <a:pt x="0" y="2"/>
                      </a:lnTo>
                      <a:lnTo>
                        <a:pt x="4" y="2"/>
                      </a:lnTo>
                      <a:lnTo>
                        <a:pt x="6" y="3"/>
                      </a:lnTo>
                      <a:lnTo>
                        <a:pt x="12" y="4"/>
                      </a:lnTo>
                      <a:lnTo>
                        <a:pt x="19" y="4"/>
                      </a:lnTo>
                      <a:lnTo>
                        <a:pt x="21" y="4"/>
                      </a:lnTo>
                      <a:lnTo>
                        <a:pt x="21" y="1"/>
                      </a:lnTo>
                      <a:lnTo>
                        <a:pt x="17" y="1"/>
                      </a:lnTo>
                      <a:lnTo>
                        <a:pt x="15" y="0"/>
                      </a:lnTo>
                      <a:lnTo>
                        <a:pt x="9" y="1"/>
                      </a:lnTo>
                      <a:lnTo>
                        <a:pt x="6" y="1"/>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72" name="Freeform 134">
                  <a:extLst>
                    <a:ext uri="{FF2B5EF4-FFF2-40B4-BE49-F238E27FC236}">
                      <a16:creationId xmlns:a16="http://schemas.microsoft.com/office/drawing/2014/main" id="{43FE6737-D442-DC4C-5BA7-4D31F42E7A05}"/>
                    </a:ext>
                  </a:extLst>
                </p:cNvPr>
                <p:cNvSpPr>
                  <a:spLocks/>
                </p:cNvSpPr>
                <p:nvPr/>
              </p:nvSpPr>
              <p:spPr bwMode="auto">
                <a:xfrm>
                  <a:off x="4541" y="1331"/>
                  <a:ext cx="40" cy="16"/>
                </a:xfrm>
                <a:custGeom>
                  <a:avLst/>
                  <a:gdLst>
                    <a:gd name="T0" fmla="*/ 0 w 40"/>
                    <a:gd name="T1" fmla="*/ 10 h 16"/>
                    <a:gd name="T2" fmla="*/ 0 w 40"/>
                    <a:gd name="T3" fmla="*/ 12 h 16"/>
                    <a:gd name="T4" fmla="*/ 9 w 40"/>
                    <a:gd name="T5" fmla="*/ 16 h 16"/>
                    <a:gd name="T6" fmla="*/ 14 w 40"/>
                    <a:gd name="T7" fmla="*/ 14 h 16"/>
                    <a:gd name="T8" fmla="*/ 26 w 40"/>
                    <a:gd name="T9" fmla="*/ 14 h 16"/>
                    <a:gd name="T10" fmla="*/ 28 w 40"/>
                    <a:gd name="T11" fmla="*/ 13 h 16"/>
                    <a:gd name="T12" fmla="*/ 34 w 40"/>
                    <a:gd name="T13" fmla="*/ 11 h 16"/>
                    <a:gd name="T14" fmla="*/ 37 w 40"/>
                    <a:gd name="T15" fmla="*/ 10 h 16"/>
                    <a:gd name="T16" fmla="*/ 40 w 40"/>
                    <a:gd name="T17" fmla="*/ 7 h 16"/>
                    <a:gd name="T18" fmla="*/ 40 w 40"/>
                    <a:gd name="T19" fmla="*/ 4 h 16"/>
                    <a:gd name="T20" fmla="*/ 37 w 40"/>
                    <a:gd name="T21" fmla="*/ 2 h 16"/>
                    <a:gd name="T22" fmla="*/ 35 w 40"/>
                    <a:gd name="T23" fmla="*/ 1 h 16"/>
                    <a:gd name="T24" fmla="*/ 32 w 40"/>
                    <a:gd name="T25" fmla="*/ 0 h 16"/>
                    <a:gd name="T26" fmla="*/ 26 w 40"/>
                    <a:gd name="T27" fmla="*/ 0 h 16"/>
                    <a:gd name="T28" fmla="*/ 24 w 40"/>
                    <a:gd name="T29" fmla="*/ 1 h 16"/>
                    <a:gd name="T30" fmla="*/ 23 w 40"/>
                    <a:gd name="T31" fmla="*/ 3 h 16"/>
                    <a:gd name="T32" fmla="*/ 21 w 40"/>
                    <a:gd name="T33" fmla="*/ 5 h 16"/>
                    <a:gd name="T34" fmla="*/ 9 w 40"/>
                    <a:gd name="T35" fmla="*/ 7 h 16"/>
                    <a:gd name="T36" fmla="*/ 6 w 40"/>
                    <a:gd name="T37" fmla="*/ 9 h 16"/>
                    <a:gd name="T38" fmla="*/ 0 w 40"/>
                    <a:gd name="T39" fmla="*/ 10 h 16"/>
                    <a:gd name="T40" fmla="*/ 0 w 40"/>
                    <a:gd name="T4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6">
                      <a:moveTo>
                        <a:pt x="0" y="10"/>
                      </a:moveTo>
                      <a:lnTo>
                        <a:pt x="0" y="12"/>
                      </a:lnTo>
                      <a:lnTo>
                        <a:pt x="9" y="16"/>
                      </a:lnTo>
                      <a:lnTo>
                        <a:pt x="14" y="14"/>
                      </a:lnTo>
                      <a:lnTo>
                        <a:pt x="26" y="14"/>
                      </a:lnTo>
                      <a:lnTo>
                        <a:pt x="28" y="13"/>
                      </a:lnTo>
                      <a:lnTo>
                        <a:pt x="34" y="11"/>
                      </a:lnTo>
                      <a:lnTo>
                        <a:pt x="37" y="10"/>
                      </a:lnTo>
                      <a:lnTo>
                        <a:pt x="40" y="7"/>
                      </a:lnTo>
                      <a:lnTo>
                        <a:pt x="40" y="4"/>
                      </a:lnTo>
                      <a:lnTo>
                        <a:pt x="37" y="2"/>
                      </a:lnTo>
                      <a:lnTo>
                        <a:pt x="35" y="1"/>
                      </a:lnTo>
                      <a:lnTo>
                        <a:pt x="32" y="0"/>
                      </a:lnTo>
                      <a:lnTo>
                        <a:pt x="26" y="0"/>
                      </a:lnTo>
                      <a:lnTo>
                        <a:pt x="24" y="1"/>
                      </a:lnTo>
                      <a:lnTo>
                        <a:pt x="23" y="3"/>
                      </a:lnTo>
                      <a:lnTo>
                        <a:pt x="21" y="5"/>
                      </a:lnTo>
                      <a:lnTo>
                        <a:pt x="9" y="7"/>
                      </a:lnTo>
                      <a:lnTo>
                        <a:pt x="6" y="9"/>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73" name="Freeform 135">
                  <a:extLst>
                    <a:ext uri="{FF2B5EF4-FFF2-40B4-BE49-F238E27FC236}">
                      <a16:creationId xmlns:a16="http://schemas.microsoft.com/office/drawing/2014/main" id="{D1658D71-F067-5FEF-377D-088A4E4DC861}"/>
                    </a:ext>
                  </a:extLst>
                </p:cNvPr>
                <p:cNvSpPr>
                  <a:spLocks/>
                </p:cNvSpPr>
                <p:nvPr/>
              </p:nvSpPr>
              <p:spPr bwMode="auto">
                <a:xfrm>
                  <a:off x="4389" y="1557"/>
                  <a:ext cx="84" cy="73"/>
                </a:xfrm>
                <a:custGeom>
                  <a:avLst/>
                  <a:gdLst>
                    <a:gd name="T0" fmla="*/ 28 w 84"/>
                    <a:gd name="T1" fmla="*/ 5 h 73"/>
                    <a:gd name="T2" fmla="*/ 38 w 84"/>
                    <a:gd name="T3" fmla="*/ 4 h 73"/>
                    <a:gd name="T4" fmla="*/ 43 w 84"/>
                    <a:gd name="T5" fmla="*/ 1 h 73"/>
                    <a:gd name="T6" fmla="*/ 51 w 84"/>
                    <a:gd name="T7" fmla="*/ 0 h 73"/>
                    <a:gd name="T8" fmla="*/ 59 w 84"/>
                    <a:gd name="T9" fmla="*/ 2 h 73"/>
                    <a:gd name="T10" fmla="*/ 67 w 84"/>
                    <a:gd name="T11" fmla="*/ 5 h 73"/>
                    <a:gd name="T12" fmla="*/ 67 w 84"/>
                    <a:gd name="T13" fmla="*/ 8 h 73"/>
                    <a:gd name="T14" fmla="*/ 67 w 84"/>
                    <a:gd name="T15" fmla="*/ 9 h 73"/>
                    <a:gd name="T16" fmla="*/ 59 w 84"/>
                    <a:gd name="T17" fmla="*/ 12 h 73"/>
                    <a:gd name="T18" fmla="*/ 65 w 84"/>
                    <a:gd name="T19" fmla="*/ 12 h 73"/>
                    <a:gd name="T20" fmla="*/ 62 w 84"/>
                    <a:gd name="T21" fmla="*/ 17 h 73"/>
                    <a:gd name="T22" fmla="*/ 55 w 84"/>
                    <a:gd name="T23" fmla="*/ 16 h 73"/>
                    <a:gd name="T24" fmla="*/ 58 w 84"/>
                    <a:gd name="T25" fmla="*/ 18 h 73"/>
                    <a:gd name="T26" fmla="*/ 55 w 84"/>
                    <a:gd name="T27" fmla="*/ 22 h 73"/>
                    <a:gd name="T28" fmla="*/ 51 w 84"/>
                    <a:gd name="T29" fmla="*/ 25 h 73"/>
                    <a:gd name="T30" fmla="*/ 55 w 84"/>
                    <a:gd name="T31" fmla="*/ 29 h 73"/>
                    <a:gd name="T32" fmla="*/ 55 w 84"/>
                    <a:gd name="T33" fmla="*/ 34 h 73"/>
                    <a:gd name="T34" fmla="*/ 56 w 84"/>
                    <a:gd name="T35" fmla="*/ 39 h 73"/>
                    <a:gd name="T36" fmla="*/ 59 w 84"/>
                    <a:gd name="T37" fmla="*/ 48 h 73"/>
                    <a:gd name="T38" fmla="*/ 65 w 84"/>
                    <a:gd name="T39" fmla="*/ 56 h 73"/>
                    <a:gd name="T40" fmla="*/ 84 w 84"/>
                    <a:gd name="T41" fmla="*/ 68 h 73"/>
                    <a:gd name="T42" fmla="*/ 81 w 84"/>
                    <a:gd name="T43" fmla="*/ 72 h 73"/>
                    <a:gd name="T44" fmla="*/ 74 w 84"/>
                    <a:gd name="T45" fmla="*/ 70 h 73"/>
                    <a:gd name="T46" fmla="*/ 74 w 84"/>
                    <a:gd name="T47" fmla="*/ 72 h 73"/>
                    <a:gd name="T48" fmla="*/ 69 w 84"/>
                    <a:gd name="T49" fmla="*/ 68 h 73"/>
                    <a:gd name="T50" fmla="*/ 72 w 84"/>
                    <a:gd name="T51" fmla="*/ 72 h 73"/>
                    <a:gd name="T52" fmla="*/ 66 w 84"/>
                    <a:gd name="T53" fmla="*/ 72 h 73"/>
                    <a:gd name="T54" fmla="*/ 64 w 84"/>
                    <a:gd name="T55" fmla="*/ 73 h 73"/>
                    <a:gd name="T56" fmla="*/ 56 w 84"/>
                    <a:gd name="T57" fmla="*/ 68 h 73"/>
                    <a:gd name="T58" fmla="*/ 52 w 84"/>
                    <a:gd name="T59" fmla="*/ 73 h 73"/>
                    <a:gd name="T60" fmla="*/ 43 w 84"/>
                    <a:gd name="T61" fmla="*/ 67 h 73"/>
                    <a:gd name="T62" fmla="*/ 43 w 84"/>
                    <a:gd name="T63" fmla="*/ 70 h 73"/>
                    <a:gd name="T64" fmla="*/ 38 w 84"/>
                    <a:gd name="T65" fmla="*/ 68 h 73"/>
                    <a:gd name="T66" fmla="*/ 32 w 84"/>
                    <a:gd name="T67" fmla="*/ 67 h 73"/>
                    <a:gd name="T68" fmla="*/ 26 w 84"/>
                    <a:gd name="T69" fmla="*/ 66 h 73"/>
                    <a:gd name="T70" fmla="*/ 32 w 84"/>
                    <a:gd name="T71" fmla="*/ 64 h 73"/>
                    <a:gd name="T72" fmla="*/ 34 w 84"/>
                    <a:gd name="T73" fmla="*/ 58 h 73"/>
                    <a:gd name="T74" fmla="*/ 36 w 84"/>
                    <a:gd name="T75" fmla="*/ 57 h 73"/>
                    <a:gd name="T76" fmla="*/ 27 w 84"/>
                    <a:gd name="T77" fmla="*/ 56 h 73"/>
                    <a:gd name="T78" fmla="*/ 33 w 84"/>
                    <a:gd name="T79" fmla="*/ 51 h 73"/>
                    <a:gd name="T80" fmla="*/ 28 w 84"/>
                    <a:gd name="T81" fmla="*/ 55 h 73"/>
                    <a:gd name="T82" fmla="*/ 26 w 84"/>
                    <a:gd name="T83" fmla="*/ 49 h 73"/>
                    <a:gd name="T84" fmla="*/ 18 w 84"/>
                    <a:gd name="T85" fmla="*/ 51 h 73"/>
                    <a:gd name="T86" fmla="*/ 10 w 84"/>
                    <a:gd name="T87" fmla="*/ 48 h 73"/>
                    <a:gd name="T88" fmla="*/ 5 w 84"/>
                    <a:gd name="T89" fmla="*/ 50 h 73"/>
                    <a:gd name="T90" fmla="*/ 0 w 84"/>
                    <a:gd name="T91" fmla="*/ 43 h 73"/>
                    <a:gd name="T92" fmla="*/ 0 w 84"/>
                    <a:gd name="T93" fmla="*/ 38 h 73"/>
                    <a:gd name="T94" fmla="*/ 5 w 84"/>
                    <a:gd name="T95" fmla="*/ 33 h 73"/>
                    <a:gd name="T96" fmla="*/ 10 w 84"/>
                    <a:gd name="T97" fmla="*/ 33 h 73"/>
                    <a:gd name="T98" fmla="*/ 14 w 84"/>
                    <a:gd name="T99" fmla="*/ 32 h 73"/>
                    <a:gd name="T100" fmla="*/ 16 w 84"/>
                    <a:gd name="T101" fmla="*/ 29 h 73"/>
                    <a:gd name="T102" fmla="*/ 17 w 84"/>
                    <a:gd name="T103" fmla="*/ 25 h 73"/>
                    <a:gd name="T104" fmla="*/ 19 w 84"/>
                    <a:gd name="T105" fmla="*/ 22 h 73"/>
                    <a:gd name="T106" fmla="*/ 19 w 84"/>
                    <a:gd name="T107" fmla="*/ 19 h 73"/>
                    <a:gd name="T108" fmla="*/ 14 w 84"/>
                    <a:gd name="T109" fmla="*/ 18 h 73"/>
                    <a:gd name="T110" fmla="*/ 17 w 84"/>
                    <a:gd name="T111" fmla="*/ 14 h 73"/>
                    <a:gd name="T112" fmla="*/ 26 w 84"/>
                    <a:gd name="T113" fmla="*/ 14 h 73"/>
                    <a:gd name="T114" fmla="*/ 26 w 84"/>
                    <a:gd name="T115" fmla="*/ 10 h 73"/>
                    <a:gd name="T116" fmla="*/ 25 w 84"/>
                    <a:gd name="T117" fmla="*/ 6 h 73"/>
                    <a:gd name="T118" fmla="*/ 26 w 84"/>
                    <a:gd name="T119" fmla="*/ 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73">
                      <a:moveTo>
                        <a:pt x="26" y="5"/>
                      </a:moveTo>
                      <a:lnTo>
                        <a:pt x="28" y="5"/>
                      </a:lnTo>
                      <a:lnTo>
                        <a:pt x="32" y="2"/>
                      </a:lnTo>
                      <a:lnTo>
                        <a:pt x="38" y="4"/>
                      </a:lnTo>
                      <a:lnTo>
                        <a:pt x="40" y="2"/>
                      </a:lnTo>
                      <a:lnTo>
                        <a:pt x="43" y="1"/>
                      </a:lnTo>
                      <a:lnTo>
                        <a:pt x="48" y="0"/>
                      </a:lnTo>
                      <a:lnTo>
                        <a:pt x="51" y="0"/>
                      </a:lnTo>
                      <a:lnTo>
                        <a:pt x="53" y="2"/>
                      </a:lnTo>
                      <a:lnTo>
                        <a:pt x="59" y="2"/>
                      </a:lnTo>
                      <a:lnTo>
                        <a:pt x="62" y="4"/>
                      </a:lnTo>
                      <a:lnTo>
                        <a:pt x="67" y="5"/>
                      </a:lnTo>
                      <a:lnTo>
                        <a:pt x="70" y="7"/>
                      </a:lnTo>
                      <a:lnTo>
                        <a:pt x="67" y="8"/>
                      </a:lnTo>
                      <a:lnTo>
                        <a:pt x="61" y="9"/>
                      </a:lnTo>
                      <a:lnTo>
                        <a:pt x="67" y="9"/>
                      </a:lnTo>
                      <a:lnTo>
                        <a:pt x="65" y="10"/>
                      </a:lnTo>
                      <a:lnTo>
                        <a:pt x="59" y="12"/>
                      </a:lnTo>
                      <a:lnTo>
                        <a:pt x="62" y="13"/>
                      </a:lnTo>
                      <a:lnTo>
                        <a:pt x="65" y="12"/>
                      </a:lnTo>
                      <a:lnTo>
                        <a:pt x="66" y="15"/>
                      </a:lnTo>
                      <a:lnTo>
                        <a:pt x="62" y="17"/>
                      </a:lnTo>
                      <a:lnTo>
                        <a:pt x="60" y="16"/>
                      </a:lnTo>
                      <a:lnTo>
                        <a:pt x="55" y="16"/>
                      </a:lnTo>
                      <a:lnTo>
                        <a:pt x="60" y="17"/>
                      </a:lnTo>
                      <a:lnTo>
                        <a:pt x="58" y="18"/>
                      </a:lnTo>
                      <a:lnTo>
                        <a:pt x="58" y="22"/>
                      </a:lnTo>
                      <a:lnTo>
                        <a:pt x="55" y="22"/>
                      </a:lnTo>
                      <a:lnTo>
                        <a:pt x="57" y="24"/>
                      </a:lnTo>
                      <a:lnTo>
                        <a:pt x="51" y="25"/>
                      </a:lnTo>
                      <a:lnTo>
                        <a:pt x="53" y="25"/>
                      </a:lnTo>
                      <a:lnTo>
                        <a:pt x="55" y="29"/>
                      </a:lnTo>
                      <a:lnTo>
                        <a:pt x="57" y="31"/>
                      </a:lnTo>
                      <a:lnTo>
                        <a:pt x="55" y="34"/>
                      </a:lnTo>
                      <a:lnTo>
                        <a:pt x="55" y="36"/>
                      </a:lnTo>
                      <a:lnTo>
                        <a:pt x="56" y="39"/>
                      </a:lnTo>
                      <a:lnTo>
                        <a:pt x="56" y="42"/>
                      </a:lnTo>
                      <a:lnTo>
                        <a:pt x="59" y="48"/>
                      </a:lnTo>
                      <a:lnTo>
                        <a:pt x="62" y="53"/>
                      </a:lnTo>
                      <a:lnTo>
                        <a:pt x="65" y="56"/>
                      </a:lnTo>
                      <a:lnTo>
                        <a:pt x="75" y="65"/>
                      </a:lnTo>
                      <a:lnTo>
                        <a:pt x="84" y="68"/>
                      </a:lnTo>
                      <a:lnTo>
                        <a:pt x="83" y="70"/>
                      </a:lnTo>
                      <a:lnTo>
                        <a:pt x="81" y="72"/>
                      </a:lnTo>
                      <a:lnTo>
                        <a:pt x="77" y="70"/>
                      </a:lnTo>
                      <a:lnTo>
                        <a:pt x="74" y="70"/>
                      </a:lnTo>
                      <a:lnTo>
                        <a:pt x="79" y="73"/>
                      </a:lnTo>
                      <a:lnTo>
                        <a:pt x="74" y="72"/>
                      </a:lnTo>
                      <a:lnTo>
                        <a:pt x="72" y="70"/>
                      </a:lnTo>
                      <a:lnTo>
                        <a:pt x="69" y="68"/>
                      </a:lnTo>
                      <a:lnTo>
                        <a:pt x="66" y="68"/>
                      </a:lnTo>
                      <a:lnTo>
                        <a:pt x="72" y="72"/>
                      </a:lnTo>
                      <a:lnTo>
                        <a:pt x="69" y="73"/>
                      </a:lnTo>
                      <a:lnTo>
                        <a:pt x="66" y="72"/>
                      </a:lnTo>
                      <a:lnTo>
                        <a:pt x="60" y="69"/>
                      </a:lnTo>
                      <a:lnTo>
                        <a:pt x="64" y="73"/>
                      </a:lnTo>
                      <a:lnTo>
                        <a:pt x="58" y="72"/>
                      </a:lnTo>
                      <a:lnTo>
                        <a:pt x="56" y="68"/>
                      </a:lnTo>
                      <a:lnTo>
                        <a:pt x="52" y="70"/>
                      </a:lnTo>
                      <a:lnTo>
                        <a:pt x="52" y="73"/>
                      </a:lnTo>
                      <a:lnTo>
                        <a:pt x="47" y="70"/>
                      </a:lnTo>
                      <a:lnTo>
                        <a:pt x="43" y="67"/>
                      </a:lnTo>
                      <a:lnTo>
                        <a:pt x="45" y="70"/>
                      </a:lnTo>
                      <a:lnTo>
                        <a:pt x="43" y="70"/>
                      </a:lnTo>
                      <a:lnTo>
                        <a:pt x="40" y="68"/>
                      </a:lnTo>
                      <a:lnTo>
                        <a:pt x="38" y="68"/>
                      </a:lnTo>
                      <a:lnTo>
                        <a:pt x="34" y="67"/>
                      </a:lnTo>
                      <a:lnTo>
                        <a:pt x="32" y="67"/>
                      </a:lnTo>
                      <a:lnTo>
                        <a:pt x="28" y="66"/>
                      </a:lnTo>
                      <a:lnTo>
                        <a:pt x="26" y="66"/>
                      </a:lnTo>
                      <a:lnTo>
                        <a:pt x="28" y="65"/>
                      </a:lnTo>
                      <a:lnTo>
                        <a:pt x="32" y="64"/>
                      </a:lnTo>
                      <a:lnTo>
                        <a:pt x="28" y="61"/>
                      </a:lnTo>
                      <a:lnTo>
                        <a:pt x="34" y="58"/>
                      </a:lnTo>
                      <a:lnTo>
                        <a:pt x="38" y="59"/>
                      </a:lnTo>
                      <a:lnTo>
                        <a:pt x="36" y="57"/>
                      </a:lnTo>
                      <a:lnTo>
                        <a:pt x="31" y="57"/>
                      </a:lnTo>
                      <a:lnTo>
                        <a:pt x="27" y="56"/>
                      </a:lnTo>
                      <a:lnTo>
                        <a:pt x="31" y="53"/>
                      </a:lnTo>
                      <a:lnTo>
                        <a:pt x="33" y="51"/>
                      </a:lnTo>
                      <a:lnTo>
                        <a:pt x="31" y="52"/>
                      </a:lnTo>
                      <a:lnTo>
                        <a:pt x="28" y="55"/>
                      </a:lnTo>
                      <a:lnTo>
                        <a:pt x="26" y="52"/>
                      </a:lnTo>
                      <a:lnTo>
                        <a:pt x="26" y="49"/>
                      </a:lnTo>
                      <a:lnTo>
                        <a:pt x="21" y="51"/>
                      </a:lnTo>
                      <a:lnTo>
                        <a:pt x="18" y="51"/>
                      </a:lnTo>
                      <a:lnTo>
                        <a:pt x="17" y="48"/>
                      </a:lnTo>
                      <a:lnTo>
                        <a:pt x="10" y="48"/>
                      </a:lnTo>
                      <a:lnTo>
                        <a:pt x="8" y="50"/>
                      </a:lnTo>
                      <a:lnTo>
                        <a:pt x="5" y="50"/>
                      </a:lnTo>
                      <a:lnTo>
                        <a:pt x="2" y="49"/>
                      </a:lnTo>
                      <a:lnTo>
                        <a:pt x="0" y="43"/>
                      </a:lnTo>
                      <a:lnTo>
                        <a:pt x="0" y="40"/>
                      </a:lnTo>
                      <a:lnTo>
                        <a:pt x="0" y="38"/>
                      </a:lnTo>
                      <a:lnTo>
                        <a:pt x="2" y="35"/>
                      </a:lnTo>
                      <a:lnTo>
                        <a:pt x="5" y="33"/>
                      </a:lnTo>
                      <a:lnTo>
                        <a:pt x="7" y="34"/>
                      </a:lnTo>
                      <a:lnTo>
                        <a:pt x="10" y="33"/>
                      </a:lnTo>
                      <a:lnTo>
                        <a:pt x="13" y="35"/>
                      </a:lnTo>
                      <a:lnTo>
                        <a:pt x="14" y="32"/>
                      </a:lnTo>
                      <a:lnTo>
                        <a:pt x="14" y="30"/>
                      </a:lnTo>
                      <a:lnTo>
                        <a:pt x="16" y="29"/>
                      </a:lnTo>
                      <a:lnTo>
                        <a:pt x="19" y="27"/>
                      </a:lnTo>
                      <a:lnTo>
                        <a:pt x="17" y="25"/>
                      </a:lnTo>
                      <a:lnTo>
                        <a:pt x="23" y="22"/>
                      </a:lnTo>
                      <a:lnTo>
                        <a:pt x="19" y="22"/>
                      </a:lnTo>
                      <a:lnTo>
                        <a:pt x="23" y="19"/>
                      </a:lnTo>
                      <a:lnTo>
                        <a:pt x="19" y="19"/>
                      </a:lnTo>
                      <a:lnTo>
                        <a:pt x="17" y="19"/>
                      </a:lnTo>
                      <a:lnTo>
                        <a:pt x="14" y="18"/>
                      </a:lnTo>
                      <a:lnTo>
                        <a:pt x="15" y="16"/>
                      </a:lnTo>
                      <a:lnTo>
                        <a:pt x="17" y="14"/>
                      </a:lnTo>
                      <a:lnTo>
                        <a:pt x="21" y="13"/>
                      </a:lnTo>
                      <a:lnTo>
                        <a:pt x="26" y="14"/>
                      </a:lnTo>
                      <a:lnTo>
                        <a:pt x="24" y="12"/>
                      </a:lnTo>
                      <a:lnTo>
                        <a:pt x="26" y="10"/>
                      </a:lnTo>
                      <a:lnTo>
                        <a:pt x="24" y="9"/>
                      </a:lnTo>
                      <a:lnTo>
                        <a:pt x="25" y="6"/>
                      </a:lnTo>
                      <a:lnTo>
                        <a:pt x="26" y="5"/>
                      </a:lnTo>
                      <a:lnTo>
                        <a:pt x="2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74" name="Freeform 136">
                  <a:extLst>
                    <a:ext uri="{FF2B5EF4-FFF2-40B4-BE49-F238E27FC236}">
                      <a16:creationId xmlns:a16="http://schemas.microsoft.com/office/drawing/2014/main" id="{4755B3D2-37A9-F0D8-3724-5430AC009C7B}"/>
                    </a:ext>
                  </a:extLst>
                </p:cNvPr>
                <p:cNvSpPr>
                  <a:spLocks/>
                </p:cNvSpPr>
                <p:nvPr/>
              </p:nvSpPr>
              <p:spPr bwMode="auto">
                <a:xfrm>
                  <a:off x="4420" y="1458"/>
                  <a:ext cx="208" cy="103"/>
                </a:xfrm>
                <a:custGeom>
                  <a:avLst/>
                  <a:gdLst>
                    <a:gd name="T0" fmla="*/ 8 w 208"/>
                    <a:gd name="T1" fmla="*/ 98 h 103"/>
                    <a:gd name="T2" fmla="*/ 19 w 208"/>
                    <a:gd name="T3" fmla="*/ 91 h 103"/>
                    <a:gd name="T4" fmla="*/ 11 w 208"/>
                    <a:gd name="T5" fmla="*/ 91 h 103"/>
                    <a:gd name="T6" fmla="*/ 2 w 208"/>
                    <a:gd name="T7" fmla="*/ 92 h 103"/>
                    <a:gd name="T8" fmla="*/ 5 w 208"/>
                    <a:gd name="T9" fmla="*/ 88 h 103"/>
                    <a:gd name="T10" fmla="*/ 13 w 208"/>
                    <a:gd name="T11" fmla="*/ 84 h 103"/>
                    <a:gd name="T12" fmla="*/ 27 w 208"/>
                    <a:gd name="T13" fmla="*/ 80 h 103"/>
                    <a:gd name="T14" fmla="*/ 25 w 208"/>
                    <a:gd name="T15" fmla="*/ 75 h 103"/>
                    <a:gd name="T16" fmla="*/ 21 w 208"/>
                    <a:gd name="T17" fmla="*/ 74 h 103"/>
                    <a:gd name="T18" fmla="*/ 30 w 208"/>
                    <a:gd name="T19" fmla="*/ 69 h 103"/>
                    <a:gd name="T20" fmla="*/ 26 w 208"/>
                    <a:gd name="T21" fmla="*/ 65 h 103"/>
                    <a:gd name="T22" fmla="*/ 43 w 208"/>
                    <a:gd name="T23" fmla="*/ 65 h 103"/>
                    <a:gd name="T24" fmla="*/ 33 w 208"/>
                    <a:gd name="T25" fmla="*/ 62 h 103"/>
                    <a:gd name="T26" fmla="*/ 41 w 208"/>
                    <a:gd name="T27" fmla="*/ 57 h 103"/>
                    <a:gd name="T28" fmla="*/ 31 w 208"/>
                    <a:gd name="T29" fmla="*/ 56 h 103"/>
                    <a:gd name="T30" fmla="*/ 33 w 208"/>
                    <a:gd name="T31" fmla="*/ 51 h 103"/>
                    <a:gd name="T32" fmla="*/ 44 w 208"/>
                    <a:gd name="T33" fmla="*/ 51 h 103"/>
                    <a:gd name="T34" fmla="*/ 51 w 208"/>
                    <a:gd name="T35" fmla="*/ 46 h 103"/>
                    <a:gd name="T36" fmla="*/ 54 w 208"/>
                    <a:gd name="T37" fmla="*/ 41 h 103"/>
                    <a:gd name="T38" fmla="*/ 67 w 208"/>
                    <a:gd name="T39" fmla="*/ 36 h 103"/>
                    <a:gd name="T40" fmla="*/ 74 w 208"/>
                    <a:gd name="T41" fmla="*/ 32 h 103"/>
                    <a:gd name="T42" fmla="*/ 86 w 208"/>
                    <a:gd name="T43" fmla="*/ 29 h 103"/>
                    <a:gd name="T44" fmla="*/ 91 w 208"/>
                    <a:gd name="T45" fmla="*/ 26 h 103"/>
                    <a:gd name="T46" fmla="*/ 101 w 208"/>
                    <a:gd name="T47" fmla="*/ 27 h 103"/>
                    <a:gd name="T48" fmla="*/ 108 w 208"/>
                    <a:gd name="T49" fmla="*/ 20 h 103"/>
                    <a:gd name="T50" fmla="*/ 120 w 208"/>
                    <a:gd name="T51" fmla="*/ 23 h 103"/>
                    <a:gd name="T52" fmla="*/ 135 w 208"/>
                    <a:gd name="T53" fmla="*/ 20 h 103"/>
                    <a:gd name="T54" fmla="*/ 142 w 208"/>
                    <a:gd name="T55" fmla="*/ 20 h 103"/>
                    <a:gd name="T56" fmla="*/ 159 w 208"/>
                    <a:gd name="T57" fmla="*/ 14 h 103"/>
                    <a:gd name="T58" fmla="*/ 166 w 208"/>
                    <a:gd name="T59" fmla="*/ 9 h 103"/>
                    <a:gd name="T60" fmla="*/ 183 w 208"/>
                    <a:gd name="T61" fmla="*/ 2 h 103"/>
                    <a:gd name="T62" fmla="*/ 198 w 208"/>
                    <a:gd name="T63" fmla="*/ 1 h 103"/>
                    <a:gd name="T64" fmla="*/ 208 w 208"/>
                    <a:gd name="T65" fmla="*/ 6 h 103"/>
                    <a:gd name="T66" fmla="*/ 206 w 208"/>
                    <a:gd name="T67" fmla="*/ 14 h 103"/>
                    <a:gd name="T68" fmla="*/ 198 w 208"/>
                    <a:gd name="T69" fmla="*/ 21 h 103"/>
                    <a:gd name="T70" fmla="*/ 183 w 208"/>
                    <a:gd name="T71" fmla="*/ 26 h 103"/>
                    <a:gd name="T72" fmla="*/ 172 w 208"/>
                    <a:gd name="T73" fmla="*/ 29 h 103"/>
                    <a:gd name="T74" fmla="*/ 161 w 208"/>
                    <a:gd name="T75" fmla="*/ 31 h 103"/>
                    <a:gd name="T76" fmla="*/ 139 w 208"/>
                    <a:gd name="T77" fmla="*/ 38 h 103"/>
                    <a:gd name="T78" fmla="*/ 130 w 208"/>
                    <a:gd name="T79" fmla="*/ 40 h 103"/>
                    <a:gd name="T80" fmla="*/ 122 w 208"/>
                    <a:gd name="T81" fmla="*/ 43 h 103"/>
                    <a:gd name="T82" fmla="*/ 108 w 208"/>
                    <a:gd name="T83" fmla="*/ 48 h 103"/>
                    <a:gd name="T84" fmla="*/ 103 w 208"/>
                    <a:gd name="T85" fmla="*/ 51 h 103"/>
                    <a:gd name="T86" fmla="*/ 86 w 208"/>
                    <a:gd name="T87" fmla="*/ 56 h 103"/>
                    <a:gd name="T88" fmla="*/ 95 w 208"/>
                    <a:gd name="T89" fmla="*/ 57 h 103"/>
                    <a:gd name="T90" fmla="*/ 90 w 208"/>
                    <a:gd name="T91" fmla="*/ 63 h 103"/>
                    <a:gd name="T92" fmla="*/ 80 w 208"/>
                    <a:gd name="T93" fmla="*/ 62 h 103"/>
                    <a:gd name="T94" fmla="*/ 81 w 208"/>
                    <a:gd name="T95" fmla="*/ 68 h 103"/>
                    <a:gd name="T96" fmla="*/ 74 w 208"/>
                    <a:gd name="T97" fmla="*/ 70 h 103"/>
                    <a:gd name="T98" fmla="*/ 63 w 208"/>
                    <a:gd name="T99" fmla="*/ 69 h 103"/>
                    <a:gd name="T100" fmla="*/ 63 w 208"/>
                    <a:gd name="T101" fmla="*/ 79 h 103"/>
                    <a:gd name="T102" fmla="*/ 61 w 208"/>
                    <a:gd name="T103" fmla="*/ 81 h 103"/>
                    <a:gd name="T104" fmla="*/ 53 w 208"/>
                    <a:gd name="T105" fmla="*/ 79 h 103"/>
                    <a:gd name="T106" fmla="*/ 56 w 208"/>
                    <a:gd name="T107" fmla="*/ 84 h 103"/>
                    <a:gd name="T108" fmla="*/ 54 w 208"/>
                    <a:gd name="T109" fmla="*/ 90 h 103"/>
                    <a:gd name="T110" fmla="*/ 48 w 208"/>
                    <a:gd name="T111" fmla="*/ 88 h 103"/>
                    <a:gd name="T112" fmla="*/ 51 w 208"/>
                    <a:gd name="T113" fmla="*/ 95 h 103"/>
                    <a:gd name="T114" fmla="*/ 43 w 208"/>
                    <a:gd name="T115" fmla="*/ 92 h 103"/>
                    <a:gd name="T116" fmla="*/ 47 w 208"/>
                    <a:gd name="T117" fmla="*/ 99 h 103"/>
                    <a:gd name="T118" fmla="*/ 42 w 208"/>
                    <a:gd name="T119" fmla="*/ 103 h 103"/>
                    <a:gd name="T120" fmla="*/ 29 w 208"/>
                    <a:gd name="T121" fmla="*/ 101 h 103"/>
                    <a:gd name="T122" fmla="*/ 18 w 208"/>
                    <a:gd name="T123" fmla="*/ 98 h 103"/>
                    <a:gd name="T124" fmla="*/ 12 w 208"/>
                    <a:gd name="T125" fmla="*/ 10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103">
                      <a:moveTo>
                        <a:pt x="12" y="100"/>
                      </a:moveTo>
                      <a:lnTo>
                        <a:pt x="8" y="101"/>
                      </a:lnTo>
                      <a:lnTo>
                        <a:pt x="8" y="98"/>
                      </a:lnTo>
                      <a:lnTo>
                        <a:pt x="9" y="96"/>
                      </a:lnTo>
                      <a:lnTo>
                        <a:pt x="11" y="94"/>
                      </a:lnTo>
                      <a:lnTo>
                        <a:pt x="19" y="91"/>
                      </a:lnTo>
                      <a:lnTo>
                        <a:pt x="17" y="91"/>
                      </a:lnTo>
                      <a:lnTo>
                        <a:pt x="13" y="91"/>
                      </a:lnTo>
                      <a:lnTo>
                        <a:pt x="11" y="91"/>
                      </a:lnTo>
                      <a:lnTo>
                        <a:pt x="8" y="94"/>
                      </a:lnTo>
                      <a:lnTo>
                        <a:pt x="5" y="94"/>
                      </a:lnTo>
                      <a:lnTo>
                        <a:pt x="2" y="92"/>
                      </a:lnTo>
                      <a:lnTo>
                        <a:pt x="0" y="90"/>
                      </a:lnTo>
                      <a:lnTo>
                        <a:pt x="2" y="89"/>
                      </a:lnTo>
                      <a:lnTo>
                        <a:pt x="5" y="88"/>
                      </a:lnTo>
                      <a:lnTo>
                        <a:pt x="8" y="86"/>
                      </a:lnTo>
                      <a:lnTo>
                        <a:pt x="11" y="84"/>
                      </a:lnTo>
                      <a:lnTo>
                        <a:pt x="13" y="84"/>
                      </a:lnTo>
                      <a:lnTo>
                        <a:pt x="13" y="82"/>
                      </a:lnTo>
                      <a:lnTo>
                        <a:pt x="19" y="79"/>
                      </a:lnTo>
                      <a:lnTo>
                        <a:pt x="27" y="80"/>
                      </a:lnTo>
                      <a:lnTo>
                        <a:pt x="25" y="78"/>
                      </a:lnTo>
                      <a:lnTo>
                        <a:pt x="19" y="77"/>
                      </a:lnTo>
                      <a:lnTo>
                        <a:pt x="25" y="75"/>
                      </a:lnTo>
                      <a:lnTo>
                        <a:pt x="27" y="77"/>
                      </a:lnTo>
                      <a:lnTo>
                        <a:pt x="25" y="74"/>
                      </a:lnTo>
                      <a:lnTo>
                        <a:pt x="21" y="74"/>
                      </a:lnTo>
                      <a:lnTo>
                        <a:pt x="25" y="72"/>
                      </a:lnTo>
                      <a:lnTo>
                        <a:pt x="34" y="71"/>
                      </a:lnTo>
                      <a:lnTo>
                        <a:pt x="30" y="69"/>
                      </a:lnTo>
                      <a:lnTo>
                        <a:pt x="27" y="70"/>
                      </a:lnTo>
                      <a:lnTo>
                        <a:pt x="25" y="69"/>
                      </a:lnTo>
                      <a:lnTo>
                        <a:pt x="26" y="65"/>
                      </a:lnTo>
                      <a:lnTo>
                        <a:pt x="35" y="64"/>
                      </a:lnTo>
                      <a:lnTo>
                        <a:pt x="41" y="65"/>
                      </a:lnTo>
                      <a:lnTo>
                        <a:pt x="43" y="65"/>
                      </a:lnTo>
                      <a:lnTo>
                        <a:pt x="41" y="65"/>
                      </a:lnTo>
                      <a:lnTo>
                        <a:pt x="35" y="62"/>
                      </a:lnTo>
                      <a:lnTo>
                        <a:pt x="33" y="62"/>
                      </a:lnTo>
                      <a:lnTo>
                        <a:pt x="29" y="62"/>
                      </a:lnTo>
                      <a:lnTo>
                        <a:pt x="31" y="61"/>
                      </a:lnTo>
                      <a:lnTo>
                        <a:pt x="41" y="57"/>
                      </a:lnTo>
                      <a:lnTo>
                        <a:pt x="37" y="57"/>
                      </a:lnTo>
                      <a:lnTo>
                        <a:pt x="35" y="56"/>
                      </a:lnTo>
                      <a:lnTo>
                        <a:pt x="31" y="56"/>
                      </a:lnTo>
                      <a:lnTo>
                        <a:pt x="29" y="54"/>
                      </a:lnTo>
                      <a:lnTo>
                        <a:pt x="30" y="52"/>
                      </a:lnTo>
                      <a:lnTo>
                        <a:pt x="33" y="51"/>
                      </a:lnTo>
                      <a:lnTo>
                        <a:pt x="36" y="52"/>
                      </a:lnTo>
                      <a:lnTo>
                        <a:pt x="38" y="54"/>
                      </a:lnTo>
                      <a:lnTo>
                        <a:pt x="44" y="51"/>
                      </a:lnTo>
                      <a:lnTo>
                        <a:pt x="43" y="47"/>
                      </a:lnTo>
                      <a:lnTo>
                        <a:pt x="45" y="46"/>
                      </a:lnTo>
                      <a:lnTo>
                        <a:pt x="51" y="46"/>
                      </a:lnTo>
                      <a:lnTo>
                        <a:pt x="53" y="47"/>
                      </a:lnTo>
                      <a:lnTo>
                        <a:pt x="54" y="45"/>
                      </a:lnTo>
                      <a:lnTo>
                        <a:pt x="54" y="41"/>
                      </a:lnTo>
                      <a:lnTo>
                        <a:pt x="60" y="40"/>
                      </a:lnTo>
                      <a:lnTo>
                        <a:pt x="59" y="38"/>
                      </a:lnTo>
                      <a:lnTo>
                        <a:pt x="67" y="36"/>
                      </a:lnTo>
                      <a:lnTo>
                        <a:pt x="69" y="34"/>
                      </a:lnTo>
                      <a:lnTo>
                        <a:pt x="72" y="32"/>
                      </a:lnTo>
                      <a:lnTo>
                        <a:pt x="74" y="32"/>
                      </a:lnTo>
                      <a:lnTo>
                        <a:pt x="80" y="30"/>
                      </a:lnTo>
                      <a:lnTo>
                        <a:pt x="84" y="30"/>
                      </a:lnTo>
                      <a:lnTo>
                        <a:pt x="86" y="29"/>
                      </a:lnTo>
                      <a:lnTo>
                        <a:pt x="89" y="29"/>
                      </a:lnTo>
                      <a:lnTo>
                        <a:pt x="89" y="26"/>
                      </a:lnTo>
                      <a:lnTo>
                        <a:pt x="91" y="26"/>
                      </a:lnTo>
                      <a:lnTo>
                        <a:pt x="97" y="26"/>
                      </a:lnTo>
                      <a:lnTo>
                        <a:pt x="95" y="27"/>
                      </a:lnTo>
                      <a:lnTo>
                        <a:pt x="101" y="27"/>
                      </a:lnTo>
                      <a:lnTo>
                        <a:pt x="99" y="23"/>
                      </a:lnTo>
                      <a:lnTo>
                        <a:pt x="101" y="21"/>
                      </a:lnTo>
                      <a:lnTo>
                        <a:pt x="108" y="20"/>
                      </a:lnTo>
                      <a:lnTo>
                        <a:pt x="114" y="21"/>
                      </a:lnTo>
                      <a:lnTo>
                        <a:pt x="118" y="21"/>
                      </a:lnTo>
                      <a:lnTo>
                        <a:pt x="120" y="23"/>
                      </a:lnTo>
                      <a:lnTo>
                        <a:pt x="123" y="22"/>
                      </a:lnTo>
                      <a:lnTo>
                        <a:pt x="129" y="22"/>
                      </a:lnTo>
                      <a:lnTo>
                        <a:pt x="135" y="20"/>
                      </a:lnTo>
                      <a:lnTo>
                        <a:pt x="137" y="19"/>
                      </a:lnTo>
                      <a:lnTo>
                        <a:pt x="140" y="19"/>
                      </a:lnTo>
                      <a:lnTo>
                        <a:pt x="142" y="20"/>
                      </a:lnTo>
                      <a:lnTo>
                        <a:pt x="154" y="14"/>
                      </a:lnTo>
                      <a:lnTo>
                        <a:pt x="156" y="15"/>
                      </a:lnTo>
                      <a:lnTo>
                        <a:pt x="159" y="14"/>
                      </a:lnTo>
                      <a:lnTo>
                        <a:pt x="163" y="12"/>
                      </a:lnTo>
                      <a:lnTo>
                        <a:pt x="167" y="14"/>
                      </a:lnTo>
                      <a:lnTo>
                        <a:pt x="166" y="9"/>
                      </a:lnTo>
                      <a:lnTo>
                        <a:pt x="170" y="7"/>
                      </a:lnTo>
                      <a:lnTo>
                        <a:pt x="178" y="3"/>
                      </a:lnTo>
                      <a:lnTo>
                        <a:pt x="183" y="2"/>
                      </a:lnTo>
                      <a:lnTo>
                        <a:pt x="189" y="0"/>
                      </a:lnTo>
                      <a:lnTo>
                        <a:pt x="196" y="0"/>
                      </a:lnTo>
                      <a:lnTo>
                        <a:pt x="198" y="1"/>
                      </a:lnTo>
                      <a:lnTo>
                        <a:pt x="201" y="2"/>
                      </a:lnTo>
                      <a:lnTo>
                        <a:pt x="207" y="4"/>
                      </a:lnTo>
                      <a:lnTo>
                        <a:pt x="208" y="6"/>
                      </a:lnTo>
                      <a:lnTo>
                        <a:pt x="208" y="10"/>
                      </a:lnTo>
                      <a:lnTo>
                        <a:pt x="207" y="12"/>
                      </a:lnTo>
                      <a:lnTo>
                        <a:pt x="206" y="14"/>
                      </a:lnTo>
                      <a:lnTo>
                        <a:pt x="202" y="17"/>
                      </a:lnTo>
                      <a:lnTo>
                        <a:pt x="200" y="19"/>
                      </a:lnTo>
                      <a:lnTo>
                        <a:pt x="198" y="21"/>
                      </a:lnTo>
                      <a:lnTo>
                        <a:pt x="195" y="21"/>
                      </a:lnTo>
                      <a:lnTo>
                        <a:pt x="189" y="23"/>
                      </a:lnTo>
                      <a:lnTo>
                        <a:pt x="183" y="26"/>
                      </a:lnTo>
                      <a:lnTo>
                        <a:pt x="178" y="27"/>
                      </a:lnTo>
                      <a:lnTo>
                        <a:pt x="174" y="29"/>
                      </a:lnTo>
                      <a:lnTo>
                        <a:pt x="172" y="29"/>
                      </a:lnTo>
                      <a:lnTo>
                        <a:pt x="170" y="30"/>
                      </a:lnTo>
                      <a:lnTo>
                        <a:pt x="166" y="30"/>
                      </a:lnTo>
                      <a:lnTo>
                        <a:pt x="161" y="31"/>
                      </a:lnTo>
                      <a:lnTo>
                        <a:pt x="155" y="35"/>
                      </a:lnTo>
                      <a:lnTo>
                        <a:pt x="144" y="36"/>
                      </a:lnTo>
                      <a:lnTo>
                        <a:pt x="139" y="38"/>
                      </a:lnTo>
                      <a:lnTo>
                        <a:pt x="136" y="37"/>
                      </a:lnTo>
                      <a:lnTo>
                        <a:pt x="133" y="39"/>
                      </a:lnTo>
                      <a:lnTo>
                        <a:pt x="130" y="40"/>
                      </a:lnTo>
                      <a:lnTo>
                        <a:pt x="128" y="40"/>
                      </a:lnTo>
                      <a:lnTo>
                        <a:pt x="124" y="41"/>
                      </a:lnTo>
                      <a:lnTo>
                        <a:pt x="122" y="43"/>
                      </a:lnTo>
                      <a:lnTo>
                        <a:pt x="116" y="44"/>
                      </a:lnTo>
                      <a:lnTo>
                        <a:pt x="114" y="45"/>
                      </a:lnTo>
                      <a:lnTo>
                        <a:pt x="108" y="48"/>
                      </a:lnTo>
                      <a:lnTo>
                        <a:pt x="105" y="49"/>
                      </a:lnTo>
                      <a:lnTo>
                        <a:pt x="105" y="47"/>
                      </a:lnTo>
                      <a:lnTo>
                        <a:pt x="103" y="51"/>
                      </a:lnTo>
                      <a:lnTo>
                        <a:pt x="95" y="55"/>
                      </a:lnTo>
                      <a:lnTo>
                        <a:pt x="91" y="56"/>
                      </a:lnTo>
                      <a:lnTo>
                        <a:pt x="86" y="56"/>
                      </a:lnTo>
                      <a:lnTo>
                        <a:pt x="86" y="57"/>
                      </a:lnTo>
                      <a:lnTo>
                        <a:pt x="89" y="57"/>
                      </a:lnTo>
                      <a:lnTo>
                        <a:pt x="95" y="57"/>
                      </a:lnTo>
                      <a:lnTo>
                        <a:pt x="94" y="60"/>
                      </a:lnTo>
                      <a:lnTo>
                        <a:pt x="91" y="61"/>
                      </a:lnTo>
                      <a:lnTo>
                        <a:pt x="90" y="63"/>
                      </a:lnTo>
                      <a:lnTo>
                        <a:pt x="86" y="64"/>
                      </a:lnTo>
                      <a:lnTo>
                        <a:pt x="84" y="63"/>
                      </a:lnTo>
                      <a:lnTo>
                        <a:pt x="80" y="62"/>
                      </a:lnTo>
                      <a:lnTo>
                        <a:pt x="84" y="64"/>
                      </a:lnTo>
                      <a:lnTo>
                        <a:pt x="84" y="66"/>
                      </a:lnTo>
                      <a:lnTo>
                        <a:pt x="81" y="68"/>
                      </a:lnTo>
                      <a:lnTo>
                        <a:pt x="76" y="64"/>
                      </a:lnTo>
                      <a:lnTo>
                        <a:pt x="76" y="66"/>
                      </a:lnTo>
                      <a:lnTo>
                        <a:pt x="74" y="70"/>
                      </a:lnTo>
                      <a:lnTo>
                        <a:pt x="72" y="71"/>
                      </a:lnTo>
                      <a:lnTo>
                        <a:pt x="69" y="70"/>
                      </a:lnTo>
                      <a:lnTo>
                        <a:pt x="63" y="69"/>
                      </a:lnTo>
                      <a:lnTo>
                        <a:pt x="65" y="71"/>
                      </a:lnTo>
                      <a:lnTo>
                        <a:pt x="69" y="77"/>
                      </a:lnTo>
                      <a:lnTo>
                        <a:pt x="63" y="79"/>
                      </a:lnTo>
                      <a:lnTo>
                        <a:pt x="65" y="80"/>
                      </a:lnTo>
                      <a:lnTo>
                        <a:pt x="63" y="81"/>
                      </a:lnTo>
                      <a:lnTo>
                        <a:pt x="61" y="81"/>
                      </a:lnTo>
                      <a:lnTo>
                        <a:pt x="57" y="83"/>
                      </a:lnTo>
                      <a:lnTo>
                        <a:pt x="55" y="82"/>
                      </a:lnTo>
                      <a:lnTo>
                        <a:pt x="53" y="79"/>
                      </a:lnTo>
                      <a:lnTo>
                        <a:pt x="51" y="81"/>
                      </a:lnTo>
                      <a:lnTo>
                        <a:pt x="53" y="82"/>
                      </a:lnTo>
                      <a:lnTo>
                        <a:pt x="56" y="84"/>
                      </a:lnTo>
                      <a:lnTo>
                        <a:pt x="57" y="87"/>
                      </a:lnTo>
                      <a:lnTo>
                        <a:pt x="56" y="90"/>
                      </a:lnTo>
                      <a:lnTo>
                        <a:pt x="54" y="90"/>
                      </a:lnTo>
                      <a:lnTo>
                        <a:pt x="51" y="88"/>
                      </a:lnTo>
                      <a:lnTo>
                        <a:pt x="39" y="87"/>
                      </a:lnTo>
                      <a:lnTo>
                        <a:pt x="48" y="88"/>
                      </a:lnTo>
                      <a:lnTo>
                        <a:pt x="52" y="89"/>
                      </a:lnTo>
                      <a:lnTo>
                        <a:pt x="54" y="92"/>
                      </a:lnTo>
                      <a:lnTo>
                        <a:pt x="51" y="95"/>
                      </a:lnTo>
                      <a:lnTo>
                        <a:pt x="48" y="95"/>
                      </a:lnTo>
                      <a:lnTo>
                        <a:pt x="45" y="95"/>
                      </a:lnTo>
                      <a:lnTo>
                        <a:pt x="43" y="92"/>
                      </a:lnTo>
                      <a:lnTo>
                        <a:pt x="45" y="95"/>
                      </a:lnTo>
                      <a:lnTo>
                        <a:pt x="47" y="96"/>
                      </a:lnTo>
                      <a:lnTo>
                        <a:pt x="47" y="99"/>
                      </a:lnTo>
                      <a:lnTo>
                        <a:pt x="45" y="100"/>
                      </a:lnTo>
                      <a:lnTo>
                        <a:pt x="42" y="100"/>
                      </a:lnTo>
                      <a:lnTo>
                        <a:pt x="42" y="103"/>
                      </a:lnTo>
                      <a:lnTo>
                        <a:pt x="34" y="103"/>
                      </a:lnTo>
                      <a:lnTo>
                        <a:pt x="33" y="99"/>
                      </a:lnTo>
                      <a:lnTo>
                        <a:pt x="29" y="101"/>
                      </a:lnTo>
                      <a:lnTo>
                        <a:pt x="27" y="100"/>
                      </a:lnTo>
                      <a:lnTo>
                        <a:pt x="24" y="100"/>
                      </a:lnTo>
                      <a:lnTo>
                        <a:pt x="18" y="98"/>
                      </a:lnTo>
                      <a:lnTo>
                        <a:pt x="16" y="98"/>
                      </a:lnTo>
                      <a:lnTo>
                        <a:pt x="12" y="100"/>
                      </a:lnTo>
                      <a:lnTo>
                        <a:pt x="12"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75" name="Freeform 137">
                  <a:extLst>
                    <a:ext uri="{FF2B5EF4-FFF2-40B4-BE49-F238E27FC236}">
                      <a16:creationId xmlns:a16="http://schemas.microsoft.com/office/drawing/2014/main" id="{4D6E43EC-EFF8-BAEC-D4EE-96AD1AFC33F1}"/>
                    </a:ext>
                  </a:extLst>
                </p:cNvPr>
                <p:cNvSpPr>
                  <a:spLocks noEditPoints="1"/>
                </p:cNvSpPr>
                <p:nvPr/>
              </p:nvSpPr>
              <p:spPr bwMode="auto">
                <a:xfrm>
                  <a:off x="4940" y="1327"/>
                  <a:ext cx="114" cy="78"/>
                </a:xfrm>
                <a:custGeom>
                  <a:avLst/>
                  <a:gdLst>
                    <a:gd name="T0" fmla="*/ 29 w 114"/>
                    <a:gd name="T1" fmla="*/ 41 h 78"/>
                    <a:gd name="T2" fmla="*/ 38 w 114"/>
                    <a:gd name="T3" fmla="*/ 38 h 78"/>
                    <a:gd name="T4" fmla="*/ 55 w 114"/>
                    <a:gd name="T5" fmla="*/ 35 h 78"/>
                    <a:gd name="T6" fmla="*/ 76 w 114"/>
                    <a:gd name="T7" fmla="*/ 33 h 78"/>
                    <a:gd name="T8" fmla="*/ 73 w 114"/>
                    <a:gd name="T9" fmla="*/ 23 h 78"/>
                    <a:gd name="T10" fmla="*/ 80 w 114"/>
                    <a:gd name="T11" fmla="*/ 20 h 78"/>
                    <a:gd name="T12" fmla="*/ 85 w 114"/>
                    <a:gd name="T13" fmla="*/ 16 h 78"/>
                    <a:gd name="T14" fmla="*/ 70 w 114"/>
                    <a:gd name="T15" fmla="*/ 12 h 78"/>
                    <a:gd name="T16" fmla="*/ 59 w 114"/>
                    <a:gd name="T17" fmla="*/ 1 h 78"/>
                    <a:gd name="T18" fmla="*/ 46 w 114"/>
                    <a:gd name="T19" fmla="*/ 1 h 78"/>
                    <a:gd name="T20" fmla="*/ 43 w 114"/>
                    <a:gd name="T21" fmla="*/ 6 h 78"/>
                    <a:gd name="T22" fmla="*/ 20 w 114"/>
                    <a:gd name="T23" fmla="*/ 9 h 78"/>
                    <a:gd name="T24" fmla="*/ 14 w 114"/>
                    <a:gd name="T25" fmla="*/ 15 h 78"/>
                    <a:gd name="T26" fmla="*/ 22 w 114"/>
                    <a:gd name="T27" fmla="*/ 16 h 78"/>
                    <a:gd name="T28" fmla="*/ 16 w 114"/>
                    <a:gd name="T29" fmla="*/ 23 h 78"/>
                    <a:gd name="T30" fmla="*/ 3 w 114"/>
                    <a:gd name="T31" fmla="*/ 28 h 78"/>
                    <a:gd name="T32" fmla="*/ 1 w 114"/>
                    <a:gd name="T33" fmla="*/ 30 h 78"/>
                    <a:gd name="T34" fmla="*/ 10 w 114"/>
                    <a:gd name="T35" fmla="*/ 32 h 78"/>
                    <a:gd name="T36" fmla="*/ 22 w 114"/>
                    <a:gd name="T37" fmla="*/ 33 h 78"/>
                    <a:gd name="T38" fmla="*/ 10 w 114"/>
                    <a:gd name="T39" fmla="*/ 34 h 78"/>
                    <a:gd name="T40" fmla="*/ 12 w 114"/>
                    <a:gd name="T41" fmla="*/ 35 h 78"/>
                    <a:gd name="T42" fmla="*/ 12 w 114"/>
                    <a:gd name="T43" fmla="*/ 37 h 78"/>
                    <a:gd name="T44" fmla="*/ 110 w 114"/>
                    <a:gd name="T45" fmla="*/ 63 h 78"/>
                    <a:gd name="T46" fmla="*/ 114 w 114"/>
                    <a:gd name="T47" fmla="*/ 49 h 78"/>
                    <a:gd name="T48" fmla="*/ 108 w 114"/>
                    <a:gd name="T49" fmla="*/ 43 h 78"/>
                    <a:gd name="T50" fmla="*/ 96 w 114"/>
                    <a:gd name="T51" fmla="*/ 40 h 78"/>
                    <a:gd name="T52" fmla="*/ 91 w 114"/>
                    <a:gd name="T53" fmla="*/ 46 h 78"/>
                    <a:gd name="T54" fmla="*/ 80 w 114"/>
                    <a:gd name="T55" fmla="*/ 49 h 78"/>
                    <a:gd name="T56" fmla="*/ 81 w 114"/>
                    <a:gd name="T57" fmla="*/ 46 h 78"/>
                    <a:gd name="T58" fmla="*/ 86 w 114"/>
                    <a:gd name="T59" fmla="*/ 39 h 78"/>
                    <a:gd name="T60" fmla="*/ 76 w 114"/>
                    <a:gd name="T61" fmla="*/ 35 h 78"/>
                    <a:gd name="T62" fmla="*/ 53 w 114"/>
                    <a:gd name="T63" fmla="*/ 38 h 78"/>
                    <a:gd name="T64" fmla="*/ 44 w 114"/>
                    <a:gd name="T65" fmla="*/ 40 h 78"/>
                    <a:gd name="T66" fmla="*/ 36 w 114"/>
                    <a:gd name="T67" fmla="*/ 44 h 78"/>
                    <a:gd name="T68" fmla="*/ 30 w 114"/>
                    <a:gd name="T69" fmla="*/ 50 h 78"/>
                    <a:gd name="T70" fmla="*/ 17 w 114"/>
                    <a:gd name="T71" fmla="*/ 55 h 78"/>
                    <a:gd name="T72" fmla="*/ 25 w 114"/>
                    <a:gd name="T73" fmla="*/ 56 h 78"/>
                    <a:gd name="T74" fmla="*/ 28 w 114"/>
                    <a:gd name="T75" fmla="*/ 58 h 78"/>
                    <a:gd name="T76" fmla="*/ 36 w 114"/>
                    <a:gd name="T77" fmla="*/ 59 h 78"/>
                    <a:gd name="T78" fmla="*/ 40 w 114"/>
                    <a:gd name="T79" fmla="*/ 66 h 78"/>
                    <a:gd name="T80" fmla="*/ 47 w 114"/>
                    <a:gd name="T81" fmla="*/ 71 h 78"/>
                    <a:gd name="T82" fmla="*/ 54 w 114"/>
                    <a:gd name="T83" fmla="*/ 72 h 78"/>
                    <a:gd name="T84" fmla="*/ 69 w 114"/>
                    <a:gd name="T85" fmla="*/ 72 h 78"/>
                    <a:gd name="T86" fmla="*/ 93 w 114"/>
                    <a:gd name="T87" fmla="*/ 78 h 78"/>
                    <a:gd name="T88" fmla="*/ 112 w 114"/>
                    <a:gd name="T89" fmla="*/ 74 h 78"/>
                    <a:gd name="T90" fmla="*/ 107 w 114"/>
                    <a:gd name="T91" fmla="*/ 66 h 78"/>
                    <a:gd name="T92" fmla="*/ 107 w 114"/>
                    <a:gd name="T93" fmla="*/ 6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78">
                      <a:moveTo>
                        <a:pt x="23" y="40"/>
                      </a:moveTo>
                      <a:lnTo>
                        <a:pt x="27" y="41"/>
                      </a:lnTo>
                      <a:lnTo>
                        <a:pt x="29" y="41"/>
                      </a:lnTo>
                      <a:lnTo>
                        <a:pt x="32" y="40"/>
                      </a:lnTo>
                      <a:lnTo>
                        <a:pt x="36" y="40"/>
                      </a:lnTo>
                      <a:lnTo>
                        <a:pt x="38" y="38"/>
                      </a:lnTo>
                      <a:lnTo>
                        <a:pt x="44" y="37"/>
                      </a:lnTo>
                      <a:lnTo>
                        <a:pt x="47" y="37"/>
                      </a:lnTo>
                      <a:lnTo>
                        <a:pt x="55" y="35"/>
                      </a:lnTo>
                      <a:lnTo>
                        <a:pt x="61" y="34"/>
                      </a:lnTo>
                      <a:lnTo>
                        <a:pt x="73" y="34"/>
                      </a:lnTo>
                      <a:lnTo>
                        <a:pt x="76" y="33"/>
                      </a:lnTo>
                      <a:lnTo>
                        <a:pt x="79" y="31"/>
                      </a:lnTo>
                      <a:lnTo>
                        <a:pt x="76" y="29"/>
                      </a:lnTo>
                      <a:lnTo>
                        <a:pt x="73" y="23"/>
                      </a:lnTo>
                      <a:lnTo>
                        <a:pt x="74" y="21"/>
                      </a:lnTo>
                      <a:lnTo>
                        <a:pt x="78" y="21"/>
                      </a:lnTo>
                      <a:lnTo>
                        <a:pt x="80" y="20"/>
                      </a:lnTo>
                      <a:lnTo>
                        <a:pt x="83" y="21"/>
                      </a:lnTo>
                      <a:lnTo>
                        <a:pt x="86" y="20"/>
                      </a:lnTo>
                      <a:lnTo>
                        <a:pt x="85" y="16"/>
                      </a:lnTo>
                      <a:lnTo>
                        <a:pt x="81" y="15"/>
                      </a:lnTo>
                      <a:lnTo>
                        <a:pt x="76" y="14"/>
                      </a:lnTo>
                      <a:lnTo>
                        <a:pt x="70" y="12"/>
                      </a:lnTo>
                      <a:lnTo>
                        <a:pt x="68" y="9"/>
                      </a:lnTo>
                      <a:lnTo>
                        <a:pt x="65" y="6"/>
                      </a:lnTo>
                      <a:lnTo>
                        <a:pt x="59" y="1"/>
                      </a:lnTo>
                      <a:lnTo>
                        <a:pt x="54" y="0"/>
                      </a:lnTo>
                      <a:lnTo>
                        <a:pt x="48" y="0"/>
                      </a:lnTo>
                      <a:lnTo>
                        <a:pt x="46" y="1"/>
                      </a:lnTo>
                      <a:lnTo>
                        <a:pt x="52" y="3"/>
                      </a:lnTo>
                      <a:lnTo>
                        <a:pt x="49" y="3"/>
                      </a:lnTo>
                      <a:lnTo>
                        <a:pt x="43" y="6"/>
                      </a:lnTo>
                      <a:lnTo>
                        <a:pt x="35" y="6"/>
                      </a:lnTo>
                      <a:lnTo>
                        <a:pt x="31" y="7"/>
                      </a:lnTo>
                      <a:lnTo>
                        <a:pt x="20" y="9"/>
                      </a:lnTo>
                      <a:lnTo>
                        <a:pt x="19" y="12"/>
                      </a:lnTo>
                      <a:lnTo>
                        <a:pt x="17" y="13"/>
                      </a:lnTo>
                      <a:lnTo>
                        <a:pt x="14" y="15"/>
                      </a:lnTo>
                      <a:lnTo>
                        <a:pt x="13" y="17"/>
                      </a:lnTo>
                      <a:lnTo>
                        <a:pt x="19" y="17"/>
                      </a:lnTo>
                      <a:lnTo>
                        <a:pt x="22" y="16"/>
                      </a:lnTo>
                      <a:lnTo>
                        <a:pt x="20" y="18"/>
                      </a:lnTo>
                      <a:lnTo>
                        <a:pt x="17" y="20"/>
                      </a:lnTo>
                      <a:lnTo>
                        <a:pt x="16" y="23"/>
                      </a:lnTo>
                      <a:lnTo>
                        <a:pt x="14" y="25"/>
                      </a:lnTo>
                      <a:lnTo>
                        <a:pt x="9" y="25"/>
                      </a:lnTo>
                      <a:lnTo>
                        <a:pt x="3" y="28"/>
                      </a:lnTo>
                      <a:lnTo>
                        <a:pt x="12" y="29"/>
                      </a:lnTo>
                      <a:lnTo>
                        <a:pt x="3" y="29"/>
                      </a:lnTo>
                      <a:lnTo>
                        <a:pt x="1" y="30"/>
                      </a:lnTo>
                      <a:lnTo>
                        <a:pt x="0" y="32"/>
                      </a:lnTo>
                      <a:lnTo>
                        <a:pt x="4" y="32"/>
                      </a:lnTo>
                      <a:lnTo>
                        <a:pt x="10" y="32"/>
                      </a:lnTo>
                      <a:lnTo>
                        <a:pt x="17" y="31"/>
                      </a:lnTo>
                      <a:lnTo>
                        <a:pt x="19" y="32"/>
                      </a:lnTo>
                      <a:lnTo>
                        <a:pt x="22" y="33"/>
                      </a:lnTo>
                      <a:lnTo>
                        <a:pt x="17" y="32"/>
                      </a:lnTo>
                      <a:lnTo>
                        <a:pt x="6" y="33"/>
                      </a:lnTo>
                      <a:lnTo>
                        <a:pt x="10" y="34"/>
                      </a:lnTo>
                      <a:lnTo>
                        <a:pt x="12" y="35"/>
                      </a:lnTo>
                      <a:lnTo>
                        <a:pt x="14" y="37"/>
                      </a:lnTo>
                      <a:lnTo>
                        <a:pt x="12" y="35"/>
                      </a:lnTo>
                      <a:lnTo>
                        <a:pt x="9" y="35"/>
                      </a:lnTo>
                      <a:lnTo>
                        <a:pt x="6" y="35"/>
                      </a:lnTo>
                      <a:lnTo>
                        <a:pt x="12" y="37"/>
                      </a:lnTo>
                      <a:lnTo>
                        <a:pt x="18" y="38"/>
                      </a:lnTo>
                      <a:lnTo>
                        <a:pt x="23" y="40"/>
                      </a:lnTo>
                      <a:close/>
                      <a:moveTo>
                        <a:pt x="110" y="63"/>
                      </a:moveTo>
                      <a:lnTo>
                        <a:pt x="111" y="55"/>
                      </a:lnTo>
                      <a:lnTo>
                        <a:pt x="112" y="51"/>
                      </a:lnTo>
                      <a:lnTo>
                        <a:pt x="114" y="49"/>
                      </a:lnTo>
                      <a:lnTo>
                        <a:pt x="114" y="47"/>
                      </a:lnTo>
                      <a:lnTo>
                        <a:pt x="112" y="44"/>
                      </a:lnTo>
                      <a:lnTo>
                        <a:pt x="108" y="43"/>
                      </a:lnTo>
                      <a:lnTo>
                        <a:pt x="106" y="41"/>
                      </a:lnTo>
                      <a:lnTo>
                        <a:pt x="102" y="40"/>
                      </a:lnTo>
                      <a:lnTo>
                        <a:pt x="96" y="40"/>
                      </a:lnTo>
                      <a:lnTo>
                        <a:pt x="93" y="41"/>
                      </a:lnTo>
                      <a:lnTo>
                        <a:pt x="94" y="42"/>
                      </a:lnTo>
                      <a:lnTo>
                        <a:pt x="91" y="46"/>
                      </a:lnTo>
                      <a:lnTo>
                        <a:pt x="86" y="44"/>
                      </a:lnTo>
                      <a:lnTo>
                        <a:pt x="83" y="47"/>
                      </a:lnTo>
                      <a:lnTo>
                        <a:pt x="80" y="49"/>
                      </a:lnTo>
                      <a:lnTo>
                        <a:pt x="78" y="49"/>
                      </a:lnTo>
                      <a:lnTo>
                        <a:pt x="81" y="49"/>
                      </a:lnTo>
                      <a:lnTo>
                        <a:pt x="81" y="46"/>
                      </a:lnTo>
                      <a:lnTo>
                        <a:pt x="85" y="44"/>
                      </a:lnTo>
                      <a:lnTo>
                        <a:pt x="86" y="41"/>
                      </a:lnTo>
                      <a:lnTo>
                        <a:pt x="86" y="39"/>
                      </a:lnTo>
                      <a:lnTo>
                        <a:pt x="83" y="37"/>
                      </a:lnTo>
                      <a:lnTo>
                        <a:pt x="80" y="35"/>
                      </a:lnTo>
                      <a:lnTo>
                        <a:pt x="76" y="35"/>
                      </a:lnTo>
                      <a:lnTo>
                        <a:pt x="72" y="37"/>
                      </a:lnTo>
                      <a:lnTo>
                        <a:pt x="66" y="38"/>
                      </a:lnTo>
                      <a:lnTo>
                        <a:pt x="53" y="38"/>
                      </a:lnTo>
                      <a:lnTo>
                        <a:pt x="49" y="40"/>
                      </a:lnTo>
                      <a:lnTo>
                        <a:pt x="47" y="39"/>
                      </a:lnTo>
                      <a:lnTo>
                        <a:pt x="44" y="40"/>
                      </a:lnTo>
                      <a:lnTo>
                        <a:pt x="42" y="41"/>
                      </a:lnTo>
                      <a:lnTo>
                        <a:pt x="38" y="42"/>
                      </a:lnTo>
                      <a:lnTo>
                        <a:pt x="36" y="44"/>
                      </a:lnTo>
                      <a:lnTo>
                        <a:pt x="42" y="47"/>
                      </a:lnTo>
                      <a:lnTo>
                        <a:pt x="32" y="49"/>
                      </a:lnTo>
                      <a:lnTo>
                        <a:pt x="30" y="50"/>
                      </a:lnTo>
                      <a:lnTo>
                        <a:pt x="28" y="52"/>
                      </a:lnTo>
                      <a:lnTo>
                        <a:pt x="22" y="56"/>
                      </a:lnTo>
                      <a:lnTo>
                        <a:pt x="17" y="55"/>
                      </a:lnTo>
                      <a:lnTo>
                        <a:pt x="19" y="56"/>
                      </a:lnTo>
                      <a:lnTo>
                        <a:pt x="22" y="58"/>
                      </a:lnTo>
                      <a:lnTo>
                        <a:pt x="25" y="56"/>
                      </a:lnTo>
                      <a:lnTo>
                        <a:pt x="28" y="56"/>
                      </a:lnTo>
                      <a:lnTo>
                        <a:pt x="30" y="58"/>
                      </a:lnTo>
                      <a:lnTo>
                        <a:pt x="28" y="58"/>
                      </a:lnTo>
                      <a:lnTo>
                        <a:pt x="31" y="59"/>
                      </a:lnTo>
                      <a:lnTo>
                        <a:pt x="34" y="58"/>
                      </a:lnTo>
                      <a:lnTo>
                        <a:pt x="36" y="59"/>
                      </a:lnTo>
                      <a:lnTo>
                        <a:pt x="37" y="63"/>
                      </a:lnTo>
                      <a:lnTo>
                        <a:pt x="38" y="65"/>
                      </a:lnTo>
                      <a:lnTo>
                        <a:pt x="40" y="66"/>
                      </a:lnTo>
                      <a:lnTo>
                        <a:pt x="42" y="69"/>
                      </a:lnTo>
                      <a:lnTo>
                        <a:pt x="45" y="71"/>
                      </a:lnTo>
                      <a:lnTo>
                        <a:pt x="47" y="71"/>
                      </a:lnTo>
                      <a:lnTo>
                        <a:pt x="51" y="69"/>
                      </a:lnTo>
                      <a:lnTo>
                        <a:pt x="54" y="69"/>
                      </a:lnTo>
                      <a:lnTo>
                        <a:pt x="54" y="72"/>
                      </a:lnTo>
                      <a:lnTo>
                        <a:pt x="61" y="72"/>
                      </a:lnTo>
                      <a:lnTo>
                        <a:pt x="66" y="73"/>
                      </a:lnTo>
                      <a:lnTo>
                        <a:pt x="69" y="72"/>
                      </a:lnTo>
                      <a:lnTo>
                        <a:pt x="76" y="76"/>
                      </a:lnTo>
                      <a:lnTo>
                        <a:pt x="80" y="77"/>
                      </a:lnTo>
                      <a:lnTo>
                        <a:pt x="93" y="78"/>
                      </a:lnTo>
                      <a:lnTo>
                        <a:pt x="95" y="77"/>
                      </a:lnTo>
                      <a:lnTo>
                        <a:pt x="107" y="77"/>
                      </a:lnTo>
                      <a:lnTo>
                        <a:pt x="112" y="74"/>
                      </a:lnTo>
                      <a:lnTo>
                        <a:pt x="112" y="72"/>
                      </a:lnTo>
                      <a:lnTo>
                        <a:pt x="111" y="68"/>
                      </a:lnTo>
                      <a:lnTo>
                        <a:pt x="107" y="66"/>
                      </a:lnTo>
                      <a:lnTo>
                        <a:pt x="104" y="65"/>
                      </a:lnTo>
                      <a:lnTo>
                        <a:pt x="102" y="63"/>
                      </a:lnTo>
                      <a:lnTo>
                        <a:pt x="107" y="64"/>
                      </a:lnTo>
                      <a:lnTo>
                        <a:pt x="110"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76" name="Freeform 138">
                  <a:extLst>
                    <a:ext uri="{FF2B5EF4-FFF2-40B4-BE49-F238E27FC236}">
                      <a16:creationId xmlns:a16="http://schemas.microsoft.com/office/drawing/2014/main" id="{23E02D7A-D445-A060-189E-631A9B28A98F}"/>
                    </a:ext>
                  </a:extLst>
                </p:cNvPr>
                <p:cNvSpPr>
                  <a:spLocks/>
                </p:cNvSpPr>
                <p:nvPr/>
              </p:nvSpPr>
              <p:spPr bwMode="auto">
                <a:xfrm>
                  <a:off x="5046" y="1386"/>
                  <a:ext cx="84" cy="44"/>
                </a:xfrm>
                <a:custGeom>
                  <a:avLst/>
                  <a:gdLst>
                    <a:gd name="T0" fmla="*/ 35 w 84"/>
                    <a:gd name="T1" fmla="*/ 5 h 44"/>
                    <a:gd name="T2" fmla="*/ 35 w 84"/>
                    <a:gd name="T3" fmla="*/ 4 h 44"/>
                    <a:gd name="T4" fmla="*/ 32 w 84"/>
                    <a:gd name="T5" fmla="*/ 2 h 44"/>
                    <a:gd name="T6" fmla="*/ 30 w 84"/>
                    <a:gd name="T7" fmla="*/ 4 h 44"/>
                    <a:gd name="T8" fmla="*/ 28 w 84"/>
                    <a:gd name="T9" fmla="*/ 6 h 44"/>
                    <a:gd name="T10" fmla="*/ 25 w 84"/>
                    <a:gd name="T11" fmla="*/ 6 h 44"/>
                    <a:gd name="T12" fmla="*/ 23 w 84"/>
                    <a:gd name="T13" fmla="*/ 9 h 44"/>
                    <a:gd name="T14" fmla="*/ 23 w 84"/>
                    <a:gd name="T15" fmla="*/ 12 h 44"/>
                    <a:gd name="T16" fmla="*/ 28 w 84"/>
                    <a:gd name="T17" fmla="*/ 14 h 44"/>
                    <a:gd name="T18" fmla="*/ 23 w 84"/>
                    <a:gd name="T19" fmla="*/ 12 h 44"/>
                    <a:gd name="T20" fmla="*/ 21 w 84"/>
                    <a:gd name="T21" fmla="*/ 14 h 44"/>
                    <a:gd name="T22" fmla="*/ 18 w 84"/>
                    <a:gd name="T23" fmla="*/ 16 h 44"/>
                    <a:gd name="T24" fmla="*/ 22 w 84"/>
                    <a:gd name="T25" fmla="*/ 19 h 44"/>
                    <a:gd name="T26" fmla="*/ 24 w 84"/>
                    <a:gd name="T27" fmla="*/ 21 h 44"/>
                    <a:gd name="T28" fmla="*/ 16 w 84"/>
                    <a:gd name="T29" fmla="*/ 19 h 44"/>
                    <a:gd name="T30" fmla="*/ 13 w 84"/>
                    <a:gd name="T31" fmla="*/ 22 h 44"/>
                    <a:gd name="T32" fmla="*/ 10 w 84"/>
                    <a:gd name="T33" fmla="*/ 27 h 44"/>
                    <a:gd name="T34" fmla="*/ 8 w 84"/>
                    <a:gd name="T35" fmla="*/ 30 h 44"/>
                    <a:gd name="T36" fmla="*/ 8 w 84"/>
                    <a:gd name="T37" fmla="*/ 33 h 44"/>
                    <a:gd name="T38" fmla="*/ 2 w 84"/>
                    <a:gd name="T39" fmla="*/ 39 h 44"/>
                    <a:gd name="T40" fmla="*/ 0 w 84"/>
                    <a:gd name="T41" fmla="*/ 42 h 44"/>
                    <a:gd name="T42" fmla="*/ 2 w 84"/>
                    <a:gd name="T43" fmla="*/ 44 h 44"/>
                    <a:gd name="T44" fmla="*/ 5 w 84"/>
                    <a:gd name="T45" fmla="*/ 44 h 44"/>
                    <a:gd name="T46" fmla="*/ 8 w 84"/>
                    <a:gd name="T47" fmla="*/ 44 h 44"/>
                    <a:gd name="T48" fmla="*/ 22 w 84"/>
                    <a:gd name="T49" fmla="*/ 40 h 44"/>
                    <a:gd name="T50" fmla="*/ 24 w 84"/>
                    <a:gd name="T51" fmla="*/ 38 h 44"/>
                    <a:gd name="T52" fmla="*/ 41 w 84"/>
                    <a:gd name="T53" fmla="*/ 36 h 44"/>
                    <a:gd name="T54" fmla="*/ 44 w 84"/>
                    <a:gd name="T55" fmla="*/ 36 h 44"/>
                    <a:gd name="T56" fmla="*/ 47 w 84"/>
                    <a:gd name="T57" fmla="*/ 38 h 44"/>
                    <a:gd name="T58" fmla="*/ 49 w 84"/>
                    <a:gd name="T59" fmla="*/ 35 h 44"/>
                    <a:gd name="T60" fmla="*/ 52 w 84"/>
                    <a:gd name="T61" fmla="*/ 36 h 44"/>
                    <a:gd name="T62" fmla="*/ 61 w 84"/>
                    <a:gd name="T63" fmla="*/ 35 h 44"/>
                    <a:gd name="T64" fmla="*/ 69 w 84"/>
                    <a:gd name="T65" fmla="*/ 33 h 44"/>
                    <a:gd name="T66" fmla="*/ 73 w 84"/>
                    <a:gd name="T67" fmla="*/ 33 h 44"/>
                    <a:gd name="T68" fmla="*/ 75 w 84"/>
                    <a:gd name="T69" fmla="*/ 33 h 44"/>
                    <a:gd name="T70" fmla="*/ 83 w 84"/>
                    <a:gd name="T71" fmla="*/ 27 h 44"/>
                    <a:gd name="T72" fmla="*/ 84 w 84"/>
                    <a:gd name="T73" fmla="*/ 25 h 44"/>
                    <a:gd name="T74" fmla="*/ 82 w 84"/>
                    <a:gd name="T75" fmla="*/ 19 h 44"/>
                    <a:gd name="T76" fmla="*/ 78 w 84"/>
                    <a:gd name="T77" fmla="*/ 17 h 44"/>
                    <a:gd name="T78" fmla="*/ 76 w 84"/>
                    <a:gd name="T79" fmla="*/ 17 h 44"/>
                    <a:gd name="T80" fmla="*/ 74 w 84"/>
                    <a:gd name="T81" fmla="*/ 19 h 44"/>
                    <a:gd name="T82" fmla="*/ 70 w 84"/>
                    <a:gd name="T83" fmla="*/ 14 h 44"/>
                    <a:gd name="T84" fmla="*/ 65 w 84"/>
                    <a:gd name="T85" fmla="*/ 12 h 44"/>
                    <a:gd name="T86" fmla="*/ 62 w 84"/>
                    <a:gd name="T87" fmla="*/ 9 h 44"/>
                    <a:gd name="T88" fmla="*/ 60 w 84"/>
                    <a:gd name="T89" fmla="*/ 8 h 44"/>
                    <a:gd name="T90" fmla="*/ 54 w 84"/>
                    <a:gd name="T91" fmla="*/ 9 h 44"/>
                    <a:gd name="T92" fmla="*/ 52 w 84"/>
                    <a:gd name="T93" fmla="*/ 12 h 44"/>
                    <a:gd name="T94" fmla="*/ 49 w 84"/>
                    <a:gd name="T95" fmla="*/ 12 h 44"/>
                    <a:gd name="T96" fmla="*/ 44 w 84"/>
                    <a:gd name="T97" fmla="*/ 16 h 44"/>
                    <a:gd name="T98" fmla="*/ 42 w 84"/>
                    <a:gd name="T99" fmla="*/ 16 h 44"/>
                    <a:gd name="T100" fmla="*/ 44 w 84"/>
                    <a:gd name="T101" fmla="*/ 14 h 44"/>
                    <a:gd name="T102" fmla="*/ 48 w 84"/>
                    <a:gd name="T103" fmla="*/ 6 h 44"/>
                    <a:gd name="T104" fmla="*/ 50 w 84"/>
                    <a:gd name="T105" fmla="*/ 4 h 44"/>
                    <a:gd name="T106" fmla="*/ 48 w 84"/>
                    <a:gd name="T107" fmla="*/ 1 h 44"/>
                    <a:gd name="T108" fmla="*/ 42 w 84"/>
                    <a:gd name="T109" fmla="*/ 0 h 44"/>
                    <a:gd name="T110" fmla="*/ 39 w 84"/>
                    <a:gd name="T111" fmla="*/ 0 h 44"/>
                    <a:gd name="T112" fmla="*/ 38 w 84"/>
                    <a:gd name="T113" fmla="*/ 4 h 44"/>
                    <a:gd name="T114" fmla="*/ 39 w 84"/>
                    <a:gd name="T115" fmla="*/ 6 h 44"/>
                    <a:gd name="T116" fmla="*/ 35 w 84"/>
                    <a:gd name="T117" fmla="*/ 5 h 44"/>
                    <a:gd name="T118" fmla="*/ 35 w 84"/>
                    <a:gd name="T11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44">
                      <a:moveTo>
                        <a:pt x="35" y="5"/>
                      </a:moveTo>
                      <a:lnTo>
                        <a:pt x="35" y="4"/>
                      </a:lnTo>
                      <a:lnTo>
                        <a:pt x="32" y="2"/>
                      </a:lnTo>
                      <a:lnTo>
                        <a:pt x="30" y="4"/>
                      </a:lnTo>
                      <a:lnTo>
                        <a:pt x="28" y="6"/>
                      </a:lnTo>
                      <a:lnTo>
                        <a:pt x="25" y="6"/>
                      </a:lnTo>
                      <a:lnTo>
                        <a:pt x="23" y="9"/>
                      </a:lnTo>
                      <a:lnTo>
                        <a:pt x="23" y="12"/>
                      </a:lnTo>
                      <a:lnTo>
                        <a:pt x="28" y="14"/>
                      </a:lnTo>
                      <a:lnTo>
                        <a:pt x="23" y="12"/>
                      </a:lnTo>
                      <a:lnTo>
                        <a:pt x="21" y="14"/>
                      </a:lnTo>
                      <a:lnTo>
                        <a:pt x="18" y="16"/>
                      </a:lnTo>
                      <a:lnTo>
                        <a:pt x="22" y="19"/>
                      </a:lnTo>
                      <a:lnTo>
                        <a:pt x="24" y="21"/>
                      </a:lnTo>
                      <a:lnTo>
                        <a:pt x="16" y="19"/>
                      </a:lnTo>
                      <a:lnTo>
                        <a:pt x="13" y="22"/>
                      </a:lnTo>
                      <a:lnTo>
                        <a:pt x="10" y="27"/>
                      </a:lnTo>
                      <a:lnTo>
                        <a:pt x="8" y="30"/>
                      </a:lnTo>
                      <a:lnTo>
                        <a:pt x="8" y="33"/>
                      </a:lnTo>
                      <a:lnTo>
                        <a:pt x="2" y="39"/>
                      </a:lnTo>
                      <a:lnTo>
                        <a:pt x="0" y="42"/>
                      </a:lnTo>
                      <a:lnTo>
                        <a:pt x="2" y="44"/>
                      </a:lnTo>
                      <a:lnTo>
                        <a:pt x="5" y="44"/>
                      </a:lnTo>
                      <a:lnTo>
                        <a:pt x="8" y="44"/>
                      </a:lnTo>
                      <a:lnTo>
                        <a:pt x="22" y="40"/>
                      </a:lnTo>
                      <a:lnTo>
                        <a:pt x="24" y="38"/>
                      </a:lnTo>
                      <a:lnTo>
                        <a:pt x="41" y="36"/>
                      </a:lnTo>
                      <a:lnTo>
                        <a:pt x="44" y="36"/>
                      </a:lnTo>
                      <a:lnTo>
                        <a:pt x="47" y="38"/>
                      </a:lnTo>
                      <a:lnTo>
                        <a:pt x="49" y="35"/>
                      </a:lnTo>
                      <a:lnTo>
                        <a:pt x="52" y="36"/>
                      </a:lnTo>
                      <a:lnTo>
                        <a:pt x="61" y="35"/>
                      </a:lnTo>
                      <a:lnTo>
                        <a:pt x="69" y="33"/>
                      </a:lnTo>
                      <a:lnTo>
                        <a:pt x="73" y="33"/>
                      </a:lnTo>
                      <a:lnTo>
                        <a:pt x="75" y="33"/>
                      </a:lnTo>
                      <a:lnTo>
                        <a:pt x="83" y="27"/>
                      </a:lnTo>
                      <a:lnTo>
                        <a:pt x="84" y="25"/>
                      </a:lnTo>
                      <a:lnTo>
                        <a:pt x="82" y="19"/>
                      </a:lnTo>
                      <a:lnTo>
                        <a:pt x="78" y="17"/>
                      </a:lnTo>
                      <a:lnTo>
                        <a:pt x="76" y="17"/>
                      </a:lnTo>
                      <a:lnTo>
                        <a:pt x="74" y="19"/>
                      </a:lnTo>
                      <a:lnTo>
                        <a:pt x="70" y="14"/>
                      </a:lnTo>
                      <a:lnTo>
                        <a:pt x="65" y="12"/>
                      </a:lnTo>
                      <a:lnTo>
                        <a:pt x="62" y="9"/>
                      </a:lnTo>
                      <a:lnTo>
                        <a:pt x="60" y="8"/>
                      </a:lnTo>
                      <a:lnTo>
                        <a:pt x="54" y="9"/>
                      </a:lnTo>
                      <a:lnTo>
                        <a:pt x="52" y="12"/>
                      </a:lnTo>
                      <a:lnTo>
                        <a:pt x="49" y="12"/>
                      </a:lnTo>
                      <a:lnTo>
                        <a:pt x="44" y="16"/>
                      </a:lnTo>
                      <a:lnTo>
                        <a:pt x="42" y="16"/>
                      </a:lnTo>
                      <a:lnTo>
                        <a:pt x="44" y="14"/>
                      </a:lnTo>
                      <a:lnTo>
                        <a:pt x="48" y="6"/>
                      </a:lnTo>
                      <a:lnTo>
                        <a:pt x="50" y="4"/>
                      </a:lnTo>
                      <a:lnTo>
                        <a:pt x="48" y="1"/>
                      </a:lnTo>
                      <a:lnTo>
                        <a:pt x="42" y="0"/>
                      </a:lnTo>
                      <a:lnTo>
                        <a:pt x="39" y="0"/>
                      </a:lnTo>
                      <a:lnTo>
                        <a:pt x="38" y="4"/>
                      </a:lnTo>
                      <a:lnTo>
                        <a:pt x="39" y="6"/>
                      </a:lnTo>
                      <a:lnTo>
                        <a:pt x="35" y="5"/>
                      </a:lnTo>
                      <a:lnTo>
                        <a:pt x="3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77" name="Freeform 139">
                  <a:extLst>
                    <a:ext uri="{FF2B5EF4-FFF2-40B4-BE49-F238E27FC236}">
                      <a16:creationId xmlns:a16="http://schemas.microsoft.com/office/drawing/2014/main" id="{DA466C46-4410-ADD9-5F6D-A444A81B5F1A}"/>
                    </a:ext>
                  </a:extLst>
                </p:cNvPr>
                <p:cNvSpPr>
                  <a:spLocks/>
                </p:cNvSpPr>
                <p:nvPr/>
              </p:nvSpPr>
              <p:spPr bwMode="auto">
                <a:xfrm>
                  <a:off x="5113" y="2811"/>
                  <a:ext cx="3" cy="2"/>
                </a:xfrm>
                <a:custGeom>
                  <a:avLst/>
                  <a:gdLst>
                    <a:gd name="T0" fmla="*/ 2 w 3"/>
                    <a:gd name="T1" fmla="*/ 0 h 2"/>
                    <a:gd name="T2" fmla="*/ 0 w 3"/>
                    <a:gd name="T3" fmla="*/ 0 h 2"/>
                    <a:gd name="T4" fmla="*/ 0 w 3"/>
                    <a:gd name="T5" fmla="*/ 2 h 2"/>
                    <a:gd name="T6" fmla="*/ 3 w 3"/>
                    <a:gd name="T7" fmla="*/ 2 h 2"/>
                    <a:gd name="T8" fmla="*/ 2 w 3"/>
                    <a:gd name="T9" fmla="*/ 0 h 2"/>
                    <a:gd name="T10" fmla="*/ 2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2" y="0"/>
                      </a:moveTo>
                      <a:lnTo>
                        <a:pt x="0" y="0"/>
                      </a:lnTo>
                      <a:lnTo>
                        <a:pt x="0" y="2"/>
                      </a:lnTo>
                      <a:lnTo>
                        <a:pt x="3" y="2"/>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78" name="Freeform 140">
                  <a:extLst>
                    <a:ext uri="{FF2B5EF4-FFF2-40B4-BE49-F238E27FC236}">
                      <a16:creationId xmlns:a16="http://schemas.microsoft.com/office/drawing/2014/main" id="{20C53E5A-CD24-FA50-0779-A4801A7745F5}"/>
                    </a:ext>
                  </a:extLst>
                </p:cNvPr>
                <p:cNvSpPr>
                  <a:spLocks/>
                </p:cNvSpPr>
                <p:nvPr/>
              </p:nvSpPr>
              <p:spPr bwMode="auto">
                <a:xfrm>
                  <a:off x="5115" y="2805"/>
                  <a:ext cx="8" cy="5"/>
                </a:xfrm>
                <a:custGeom>
                  <a:avLst/>
                  <a:gdLst>
                    <a:gd name="T0" fmla="*/ 2 w 8"/>
                    <a:gd name="T1" fmla="*/ 0 h 5"/>
                    <a:gd name="T2" fmla="*/ 1 w 8"/>
                    <a:gd name="T3" fmla="*/ 0 h 5"/>
                    <a:gd name="T4" fmla="*/ 0 w 8"/>
                    <a:gd name="T5" fmla="*/ 4 h 5"/>
                    <a:gd name="T6" fmla="*/ 5 w 8"/>
                    <a:gd name="T7" fmla="*/ 5 h 5"/>
                    <a:gd name="T8" fmla="*/ 8 w 8"/>
                    <a:gd name="T9" fmla="*/ 5 h 5"/>
                    <a:gd name="T10" fmla="*/ 5 w 8"/>
                    <a:gd name="T11" fmla="*/ 4 h 5"/>
                    <a:gd name="T12" fmla="*/ 2 w 8"/>
                    <a:gd name="T13" fmla="*/ 0 h 5"/>
                    <a:gd name="T14" fmla="*/ 2 w 8"/>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2" y="0"/>
                      </a:moveTo>
                      <a:lnTo>
                        <a:pt x="1" y="0"/>
                      </a:lnTo>
                      <a:lnTo>
                        <a:pt x="0" y="4"/>
                      </a:lnTo>
                      <a:lnTo>
                        <a:pt x="5" y="5"/>
                      </a:lnTo>
                      <a:lnTo>
                        <a:pt x="8" y="5"/>
                      </a:lnTo>
                      <a:lnTo>
                        <a:pt x="5" y="4"/>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79" name="Freeform 141">
                  <a:extLst>
                    <a:ext uri="{FF2B5EF4-FFF2-40B4-BE49-F238E27FC236}">
                      <a16:creationId xmlns:a16="http://schemas.microsoft.com/office/drawing/2014/main" id="{10990D1F-E0E9-BC84-B498-E8AA8A81D7A9}"/>
                    </a:ext>
                  </a:extLst>
                </p:cNvPr>
                <p:cNvSpPr>
                  <a:spLocks/>
                </p:cNvSpPr>
                <p:nvPr/>
              </p:nvSpPr>
              <p:spPr bwMode="auto">
                <a:xfrm>
                  <a:off x="5125" y="2827"/>
                  <a:ext cx="21" cy="21"/>
                </a:xfrm>
                <a:custGeom>
                  <a:avLst/>
                  <a:gdLst>
                    <a:gd name="T0" fmla="*/ 3 w 21"/>
                    <a:gd name="T1" fmla="*/ 2 h 21"/>
                    <a:gd name="T2" fmla="*/ 0 w 21"/>
                    <a:gd name="T3" fmla="*/ 5 h 21"/>
                    <a:gd name="T4" fmla="*/ 2 w 21"/>
                    <a:gd name="T5" fmla="*/ 8 h 21"/>
                    <a:gd name="T6" fmla="*/ 7 w 21"/>
                    <a:gd name="T7" fmla="*/ 8 h 21"/>
                    <a:gd name="T8" fmla="*/ 11 w 21"/>
                    <a:gd name="T9" fmla="*/ 13 h 21"/>
                    <a:gd name="T10" fmla="*/ 11 w 21"/>
                    <a:gd name="T11" fmla="*/ 16 h 21"/>
                    <a:gd name="T12" fmla="*/ 13 w 21"/>
                    <a:gd name="T13" fmla="*/ 18 h 21"/>
                    <a:gd name="T14" fmla="*/ 19 w 21"/>
                    <a:gd name="T15" fmla="*/ 20 h 21"/>
                    <a:gd name="T16" fmla="*/ 21 w 21"/>
                    <a:gd name="T17" fmla="*/ 21 h 21"/>
                    <a:gd name="T18" fmla="*/ 20 w 21"/>
                    <a:gd name="T19" fmla="*/ 18 h 21"/>
                    <a:gd name="T20" fmla="*/ 21 w 21"/>
                    <a:gd name="T21" fmla="*/ 16 h 21"/>
                    <a:gd name="T22" fmla="*/ 19 w 21"/>
                    <a:gd name="T23" fmla="*/ 13 h 21"/>
                    <a:gd name="T24" fmla="*/ 15 w 21"/>
                    <a:gd name="T25" fmla="*/ 12 h 21"/>
                    <a:gd name="T26" fmla="*/ 14 w 21"/>
                    <a:gd name="T27" fmla="*/ 9 h 21"/>
                    <a:gd name="T28" fmla="*/ 13 w 21"/>
                    <a:gd name="T29" fmla="*/ 4 h 21"/>
                    <a:gd name="T30" fmla="*/ 12 w 21"/>
                    <a:gd name="T31" fmla="*/ 1 h 21"/>
                    <a:gd name="T32" fmla="*/ 8 w 21"/>
                    <a:gd name="T33" fmla="*/ 0 h 21"/>
                    <a:gd name="T34" fmla="*/ 8 w 21"/>
                    <a:gd name="T35" fmla="*/ 2 h 21"/>
                    <a:gd name="T36" fmla="*/ 5 w 21"/>
                    <a:gd name="T37" fmla="*/ 0 h 21"/>
                    <a:gd name="T38" fmla="*/ 3 w 21"/>
                    <a:gd name="T39" fmla="*/ 1 h 21"/>
                    <a:gd name="T40" fmla="*/ 3 w 21"/>
                    <a:gd name="T41" fmla="*/ 2 h 21"/>
                    <a:gd name="T42" fmla="*/ 3 w 21"/>
                    <a:gd name="T43"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21">
                      <a:moveTo>
                        <a:pt x="3" y="2"/>
                      </a:moveTo>
                      <a:lnTo>
                        <a:pt x="0" y="5"/>
                      </a:lnTo>
                      <a:lnTo>
                        <a:pt x="2" y="8"/>
                      </a:lnTo>
                      <a:lnTo>
                        <a:pt x="7" y="8"/>
                      </a:lnTo>
                      <a:lnTo>
                        <a:pt x="11" y="13"/>
                      </a:lnTo>
                      <a:lnTo>
                        <a:pt x="11" y="16"/>
                      </a:lnTo>
                      <a:lnTo>
                        <a:pt x="13" y="18"/>
                      </a:lnTo>
                      <a:lnTo>
                        <a:pt x="19" y="20"/>
                      </a:lnTo>
                      <a:lnTo>
                        <a:pt x="21" y="21"/>
                      </a:lnTo>
                      <a:lnTo>
                        <a:pt x="20" y="18"/>
                      </a:lnTo>
                      <a:lnTo>
                        <a:pt x="21" y="16"/>
                      </a:lnTo>
                      <a:lnTo>
                        <a:pt x="19" y="13"/>
                      </a:lnTo>
                      <a:lnTo>
                        <a:pt x="15" y="12"/>
                      </a:lnTo>
                      <a:lnTo>
                        <a:pt x="14" y="9"/>
                      </a:lnTo>
                      <a:lnTo>
                        <a:pt x="13" y="4"/>
                      </a:lnTo>
                      <a:lnTo>
                        <a:pt x="12" y="1"/>
                      </a:lnTo>
                      <a:lnTo>
                        <a:pt x="8" y="0"/>
                      </a:lnTo>
                      <a:lnTo>
                        <a:pt x="8" y="2"/>
                      </a:lnTo>
                      <a:lnTo>
                        <a:pt x="5" y="0"/>
                      </a:lnTo>
                      <a:lnTo>
                        <a:pt x="3" y="1"/>
                      </a:lnTo>
                      <a:lnTo>
                        <a:pt x="3"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80" name="Freeform 142">
                  <a:extLst>
                    <a:ext uri="{FF2B5EF4-FFF2-40B4-BE49-F238E27FC236}">
                      <a16:creationId xmlns:a16="http://schemas.microsoft.com/office/drawing/2014/main" id="{984DD617-36AC-B369-02F1-32C58B44FDC2}"/>
                    </a:ext>
                  </a:extLst>
                </p:cNvPr>
                <p:cNvSpPr>
                  <a:spLocks/>
                </p:cNvSpPr>
                <p:nvPr/>
              </p:nvSpPr>
              <p:spPr bwMode="auto">
                <a:xfrm>
                  <a:off x="5128" y="2887"/>
                  <a:ext cx="125" cy="39"/>
                </a:xfrm>
                <a:custGeom>
                  <a:avLst/>
                  <a:gdLst>
                    <a:gd name="T0" fmla="*/ 47 w 125"/>
                    <a:gd name="T1" fmla="*/ 25 h 39"/>
                    <a:gd name="T2" fmla="*/ 47 w 125"/>
                    <a:gd name="T3" fmla="*/ 25 h 39"/>
                    <a:gd name="T4" fmla="*/ 52 w 125"/>
                    <a:gd name="T5" fmla="*/ 25 h 39"/>
                    <a:gd name="T6" fmla="*/ 69 w 125"/>
                    <a:gd name="T7" fmla="*/ 30 h 39"/>
                    <a:gd name="T8" fmla="*/ 81 w 125"/>
                    <a:gd name="T9" fmla="*/ 33 h 39"/>
                    <a:gd name="T10" fmla="*/ 87 w 125"/>
                    <a:gd name="T11" fmla="*/ 33 h 39"/>
                    <a:gd name="T12" fmla="*/ 100 w 125"/>
                    <a:gd name="T13" fmla="*/ 35 h 39"/>
                    <a:gd name="T14" fmla="*/ 105 w 125"/>
                    <a:gd name="T15" fmla="*/ 33 h 39"/>
                    <a:gd name="T16" fmla="*/ 111 w 125"/>
                    <a:gd name="T17" fmla="*/ 35 h 39"/>
                    <a:gd name="T18" fmla="*/ 119 w 125"/>
                    <a:gd name="T19" fmla="*/ 37 h 39"/>
                    <a:gd name="T20" fmla="*/ 123 w 125"/>
                    <a:gd name="T21" fmla="*/ 39 h 39"/>
                    <a:gd name="T22" fmla="*/ 123 w 125"/>
                    <a:gd name="T23" fmla="*/ 36 h 39"/>
                    <a:gd name="T24" fmla="*/ 124 w 125"/>
                    <a:gd name="T25" fmla="*/ 26 h 39"/>
                    <a:gd name="T26" fmla="*/ 113 w 125"/>
                    <a:gd name="T27" fmla="*/ 25 h 39"/>
                    <a:gd name="T28" fmla="*/ 108 w 125"/>
                    <a:gd name="T29" fmla="*/ 26 h 39"/>
                    <a:gd name="T30" fmla="*/ 102 w 125"/>
                    <a:gd name="T31" fmla="*/ 19 h 39"/>
                    <a:gd name="T32" fmla="*/ 99 w 125"/>
                    <a:gd name="T33" fmla="*/ 16 h 39"/>
                    <a:gd name="T34" fmla="*/ 94 w 125"/>
                    <a:gd name="T35" fmla="*/ 13 h 39"/>
                    <a:gd name="T36" fmla="*/ 84 w 125"/>
                    <a:gd name="T37" fmla="*/ 10 h 39"/>
                    <a:gd name="T38" fmla="*/ 79 w 125"/>
                    <a:gd name="T39" fmla="*/ 10 h 39"/>
                    <a:gd name="T40" fmla="*/ 74 w 125"/>
                    <a:gd name="T41" fmla="*/ 6 h 39"/>
                    <a:gd name="T42" fmla="*/ 71 w 125"/>
                    <a:gd name="T43" fmla="*/ 12 h 39"/>
                    <a:gd name="T44" fmla="*/ 65 w 125"/>
                    <a:gd name="T45" fmla="*/ 13 h 39"/>
                    <a:gd name="T46" fmla="*/ 57 w 125"/>
                    <a:gd name="T47" fmla="*/ 12 h 39"/>
                    <a:gd name="T48" fmla="*/ 50 w 125"/>
                    <a:gd name="T49" fmla="*/ 12 h 39"/>
                    <a:gd name="T50" fmla="*/ 45 w 125"/>
                    <a:gd name="T51" fmla="*/ 12 h 39"/>
                    <a:gd name="T52" fmla="*/ 39 w 125"/>
                    <a:gd name="T53" fmla="*/ 4 h 39"/>
                    <a:gd name="T54" fmla="*/ 34 w 125"/>
                    <a:gd name="T55" fmla="*/ 4 h 39"/>
                    <a:gd name="T56" fmla="*/ 28 w 125"/>
                    <a:gd name="T57" fmla="*/ 3 h 39"/>
                    <a:gd name="T58" fmla="*/ 22 w 125"/>
                    <a:gd name="T59" fmla="*/ 0 h 39"/>
                    <a:gd name="T60" fmla="*/ 19 w 125"/>
                    <a:gd name="T61" fmla="*/ 2 h 39"/>
                    <a:gd name="T62" fmla="*/ 8 w 125"/>
                    <a:gd name="T63" fmla="*/ 1 h 39"/>
                    <a:gd name="T64" fmla="*/ 5 w 125"/>
                    <a:gd name="T65" fmla="*/ 6 h 39"/>
                    <a:gd name="T66" fmla="*/ 2 w 125"/>
                    <a:gd name="T67" fmla="*/ 10 h 39"/>
                    <a:gd name="T68" fmla="*/ 2 w 125"/>
                    <a:gd name="T69" fmla="*/ 13 h 39"/>
                    <a:gd name="T70" fmla="*/ 10 w 125"/>
                    <a:gd name="T71" fmla="*/ 13 h 39"/>
                    <a:gd name="T72" fmla="*/ 16 w 125"/>
                    <a:gd name="T73" fmla="*/ 14 h 39"/>
                    <a:gd name="T74" fmla="*/ 27 w 125"/>
                    <a:gd name="T75" fmla="*/ 21 h 39"/>
                    <a:gd name="T76" fmla="*/ 34 w 125"/>
                    <a:gd name="T77" fmla="*/ 25 h 39"/>
                    <a:gd name="T78" fmla="*/ 43 w 125"/>
                    <a:gd name="T79" fmla="*/ 26 h 39"/>
                    <a:gd name="T80" fmla="*/ 47 w 125"/>
                    <a:gd name="T81"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39">
                      <a:moveTo>
                        <a:pt x="47" y="25"/>
                      </a:moveTo>
                      <a:lnTo>
                        <a:pt x="47" y="25"/>
                      </a:lnTo>
                      <a:lnTo>
                        <a:pt x="50" y="26"/>
                      </a:lnTo>
                      <a:lnTo>
                        <a:pt x="47" y="25"/>
                      </a:lnTo>
                      <a:lnTo>
                        <a:pt x="50" y="25"/>
                      </a:lnTo>
                      <a:lnTo>
                        <a:pt x="52" y="25"/>
                      </a:lnTo>
                      <a:lnTo>
                        <a:pt x="63" y="27"/>
                      </a:lnTo>
                      <a:lnTo>
                        <a:pt x="69" y="30"/>
                      </a:lnTo>
                      <a:lnTo>
                        <a:pt x="74" y="31"/>
                      </a:lnTo>
                      <a:lnTo>
                        <a:pt x="81" y="33"/>
                      </a:lnTo>
                      <a:lnTo>
                        <a:pt x="84" y="33"/>
                      </a:lnTo>
                      <a:lnTo>
                        <a:pt x="87" y="33"/>
                      </a:lnTo>
                      <a:lnTo>
                        <a:pt x="93" y="33"/>
                      </a:lnTo>
                      <a:lnTo>
                        <a:pt x="100" y="35"/>
                      </a:lnTo>
                      <a:lnTo>
                        <a:pt x="103" y="34"/>
                      </a:lnTo>
                      <a:lnTo>
                        <a:pt x="105" y="33"/>
                      </a:lnTo>
                      <a:lnTo>
                        <a:pt x="108" y="33"/>
                      </a:lnTo>
                      <a:lnTo>
                        <a:pt x="111" y="35"/>
                      </a:lnTo>
                      <a:lnTo>
                        <a:pt x="116" y="36"/>
                      </a:lnTo>
                      <a:lnTo>
                        <a:pt x="119" y="37"/>
                      </a:lnTo>
                      <a:lnTo>
                        <a:pt x="122" y="37"/>
                      </a:lnTo>
                      <a:lnTo>
                        <a:pt x="123" y="39"/>
                      </a:lnTo>
                      <a:lnTo>
                        <a:pt x="125" y="39"/>
                      </a:lnTo>
                      <a:lnTo>
                        <a:pt x="123" y="36"/>
                      </a:lnTo>
                      <a:lnTo>
                        <a:pt x="123" y="34"/>
                      </a:lnTo>
                      <a:lnTo>
                        <a:pt x="124" y="26"/>
                      </a:lnTo>
                      <a:lnTo>
                        <a:pt x="119" y="23"/>
                      </a:lnTo>
                      <a:lnTo>
                        <a:pt x="113" y="25"/>
                      </a:lnTo>
                      <a:lnTo>
                        <a:pt x="111" y="25"/>
                      </a:lnTo>
                      <a:lnTo>
                        <a:pt x="108" y="26"/>
                      </a:lnTo>
                      <a:lnTo>
                        <a:pt x="100" y="22"/>
                      </a:lnTo>
                      <a:lnTo>
                        <a:pt x="102" y="19"/>
                      </a:lnTo>
                      <a:lnTo>
                        <a:pt x="99" y="18"/>
                      </a:lnTo>
                      <a:lnTo>
                        <a:pt x="99" y="16"/>
                      </a:lnTo>
                      <a:lnTo>
                        <a:pt x="96" y="13"/>
                      </a:lnTo>
                      <a:lnTo>
                        <a:pt x="94" y="13"/>
                      </a:lnTo>
                      <a:lnTo>
                        <a:pt x="88" y="12"/>
                      </a:lnTo>
                      <a:lnTo>
                        <a:pt x="84" y="10"/>
                      </a:lnTo>
                      <a:lnTo>
                        <a:pt x="80" y="11"/>
                      </a:lnTo>
                      <a:lnTo>
                        <a:pt x="79" y="10"/>
                      </a:lnTo>
                      <a:lnTo>
                        <a:pt x="78" y="8"/>
                      </a:lnTo>
                      <a:lnTo>
                        <a:pt x="74" y="6"/>
                      </a:lnTo>
                      <a:lnTo>
                        <a:pt x="72" y="8"/>
                      </a:lnTo>
                      <a:lnTo>
                        <a:pt x="71" y="12"/>
                      </a:lnTo>
                      <a:lnTo>
                        <a:pt x="69" y="14"/>
                      </a:lnTo>
                      <a:lnTo>
                        <a:pt x="65" y="13"/>
                      </a:lnTo>
                      <a:lnTo>
                        <a:pt x="63" y="13"/>
                      </a:lnTo>
                      <a:lnTo>
                        <a:pt x="57" y="12"/>
                      </a:lnTo>
                      <a:lnTo>
                        <a:pt x="52" y="13"/>
                      </a:lnTo>
                      <a:lnTo>
                        <a:pt x="50" y="12"/>
                      </a:lnTo>
                      <a:lnTo>
                        <a:pt x="48" y="12"/>
                      </a:lnTo>
                      <a:lnTo>
                        <a:pt x="45" y="12"/>
                      </a:lnTo>
                      <a:lnTo>
                        <a:pt x="42" y="6"/>
                      </a:lnTo>
                      <a:lnTo>
                        <a:pt x="39" y="4"/>
                      </a:lnTo>
                      <a:lnTo>
                        <a:pt x="36" y="5"/>
                      </a:lnTo>
                      <a:lnTo>
                        <a:pt x="34" y="4"/>
                      </a:lnTo>
                      <a:lnTo>
                        <a:pt x="31" y="4"/>
                      </a:lnTo>
                      <a:lnTo>
                        <a:pt x="28" y="3"/>
                      </a:lnTo>
                      <a:lnTo>
                        <a:pt x="26" y="0"/>
                      </a:lnTo>
                      <a:lnTo>
                        <a:pt x="22" y="0"/>
                      </a:lnTo>
                      <a:lnTo>
                        <a:pt x="22" y="2"/>
                      </a:lnTo>
                      <a:lnTo>
                        <a:pt x="19" y="2"/>
                      </a:lnTo>
                      <a:lnTo>
                        <a:pt x="13" y="1"/>
                      </a:lnTo>
                      <a:lnTo>
                        <a:pt x="8" y="1"/>
                      </a:lnTo>
                      <a:lnTo>
                        <a:pt x="5" y="4"/>
                      </a:lnTo>
                      <a:lnTo>
                        <a:pt x="5" y="6"/>
                      </a:lnTo>
                      <a:lnTo>
                        <a:pt x="3" y="8"/>
                      </a:lnTo>
                      <a:lnTo>
                        <a:pt x="2" y="10"/>
                      </a:lnTo>
                      <a:lnTo>
                        <a:pt x="0" y="10"/>
                      </a:lnTo>
                      <a:lnTo>
                        <a:pt x="2" y="13"/>
                      </a:lnTo>
                      <a:lnTo>
                        <a:pt x="8" y="12"/>
                      </a:lnTo>
                      <a:lnTo>
                        <a:pt x="10" y="13"/>
                      </a:lnTo>
                      <a:lnTo>
                        <a:pt x="13" y="14"/>
                      </a:lnTo>
                      <a:lnTo>
                        <a:pt x="16" y="14"/>
                      </a:lnTo>
                      <a:lnTo>
                        <a:pt x="14" y="20"/>
                      </a:lnTo>
                      <a:lnTo>
                        <a:pt x="27" y="21"/>
                      </a:lnTo>
                      <a:lnTo>
                        <a:pt x="30" y="22"/>
                      </a:lnTo>
                      <a:lnTo>
                        <a:pt x="34" y="25"/>
                      </a:lnTo>
                      <a:lnTo>
                        <a:pt x="37" y="26"/>
                      </a:lnTo>
                      <a:lnTo>
                        <a:pt x="43" y="26"/>
                      </a:lnTo>
                      <a:lnTo>
                        <a:pt x="45" y="23"/>
                      </a:lnTo>
                      <a:lnTo>
                        <a:pt x="47" y="25"/>
                      </a:lnTo>
                      <a:lnTo>
                        <a:pt x="47"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81" name="Freeform 143">
                  <a:extLst>
                    <a:ext uri="{FF2B5EF4-FFF2-40B4-BE49-F238E27FC236}">
                      <a16:creationId xmlns:a16="http://schemas.microsoft.com/office/drawing/2014/main" id="{4702802C-3F20-6988-7D63-8D70753355D6}"/>
                    </a:ext>
                  </a:extLst>
                </p:cNvPr>
                <p:cNvSpPr>
                  <a:spLocks/>
                </p:cNvSpPr>
                <p:nvPr/>
              </p:nvSpPr>
              <p:spPr bwMode="auto">
                <a:xfrm>
                  <a:off x="5158" y="2840"/>
                  <a:ext cx="9" cy="10"/>
                </a:xfrm>
                <a:custGeom>
                  <a:avLst/>
                  <a:gdLst>
                    <a:gd name="T0" fmla="*/ 1 w 9"/>
                    <a:gd name="T1" fmla="*/ 0 h 10"/>
                    <a:gd name="T2" fmla="*/ 0 w 9"/>
                    <a:gd name="T3" fmla="*/ 4 h 10"/>
                    <a:gd name="T4" fmla="*/ 0 w 9"/>
                    <a:gd name="T5" fmla="*/ 8 h 10"/>
                    <a:gd name="T6" fmla="*/ 4 w 9"/>
                    <a:gd name="T7" fmla="*/ 9 h 10"/>
                    <a:gd name="T8" fmla="*/ 6 w 9"/>
                    <a:gd name="T9" fmla="*/ 10 h 10"/>
                    <a:gd name="T10" fmla="*/ 8 w 9"/>
                    <a:gd name="T11" fmla="*/ 7 h 10"/>
                    <a:gd name="T12" fmla="*/ 9 w 9"/>
                    <a:gd name="T13" fmla="*/ 5 h 10"/>
                    <a:gd name="T14" fmla="*/ 7 w 9"/>
                    <a:gd name="T15" fmla="*/ 1 h 10"/>
                    <a:gd name="T16" fmla="*/ 3 w 9"/>
                    <a:gd name="T17" fmla="*/ 0 h 10"/>
                    <a:gd name="T18" fmla="*/ 1 w 9"/>
                    <a:gd name="T19" fmla="*/ 0 h 10"/>
                    <a:gd name="T20" fmla="*/ 1 w 9"/>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1" y="0"/>
                      </a:moveTo>
                      <a:lnTo>
                        <a:pt x="0" y="4"/>
                      </a:lnTo>
                      <a:lnTo>
                        <a:pt x="0" y="8"/>
                      </a:lnTo>
                      <a:lnTo>
                        <a:pt x="4" y="9"/>
                      </a:lnTo>
                      <a:lnTo>
                        <a:pt x="6" y="10"/>
                      </a:lnTo>
                      <a:lnTo>
                        <a:pt x="8" y="7"/>
                      </a:lnTo>
                      <a:lnTo>
                        <a:pt x="9" y="5"/>
                      </a:lnTo>
                      <a:lnTo>
                        <a:pt x="7" y="1"/>
                      </a:lnTo>
                      <a:lnTo>
                        <a:pt x="3"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82" name="Freeform 144">
                  <a:extLst>
                    <a:ext uri="{FF2B5EF4-FFF2-40B4-BE49-F238E27FC236}">
                      <a16:creationId xmlns:a16="http://schemas.microsoft.com/office/drawing/2014/main" id="{DACB9D75-8537-217B-BD50-9CB9BB4710C8}"/>
                    </a:ext>
                  </a:extLst>
                </p:cNvPr>
                <p:cNvSpPr>
                  <a:spLocks/>
                </p:cNvSpPr>
                <p:nvPr/>
              </p:nvSpPr>
              <p:spPr bwMode="auto">
                <a:xfrm>
                  <a:off x="5172" y="2528"/>
                  <a:ext cx="33" cy="26"/>
                </a:xfrm>
                <a:custGeom>
                  <a:avLst/>
                  <a:gdLst>
                    <a:gd name="T0" fmla="*/ 21 w 33"/>
                    <a:gd name="T1" fmla="*/ 0 h 26"/>
                    <a:gd name="T2" fmla="*/ 21 w 33"/>
                    <a:gd name="T3" fmla="*/ 1 h 26"/>
                    <a:gd name="T4" fmla="*/ 19 w 33"/>
                    <a:gd name="T5" fmla="*/ 2 h 26"/>
                    <a:gd name="T6" fmla="*/ 18 w 33"/>
                    <a:gd name="T7" fmla="*/ 1 h 26"/>
                    <a:gd name="T8" fmla="*/ 15 w 33"/>
                    <a:gd name="T9" fmla="*/ 0 h 26"/>
                    <a:gd name="T10" fmla="*/ 12 w 33"/>
                    <a:gd name="T11" fmla="*/ 2 h 26"/>
                    <a:gd name="T12" fmla="*/ 9 w 33"/>
                    <a:gd name="T13" fmla="*/ 2 h 26"/>
                    <a:gd name="T14" fmla="*/ 9 w 33"/>
                    <a:gd name="T15" fmla="*/ 4 h 26"/>
                    <a:gd name="T16" fmla="*/ 6 w 33"/>
                    <a:gd name="T17" fmla="*/ 5 h 26"/>
                    <a:gd name="T18" fmla="*/ 0 w 33"/>
                    <a:gd name="T19" fmla="*/ 11 h 26"/>
                    <a:gd name="T20" fmla="*/ 0 w 33"/>
                    <a:gd name="T21" fmla="*/ 16 h 26"/>
                    <a:gd name="T22" fmla="*/ 1 w 33"/>
                    <a:gd name="T23" fmla="*/ 19 h 26"/>
                    <a:gd name="T24" fmla="*/ 1 w 33"/>
                    <a:gd name="T25" fmla="*/ 21 h 26"/>
                    <a:gd name="T26" fmla="*/ 2 w 33"/>
                    <a:gd name="T27" fmla="*/ 21 h 26"/>
                    <a:gd name="T28" fmla="*/ 6 w 33"/>
                    <a:gd name="T29" fmla="*/ 23 h 26"/>
                    <a:gd name="T30" fmla="*/ 7 w 33"/>
                    <a:gd name="T31" fmla="*/ 23 h 26"/>
                    <a:gd name="T32" fmla="*/ 12 w 33"/>
                    <a:gd name="T33" fmla="*/ 25 h 26"/>
                    <a:gd name="T34" fmla="*/ 12 w 33"/>
                    <a:gd name="T35" fmla="*/ 26 h 26"/>
                    <a:gd name="T36" fmla="*/ 15 w 33"/>
                    <a:gd name="T37" fmla="*/ 26 h 26"/>
                    <a:gd name="T38" fmla="*/ 16 w 33"/>
                    <a:gd name="T39" fmla="*/ 23 h 26"/>
                    <a:gd name="T40" fmla="*/ 19 w 33"/>
                    <a:gd name="T41" fmla="*/ 22 h 26"/>
                    <a:gd name="T42" fmla="*/ 19 w 33"/>
                    <a:gd name="T43" fmla="*/ 23 h 26"/>
                    <a:gd name="T44" fmla="*/ 21 w 33"/>
                    <a:gd name="T45" fmla="*/ 20 h 26"/>
                    <a:gd name="T46" fmla="*/ 26 w 33"/>
                    <a:gd name="T47" fmla="*/ 18 h 26"/>
                    <a:gd name="T48" fmla="*/ 26 w 33"/>
                    <a:gd name="T49" fmla="*/ 12 h 26"/>
                    <a:gd name="T50" fmla="*/ 27 w 33"/>
                    <a:gd name="T51" fmla="*/ 12 h 26"/>
                    <a:gd name="T52" fmla="*/ 28 w 33"/>
                    <a:gd name="T53" fmla="*/ 9 h 26"/>
                    <a:gd name="T54" fmla="*/ 30 w 33"/>
                    <a:gd name="T55" fmla="*/ 6 h 26"/>
                    <a:gd name="T56" fmla="*/ 33 w 33"/>
                    <a:gd name="T57" fmla="*/ 5 h 26"/>
                    <a:gd name="T58" fmla="*/ 33 w 33"/>
                    <a:gd name="T59" fmla="*/ 3 h 26"/>
                    <a:gd name="T60" fmla="*/ 32 w 33"/>
                    <a:gd name="T61" fmla="*/ 0 h 26"/>
                    <a:gd name="T62" fmla="*/ 25 w 33"/>
                    <a:gd name="T63" fmla="*/ 0 h 26"/>
                    <a:gd name="T64" fmla="*/ 25 w 33"/>
                    <a:gd name="T65" fmla="*/ 2 h 26"/>
                    <a:gd name="T66" fmla="*/ 24 w 33"/>
                    <a:gd name="T67" fmla="*/ 0 h 26"/>
                    <a:gd name="T68" fmla="*/ 23 w 33"/>
                    <a:gd name="T69" fmla="*/ 0 h 26"/>
                    <a:gd name="T70" fmla="*/ 21 w 33"/>
                    <a:gd name="T71" fmla="*/ 0 h 26"/>
                    <a:gd name="T72" fmla="*/ 21 w 33"/>
                    <a:gd name="T7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 h="26">
                      <a:moveTo>
                        <a:pt x="21" y="0"/>
                      </a:moveTo>
                      <a:lnTo>
                        <a:pt x="21" y="1"/>
                      </a:lnTo>
                      <a:lnTo>
                        <a:pt x="19" y="2"/>
                      </a:lnTo>
                      <a:lnTo>
                        <a:pt x="18" y="1"/>
                      </a:lnTo>
                      <a:lnTo>
                        <a:pt x="15" y="0"/>
                      </a:lnTo>
                      <a:lnTo>
                        <a:pt x="12" y="2"/>
                      </a:lnTo>
                      <a:lnTo>
                        <a:pt x="9" y="2"/>
                      </a:lnTo>
                      <a:lnTo>
                        <a:pt x="9" y="4"/>
                      </a:lnTo>
                      <a:lnTo>
                        <a:pt x="6" y="5"/>
                      </a:lnTo>
                      <a:lnTo>
                        <a:pt x="0" y="11"/>
                      </a:lnTo>
                      <a:lnTo>
                        <a:pt x="0" y="16"/>
                      </a:lnTo>
                      <a:lnTo>
                        <a:pt x="1" y="19"/>
                      </a:lnTo>
                      <a:lnTo>
                        <a:pt x="1" y="21"/>
                      </a:lnTo>
                      <a:lnTo>
                        <a:pt x="2" y="21"/>
                      </a:lnTo>
                      <a:lnTo>
                        <a:pt x="6" y="23"/>
                      </a:lnTo>
                      <a:lnTo>
                        <a:pt x="7" y="23"/>
                      </a:lnTo>
                      <a:lnTo>
                        <a:pt x="12" y="25"/>
                      </a:lnTo>
                      <a:lnTo>
                        <a:pt x="12" y="26"/>
                      </a:lnTo>
                      <a:lnTo>
                        <a:pt x="15" y="26"/>
                      </a:lnTo>
                      <a:lnTo>
                        <a:pt x="16" y="23"/>
                      </a:lnTo>
                      <a:lnTo>
                        <a:pt x="19" y="22"/>
                      </a:lnTo>
                      <a:lnTo>
                        <a:pt x="19" y="23"/>
                      </a:lnTo>
                      <a:lnTo>
                        <a:pt x="21" y="20"/>
                      </a:lnTo>
                      <a:lnTo>
                        <a:pt x="26" y="18"/>
                      </a:lnTo>
                      <a:lnTo>
                        <a:pt x="26" y="12"/>
                      </a:lnTo>
                      <a:lnTo>
                        <a:pt x="27" y="12"/>
                      </a:lnTo>
                      <a:lnTo>
                        <a:pt x="28" y="9"/>
                      </a:lnTo>
                      <a:lnTo>
                        <a:pt x="30" y="6"/>
                      </a:lnTo>
                      <a:lnTo>
                        <a:pt x="33" y="5"/>
                      </a:lnTo>
                      <a:lnTo>
                        <a:pt x="33" y="3"/>
                      </a:lnTo>
                      <a:lnTo>
                        <a:pt x="32" y="0"/>
                      </a:lnTo>
                      <a:lnTo>
                        <a:pt x="25" y="0"/>
                      </a:lnTo>
                      <a:lnTo>
                        <a:pt x="25" y="2"/>
                      </a:lnTo>
                      <a:lnTo>
                        <a:pt x="24" y="0"/>
                      </a:lnTo>
                      <a:lnTo>
                        <a:pt x="23" y="0"/>
                      </a:lnTo>
                      <a:lnTo>
                        <a:pt x="21"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83" name="Freeform 145">
                  <a:extLst>
                    <a:ext uri="{FF2B5EF4-FFF2-40B4-BE49-F238E27FC236}">
                      <a16:creationId xmlns:a16="http://schemas.microsoft.com/office/drawing/2014/main" id="{7648A2BB-8963-97DF-2A1F-23FADA512F3F}"/>
                    </a:ext>
                  </a:extLst>
                </p:cNvPr>
                <p:cNvSpPr>
                  <a:spLocks/>
                </p:cNvSpPr>
                <p:nvPr/>
              </p:nvSpPr>
              <p:spPr bwMode="auto">
                <a:xfrm>
                  <a:off x="5231" y="3164"/>
                  <a:ext cx="4" cy="8"/>
                </a:xfrm>
                <a:custGeom>
                  <a:avLst/>
                  <a:gdLst>
                    <a:gd name="T0" fmla="*/ 4 w 4"/>
                    <a:gd name="T1" fmla="*/ 8 h 8"/>
                    <a:gd name="T2" fmla="*/ 2 w 4"/>
                    <a:gd name="T3" fmla="*/ 2 h 8"/>
                    <a:gd name="T4" fmla="*/ 0 w 4"/>
                    <a:gd name="T5" fmla="*/ 0 h 8"/>
                    <a:gd name="T6" fmla="*/ 1 w 4"/>
                    <a:gd name="T7" fmla="*/ 2 h 8"/>
                    <a:gd name="T8" fmla="*/ 4 w 4"/>
                    <a:gd name="T9" fmla="*/ 8 h 8"/>
                    <a:gd name="T10" fmla="*/ 4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4" y="8"/>
                      </a:moveTo>
                      <a:lnTo>
                        <a:pt x="2" y="2"/>
                      </a:lnTo>
                      <a:lnTo>
                        <a:pt x="0" y="0"/>
                      </a:lnTo>
                      <a:lnTo>
                        <a:pt x="1" y="2"/>
                      </a:lnTo>
                      <a:lnTo>
                        <a:pt x="4" y="8"/>
                      </a:ln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84" name="Freeform 146">
                  <a:extLst>
                    <a:ext uri="{FF2B5EF4-FFF2-40B4-BE49-F238E27FC236}">
                      <a16:creationId xmlns:a16="http://schemas.microsoft.com/office/drawing/2014/main" id="{39AB8A47-E73F-7B0E-EBD5-7E380113B6B9}"/>
                    </a:ext>
                  </a:extLst>
                </p:cNvPr>
                <p:cNvSpPr>
                  <a:spLocks/>
                </p:cNvSpPr>
                <p:nvPr/>
              </p:nvSpPr>
              <p:spPr bwMode="auto">
                <a:xfrm>
                  <a:off x="5252" y="2916"/>
                  <a:ext cx="17" cy="11"/>
                </a:xfrm>
                <a:custGeom>
                  <a:avLst/>
                  <a:gdLst>
                    <a:gd name="T0" fmla="*/ 0 w 17"/>
                    <a:gd name="T1" fmla="*/ 1 h 11"/>
                    <a:gd name="T2" fmla="*/ 0 w 17"/>
                    <a:gd name="T3" fmla="*/ 4 h 11"/>
                    <a:gd name="T4" fmla="*/ 6 w 17"/>
                    <a:gd name="T5" fmla="*/ 6 h 11"/>
                    <a:gd name="T6" fmla="*/ 8 w 17"/>
                    <a:gd name="T7" fmla="*/ 8 h 11"/>
                    <a:gd name="T8" fmla="*/ 9 w 17"/>
                    <a:gd name="T9" fmla="*/ 11 h 11"/>
                    <a:gd name="T10" fmla="*/ 10 w 17"/>
                    <a:gd name="T11" fmla="*/ 11 h 11"/>
                    <a:gd name="T12" fmla="*/ 12 w 17"/>
                    <a:gd name="T13" fmla="*/ 8 h 11"/>
                    <a:gd name="T14" fmla="*/ 17 w 17"/>
                    <a:gd name="T15" fmla="*/ 6 h 11"/>
                    <a:gd name="T16" fmla="*/ 15 w 17"/>
                    <a:gd name="T17" fmla="*/ 2 h 11"/>
                    <a:gd name="T18" fmla="*/ 13 w 17"/>
                    <a:gd name="T19" fmla="*/ 1 h 11"/>
                    <a:gd name="T20" fmla="*/ 10 w 17"/>
                    <a:gd name="T21" fmla="*/ 0 h 11"/>
                    <a:gd name="T22" fmla="*/ 7 w 17"/>
                    <a:gd name="T23" fmla="*/ 2 h 11"/>
                    <a:gd name="T24" fmla="*/ 0 w 17"/>
                    <a:gd name="T25" fmla="*/ 1 h 11"/>
                    <a:gd name="T26" fmla="*/ 0 w 17"/>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1">
                      <a:moveTo>
                        <a:pt x="0" y="1"/>
                      </a:moveTo>
                      <a:lnTo>
                        <a:pt x="0" y="4"/>
                      </a:lnTo>
                      <a:lnTo>
                        <a:pt x="6" y="6"/>
                      </a:lnTo>
                      <a:lnTo>
                        <a:pt x="8" y="8"/>
                      </a:lnTo>
                      <a:lnTo>
                        <a:pt x="9" y="11"/>
                      </a:lnTo>
                      <a:lnTo>
                        <a:pt x="10" y="11"/>
                      </a:lnTo>
                      <a:lnTo>
                        <a:pt x="12" y="8"/>
                      </a:lnTo>
                      <a:lnTo>
                        <a:pt x="17" y="6"/>
                      </a:lnTo>
                      <a:lnTo>
                        <a:pt x="15" y="2"/>
                      </a:lnTo>
                      <a:lnTo>
                        <a:pt x="13" y="1"/>
                      </a:lnTo>
                      <a:lnTo>
                        <a:pt x="10" y="0"/>
                      </a:lnTo>
                      <a:lnTo>
                        <a:pt x="7" y="2"/>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85" name="Freeform 147">
                  <a:extLst>
                    <a:ext uri="{FF2B5EF4-FFF2-40B4-BE49-F238E27FC236}">
                      <a16:creationId xmlns:a16="http://schemas.microsoft.com/office/drawing/2014/main" id="{43605318-B252-0181-25E0-8D94AFFBC103}"/>
                    </a:ext>
                  </a:extLst>
                </p:cNvPr>
                <p:cNvSpPr>
                  <a:spLocks/>
                </p:cNvSpPr>
                <p:nvPr/>
              </p:nvSpPr>
              <p:spPr bwMode="auto">
                <a:xfrm>
                  <a:off x="5272" y="2918"/>
                  <a:ext cx="11" cy="9"/>
                </a:xfrm>
                <a:custGeom>
                  <a:avLst/>
                  <a:gdLst>
                    <a:gd name="T0" fmla="*/ 5 w 11"/>
                    <a:gd name="T1" fmla="*/ 0 h 9"/>
                    <a:gd name="T2" fmla="*/ 3 w 11"/>
                    <a:gd name="T3" fmla="*/ 3 h 9"/>
                    <a:gd name="T4" fmla="*/ 2 w 11"/>
                    <a:gd name="T5" fmla="*/ 5 h 9"/>
                    <a:gd name="T6" fmla="*/ 2 w 11"/>
                    <a:gd name="T7" fmla="*/ 8 h 9"/>
                    <a:gd name="T8" fmla="*/ 0 w 11"/>
                    <a:gd name="T9" fmla="*/ 7 h 9"/>
                    <a:gd name="T10" fmla="*/ 2 w 11"/>
                    <a:gd name="T11" fmla="*/ 9 h 9"/>
                    <a:gd name="T12" fmla="*/ 5 w 11"/>
                    <a:gd name="T13" fmla="*/ 9 h 9"/>
                    <a:gd name="T14" fmla="*/ 7 w 11"/>
                    <a:gd name="T15" fmla="*/ 8 h 9"/>
                    <a:gd name="T16" fmla="*/ 10 w 11"/>
                    <a:gd name="T17" fmla="*/ 6 h 9"/>
                    <a:gd name="T18" fmla="*/ 11 w 11"/>
                    <a:gd name="T19" fmla="*/ 4 h 9"/>
                    <a:gd name="T20" fmla="*/ 9 w 11"/>
                    <a:gd name="T21" fmla="*/ 0 h 9"/>
                    <a:gd name="T22" fmla="*/ 5 w 11"/>
                    <a:gd name="T23" fmla="*/ 0 h 9"/>
                    <a:gd name="T24" fmla="*/ 5 w 11"/>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9">
                      <a:moveTo>
                        <a:pt x="5" y="0"/>
                      </a:moveTo>
                      <a:lnTo>
                        <a:pt x="3" y="3"/>
                      </a:lnTo>
                      <a:lnTo>
                        <a:pt x="2" y="5"/>
                      </a:lnTo>
                      <a:lnTo>
                        <a:pt x="2" y="8"/>
                      </a:lnTo>
                      <a:lnTo>
                        <a:pt x="0" y="7"/>
                      </a:lnTo>
                      <a:lnTo>
                        <a:pt x="2" y="9"/>
                      </a:lnTo>
                      <a:lnTo>
                        <a:pt x="5" y="9"/>
                      </a:lnTo>
                      <a:lnTo>
                        <a:pt x="7" y="8"/>
                      </a:lnTo>
                      <a:lnTo>
                        <a:pt x="10" y="6"/>
                      </a:lnTo>
                      <a:lnTo>
                        <a:pt x="11" y="4"/>
                      </a:lnTo>
                      <a:lnTo>
                        <a:pt x="9"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86" name="Freeform 148">
                  <a:extLst>
                    <a:ext uri="{FF2B5EF4-FFF2-40B4-BE49-F238E27FC236}">
                      <a16:creationId xmlns:a16="http://schemas.microsoft.com/office/drawing/2014/main" id="{92F1595E-6A10-6F77-CDC6-90BB57F46F33}"/>
                    </a:ext>
                  </a:extLst>
                </p:cNvPr>
                <p:cNvSpPr>
                  <a:spLocks/>
                </p:cNvSpPr>
                <p:nvPr/>
              </p:nvSpPr>
              <p:spPr bwMode="auto">
                <a:xfrm>
                  <a:off x="5284" y="2917"/>
                  <a:ext cx="32" cy="14"/>
                </a:xfrm>
                <a:custGeom>
                  <a:avLst/>
                  <a:gdLst>
                    <a:gd name="T0" fmla="*/ 15 w 32"/>
                    <a:gd name="T1" fmla="*/ 12 h 14"/>
                    <a:gd name="T2" fmla="*/ 20 w 32"/>
                    <a:gd name="T3" fmla="*/ 8 h 14"/>
                    <a:gd name="T4" fmla="*/ 24 w 32"/>
                    <a:gd name="T5" fmla="*/ 10 h 14"/>
                    <a:gd name="T6" fmla="*/ 26 w 32"/>
                    <a:gd name="T7" fmla="*/ 9 h 14"/>
                    <a:gd name="T8" fmla="*/ 28 w 32"/>
                    <a:gd name="T9" fmla="*/ 10 h 14"/>
                    <a:gd name="T10" fmla="*/ 32 w 32"/>
                    <a:gd name="T11" fmla="*/ 9 h 14"/>
                    <a:gd name="T12" fmla="*/ 31 w 32"/>
                    <a:gd name="T13" fmla="*/ 4 h 14"/>
                    <a:gd name="T14" fmla="*/ 27 w 32"/>
                    <a:gd name="T15" fmla="*/ 3 h 14"/>
                    <a:gd name="T16" fmla="*/ 26 w 32"/>
                    <a:gd name="T17" fmla="*/ 5 h 14"/>
                    <a:gd name="T18" fmla="*/ 26 w 32"/>
                    <a:gd name="T19" fmla="*/ 3 h 14"/>
                    <a:gd name="T20" fmla="*/ 23 w 32"/>
                    <a:gd name="T21" fmla="*/ 1 h 14"/>
                    <a:gd name="T22" fmla="*/ 20 w 32"/>
                    <a:gd name="T23" fmla="*/ 4 h 14"/>
                    <a:gd name="T24" fmla="*/ 19 w 32"/>
                    <a:gd name="T25" fmla="*/ 0 h 14"/>
                    <a:gd name="T26" fmla="*/ 16 w 32"/>
                    <a:gd name="T27" fmla="*/ 0 h 14"/>
                    <a:gd name="T28" fmla="*/ 14 w 32"/>
                    <a:gd name="T29" fmla="*/ 0 h 14"/>
                    <a:gd name="T30" fmla="*/ 14 w 32"/>
                    <a:gd name="T31" fmla="*/ 4 h 14"/>
                    <a:gd name="T32" fmla="*/ 19 w 32"/>
                    <a:gd name="T33" fmla="*/ 6 h 14"/>
                    <a:gd name="T34" fmla="*/ 17 w 32"/>
                    <a:gd name="T35" fmla="*/ 8 h 14"/>
                    <a:gd name="T36" fmla="*/ 14 w 32"/>
                    <a:gd name="T37" fmla="*/ 8 h 14"/>
                    <a:gd name="T38" fmla="*/ 11 w 32"/>
                    <a:gd name="T39" fmla="*/ 6 h 14"/>
                    <a:gd name="T40" fmla="*/ 6 w 32"/>
                    <a:gd name="T41" fmla="*/ 4 h 14"/>
                    <a:gd name="T42" fmla="*/ 1 w 32"/>
                    <a:gd name="T43" fmla="*/ 6 h 14"/>
                    <a:gd name="T44" fmla="*/ 0 w 32"/>
                    <a:gd name="T45" fmla="*/ 10 h 14"/>
                    <a:gd name="T46" fmla="*/ 2 w 32"/>
                    <a:gd name="T47" fmla="*/ 13 h 14"/>
                    <a:gd name="T48" fmla="*/ 5 w 32"/>
                    <a:gd name="T49" fmla="*/ 14 h 14"/>
                    <a:gd name="T50" fmla="*/ 10 w 32"/>
                    <a:gd name="T51" fmla="*/ 13 h 14"/>
                    <a:gd name="T52" fmla="*/ 12 w 32"/>
                    <a:gd name="T53" fmla="*/ 12 h 14"/>
                    <a:gd name="T54" fmla="*/ 15 w 32"/>
                    <a:gd name="T55" fmla="*/ 12 h 14"/>
                    <a:gd name="T56" fmla="*/ 15 w 32"/>
                    <a:gd name="T5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14">
                      <a:moveTo>
                        <a:pt x="15" y="12"/>
                      </a:moveTo>
                      <a:lnTo>
                        <a:pt x="20" y="8"/>
                      </a:lnTo>
                      <a:lnTo>
                        <a:pt x="24" y="10"/>
                      </a:lnTo>
                      <a:lnTo>
                        <a:pt x="26" y="9"/>
                      </a:lnTo>
                      <a:lnTo>
                        <a:pt x="28" y="10"/>
                      </a:lnTo>
                      <a:lnTo>
                        <a:pt x="32" y="9"/>
                      </a:lnTo>
                      <a:lnTo>
                        <a:pt x="31" y="4"/>
                      </a:lnTo>
                      <a:lnTo>
                        <a:pt x="27" y="3"/>
                      </a:lnTo>
                      <a:lnTo>
                        <a:pt x="26" y="5"/>
                      </a:lnTo>
                      <a:lnTo>
                        <a:pt x="26" y="3"/>
                      </a:lnTo>
                      <a:lnTo>
                        <a:pt x="23" y="1"/>
                      </a:lnTo>
                      <a:lnTo>
                        <a:pt x="20" y="4"/>
                      </a:lnTo>
                      <a:lnTo>
                        <a:pt x="19" y="0"/>
                      </a:lnTo>
                      <a:lnTo>
                        <a:pt x="16" y="0"/>
                      </a:lnTo>
                      <a:lnTo>
                        <a:pt x="14" y="0"/>
                      </a:lnTo>
                      <a:lnTo>
                        <a:pt x="14" y="4"/>
                      </a:lnTo>
                      <a:lnTo>
                        <a:pt x="19" y="6"/>
                      </a:lnTo>
                      <a:lnTo>
                        <a:pt x="17" y="8"/>
                      </a:lnTo>
                      <a:lnTo>
                        <a:pt x="14" y="8"/>
                      </a:lnTo>
                      <a:lnTo>
                        <a:pt x="11" y="6"/>
                      </a:lnTo>
                      <a:lnTo>
                        <a:pt x="6" y="4"/>
                      </a:lnTo>
                      <a:lnTo>
                        <a:pt x="1" y="6"/>
                      </a:lnTo>
                      <a:lnTo>
                        <a:pt x="0" y="10"/>
                      </a:lnTo>
                      <a:lnTo>
                        <a:pt x="2" y="13"/>
                      </a:lnTo>
                      <a:lnTo>
                        <a:pt x="5" y="14"/>
                      </a:lnTo>
                      <a:lnTo>
                        <a:pt x="10" y="13"/>
                      </a:lnTo>
                      <a:lnTo>
                        <a:pt x="12" y="12"/>
                      </a:lnTo>
                      <a:lnTo>
                        <a:pt x="15" y="12"/>
                      </a:lnTo>
                      <a:lnTo>
                        <a:pt x="1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87" name="Freeform 149">
                  <a:extLst>
                    <a:ext uri="{FF2B5EF4-FFF2-40B4-BE49-F238E27FC236}">
                      <a16:creationId xmlns:a16="http://schemas.microsoft.com/office/drawing/2014/main" id="{CC348329-32D8-7566-D282-77BBB2781B2F}"/>
                    </a:ext>
                  </a:extLst>
                </p:cNvPr>
                <p:cNvSpPr>
                  <a:spLocks/>
                </p:cNvSpPr>
                <p:nvPr/>
              </p:nvSpPr>
              <p:spPr bwMode="auto">
                <a:xfrm>
                  <a:off x="5290" y="2650"/>
                  <a:ext cx="34" cy="41"/>
                </a:xfrm>
                <a:custGeom>
                  <a:avLst/>
                  <a:gdLst>
                    <a:gd name="T0" fmla="*/ 21 w 34"/>
                    <a:gd name="T1" fmla="*/ 23 h 41"/>
                    <a:gd name="T2" fmla="*/ 21 w 34"/>
                    <a:gd name="T3" fmla="*/ 19 h 41"/>
                    <a:gd name="T4" fmla="*/ 22 w 34"/>
                    <a:gd name="T5" fmla="*/ 18 h 41"/>
                    <a:gd name="T6" fmla="*/ 26 w 34"/>
                    <a:gd name="T7" fmla="*/ 18 h 41"/>
                    <a:gd name="T8" fmla="*/ 28 w 34"/>
                    <a:gd name="T9" fmla="*/ 15 h 41"/>
                    <a:gd name="T10" fmla="*/ 30 w 34"/>
                    <a:gd name="T11" fmla="*/ 14 h 41"/>
                    <a:gd name="T12" fmla="*/ 31 w 34"/>
                    <a:gd name="T13" fmla="*/ 14 h 41"/>
                    <a:gd name="T14" fmla="*/ 34 w 34"/>
                    <a:gd name="T15" fmla="*/ 10 h 41"/>
                    <a:gd name="T16" fmla="*/ 31 w 34"/>
                    <a:gd name="T17" fmla="*/ 6 h 41"/>
                    <a:gd name="T18" fmla="*/ 31 w 34"/>
                    <a:gd name="T19" fmla="*/ 0 h 41"/>
                    <a:gd name="T20" fmla="*/ 29 w 34"/>
                    <a:gd name="T21" fmla="*/ 6 h 41"/>
                    <a:gd name="T22" fmla="*/ 30 w 34"/>
                    <a:gd name="T23" fmla="*/ 8 h 41"/>
                    <a:gd name="T24" fmla="*/ 28 w 34"/>
                    <a:gd name="T25" fmla="*/ 6 h 41"/>
                    <a:gd name="T26" fmla="*/ 29 w 34"/>
                    <a:gd name="T27" fmla="*/ 8 h 41"/>
                    <a:gd name="T28" fmla="*/ 28 w 34"/>
                    <a:gd name="T29" fmla="*/ 10 h 41"/>
                    <a:gd name="T30" fmla="*/ 26 w 34"/>
                    <a:gd name="T31" fmla="*/ 11 h 41"/>
                    <a:gd name="T32" fmla="*/ 23 w 34"/>
                    <a:gd name="T33" fmla="*/ 15 h 41"/>
                    <a:gd name="T34" fmla="*/ 21 w 34"/>
                    <a:gd name="T35" fmla="*/ 16 h 41"/>
                    <a:gd name="T36" fmla="*/ 19 w 34"/>
                    <a:gd name="T37" fmla="*/ 18 h 41"/>
                    <a:gd name="T38" fmla="*/ 18 w 34"/>
                    <a:gd name="T39" fmla="*/ 20 h 41"/>
                    <a:gd name="T40" fmla="*/ 16 w 34"/>
                    <a:gd name="T41" fmla="*/ 23 h 41"/>
                    <a:gd name="T42" fmla="*/ 11 w 34"/>
                    <a:gd name="T43" fmla="*/ 28 h 41"/>
                    <a:gd name="T44" fmla="*/ 9 w 34"/>
                    <a:gd name="T45" fmla="*/ 29 h 41"/>
                    <a:gd name="T46" fmla="*/ 5 w 34"/>
                    <a:gd name="T47" fmla="*/ 31 h 41"/>
                    <a:gd name="T48" fmla="*/ 1 w 34"/>
                    <a:gd name="T49" fmla="*/ 37 h 41"/>
                    <a:gd name="T50" fmla="*/ 0 w 34"/>
                    <a:gd name="T51" fmla="*/ 41 h 41"/>
                    <a:gd name="T52" fmla="*/ 2 w 34"/>
                    <a:gd name="T53" fmla="*/ 40 h 41"/>
                    <a:gd name="T54" fmla="*/ 5 w 34"/>
                    <a:gd name="T55" fmla="*/ 36 h 41"/>
                    <a:gd name="T56" fmla="*/ 8 w 34"/>
                    <a:gd name="T57" fmla="*/ 36 h 41"/>
                    <a:gd name="T58" fmla="*/ 10 w 34"/>
                    <a:gd name="T59" fmla="*/ 34 h 41"/>
                    <a:gd name="T60" fmla="*/ 12 w 34"/>
                    <a:gd name="T61" fmla="*/ 32 h 41"/>
                    <a:gd name="T62" fmla="*/ 18 w 34"/>
                    <a:gd name="T63" fmla="*/ 28 h 41"/>
                    <a:gd name="T64" fmla="*/ 21 w 34"/>
                    <a:gd name="T65" fmla="*/ 23 h 41"/>
                    <a:gd name="T66" fmla="*/ 21 w 34"/>
                    <a:gd name="T67" fmla="*/ 2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1">
                      <a:moveTo>
                        <a:pt x="21" y="23"/>
                      </a:moveTo>
                      <a:lnTo>
                        <a:pt x="21" y="19"/>
                      </a:lnTo>
                      <a:lnTo>
                        <a:pt x="22" y="18"/>
                      </a:lnTo>
                      <a:lnTo>
                        <a:pt x="26" y="18"/>
                      </a:lnTo>
                      <a:lnTo>
                        <a:pt x="28" y="15"/>
                      </a:lnTo>
                      <a:lnTo>
                        <a:pt x="30" y="14"/>
                      </a:lnTo>
                      <a:lnTo>
                        <a:pt x="31" y="14"/>
                      </a:lnTo>
                      <a:lnTo>
                        <a:pt x="34" y="10"/>
                      </a:lnTo>
                      <a:lnTo>
                        <a:pt x="31" y="6"/>
                      </a:lnTo>
                      <a:lnTo>
                        <a:pt x="31" y="0"/>
                      </a:lnTo>
                      <a:lnTo>
                        <a:pt x="29" y="6"/>
                      </a:lnTo>
                      <a:lnTo>
                        <a:pt x="30" y="8"/>
                      </a:lnTo>
                      <a:lnTo>
                        <a:pt x="28" y="6"/>
                      </a:lnTo>
                      <a:lnTo>
                        <a:pt x="29" y="8"/>
                      </a:lnTo>
                      <a:lnTo>
                        <a:pt x="28" y="10"/>
                      </a:lnTo>
                      <a:lnTo>
                        <a:pt x="26" y="11"/>
                      </a:lnTo>
                      <a:lnTo>
                        <a:pt x="23" y="15"/>
                      </a:lnTo>
                      <a:lnTo>
                        <a:pt x="21" y="16"/>
                      </a:lnTo>
                      <a:lnTo>
                        <a:pt x="19" y="18"/>
                      </a:lnTo>
                      <a:lnTo>
                        <a:pt x="18" y="20"/>
                      </a:lnTo>
                      <a:lnTo>
                        <a:pt x="16" y="23"/>
                      </a:lnTo>
                      <a:lnTo>
                        <a:pt x="11" y="28"/>
                      </a:lnTo>
                      <a:lnTo>
                        <a:pt x="9" y="29"/>
                      </a:lnTo>
                      <a:lnTo>
                        <a:pt x="5" y="31"/>
                      </a:lnTo>
                      <a:lnTo>
                        <a:pt x="1" y="37"/>
                      </a:lnTo>
                      <a:lnTo>
                        <a:pt x="0" y="41"/>
                      </a:lnTo>
                      <a:lnTo>
                        <a:pt x="2" y="40"/>
                      </a:lnTo>
                      <a:lnTo>
                        <a:pt x="5" y="36"/>
                      </a:lnTo>
                      <a:lnTo>
                        <a:pt x="8" y="36"/>
                      </a:lnTo>
                      <a:lnTo>
                        <a:pt x="10" y="34"/>
                      </a:lnTo>
                      <a:lnTo>
                        <a:pt x="12" y="32"/>
                      </a:lnTo>
                      <a:lnTo>
                        <a:pt x="18" y="28"/>
                      </a:lnTo>
                      <a:lnTo>
                        <a:pt x="21" y="23"/>
                      </a:lnTo>
                      <a:lnTo>
                        <a:pt x="21"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88" name="Freeform 150">
                  <a:extLst>
                    <a:ext uri="{FF2B5EF4-FFF2-40B4-BE49-F238E27FC236}">
                      <a16:creationId xmlns:a16="http://schemas.microsoft.com/office/drawing/2014/main" id="{E0B42EB5-6D5B-78A5-68E7-CF2C2681348C}"/>
                    </a:ext>
                  </a:extLst>
                </p:cNvPr>
                <p:cNvSpPr>
                  <a:spLocks/>
                </p:cNvSpPr>
                <p:nvPr/>
              </p:nvSpPr>
              <p:spPr bwMode="auto">
                <a:xfrm>
                  <a:off x="5293" y="2917"/>
                  <a:ext cx="3" cy="4"/>
                </a:xfrm>
                <a:custGeom>
                  <a:avLst/>
                  <a:gdLst>
                    <a:gd name="T0" fmla="*/ 1 w 3"/>
                    <a:gd name="T1" fmla="*/ 4 h 4"/>
                    <a:gd name="T2" fmla="*/ 3 w 3"/>
                    <a:gd name="T3" fmla="*/ 0 h 4"/>
                    <a:gd name="T4" fmla="*/ 0 w 3"/>
                    <a:gd name="T5" fmla="*/ 1 h 4"/>
                    <a:gd name="T6" fmla="*/ 1 w 3"/>
                    <a:gd name="T7" fmla="*/ 4 h 4"/>
                    <a:gd name="T8" fmla="*/ 1 w 3"/>
                    <a:gd name="T9" fmla="*/ 4 h 4"/>
                  </a:gdLst>
                  <a:ahLst/>
                  <a:cxnLst>
                    <a:cxn ang="0">
                      <a:pos x="T0" y="T1"/>
                    </a:cxn>
                    <a:cxn ang="0">
                      <a:pos x="T2" y="T3"/>
                    </a:cxn>
                    <a:cxn ang="0">
                      <a:pos x="T4" y="T5"/>
                    </a:cxn>
                    <a:cxn ang="0">
                      <a:pos x="T6" y="T7"/>
                    </a:cxn>
                    <a:cxn ang="0">
                      <a:pos x="T8" y="T9"/>
                    </a:cxn>
                  </a:cxnLst>
                  <a:rect l="0" t="0" r="r" b="b"/>
                  <a:pathLst>
                    <a:path w="3" h="4">
                      <a:moveTo>
                        <a:pt x="1" y="4"/>
                      </a:moveTo>
                      <a:lnTo>
                        <a:pt x="3" y="0"/>
                      </a:lnTo>
                      <a:lnTo>
                        <a:pt x="0" y="1"/>
                      </a:lnTo>
                      <a:lnTo>
                        <a:pt x="1" y="4"/>
                      </a:lnTo>
                      <a:lnTo>
                        <a:pt x="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89" name="Freeform 151">
                  <a:extLst>
                    <a:ext uri="{FF2B5EF4-FFF2-40B4-BE49-F238E27FC236}">
                      <a16:creationId xmlns:a16="http://schemas.microsoft.com/office/drawing/2014/main" id="{195D1754-6417-B3D4-8972-F5B8EEB21D2E}"/>
                    </a:ext>
                  </a:extLst>
                </p:cNvPr>
                <p:cNvSpPr>
                  <a:spLocks/>
                </p:cNvSpPr>
                <p:nvPr/>
              </p:nvSpPr>
              <p:spPr bwMode="auto">
                <a:xfrm>
                  <a:off x="5311" y="2782"/>
                  <a:ext cx="89" cy="101"/>
                </a:xfrm>
                <a:custGeom>
                  <a:avLst/>
                  <a:gdLst>
                    <a:gd name="T0" fmla="*/ 29 w 89"/>
                    <a:gd name="T1" fmla="*/ 61 h 101"/>
                    <a:gd name="T2" fmla="*/ 31 w 89"/>
                    <a:gd name="T3" fmla="*/ 68 h 101"/>
                    <a:gd name="T4" fmla="*/ 36 w 89"/>
                    <a:gd name="T5" fmla="*/ 79 h 101"/>
                    <a:gd name="T6" fmla="*/ 38 w 89"/>
                    <a:gd name="T7" fmla="*/ 87 h 101"/>
                    <a:gd name="T8" fmla="*/ 44 w 89"/>
                    <a:gd name="T9" fmla="*/ 88 h 101"/>
                    <a:gd name="T10" fmla="*/ 55 w 89"/>
                    <a:gd name="T11" fmla="*/ 84 h 101"/>
                    <a:gd name="T12" fmla="*/ 56 w 89"/>
                    <a:gd name="T13" fmla="*/ 80 h 101"/>
                    <a:gd name="T14" fmla="*/ 49 w 89"/>
                    <a:gd name="T15" fmla="*/ 74 h 101"/>
                    <a:gd name="T16" fmla="*/ 50 w 89"/>
                    <a:gd name="T17" fmla="*/ 71 h 101"/>
                    <a:gd name="T18" fmla="*/ 49 w 89"/>
                    <a:gd name="T19" fmla="*/ 65 h 101"/>
                    <a:gd name="T20" fmla="*/ 35 w 89"/>
                    <a:gd name="T21" fmla="*/ 51 h 101"/>
                    <a:gd name="T22" fmla="*/ 41 w 89"/>
                    <a:gd name="T23" fmla="*/ 49 h 101"/>
                    <a:gd name="T24" fmla="*/ 51 w 89"/>
                    <a:gd name="T25" fmla="*/ 42 h 101"/>
                    <a:gd name="T26" fmla="*/ 62 w 89"/>
                    <a:gd name="T27" fmla="*/ 38 h 101"/>
                    <a:gd name="T28" fmla="*/ 60 w 89"/>
                    <a:gd name="T29" fmla="*/ 31 h 101"/>
                    <a:gd name="T30" fmla="*/ 47 w 89"/>
                    <a:gd name="T31" fmla="*/ 34 h 101"/>
                    <a:gd name="T32" fmla="*/ 39 w 89"/>
                    <a:gd name="T33" fmla="*/ 34 h 101"/>
                    <a:gd name="T34" fmla="*/ 32 w 89"/>
                    <a:gd name="T35" fmla="*/ 44 h 101"/>
                    <a:gd name="T36" fmla="*/ 25 w 89"/>
                    <a:gd name="T37" fmla="*/ 39 h 101"/>
                    <a:gd name="T38" fmla="*/ 18 w 89"/>
                    <a:gd name="T39" fmla="*/ 32 h 101"/>
                    <a:gd name="T40" fmla="*/ 22 w 89"/>
                    <a:gd name="T41" fmla="*/ 17 h 101"/>
                    <a:gd name="T42" fmla="*/ 30 w 89"/>
                    <a:gd name="T43" fmla="*/ 17 h 101"/>
                    <a:gd name="T44" fmla="*/ 35 w 89"/>
                    <a:gd name="T45" fmla="*/ 17 h 101"/>
                    <a:gd name="T46" fmla="*/ 43 w 89"/>
                    <a:gd name="T47" fmla="*/ 17 h 101"/>
                    <a:gd name="T48" fmla="*/ 61 w 89"/>
                    <a:gd name="T49" fmla="*/ 20 h 101"/>
                    <a:gd name="T50" fmla="*/ 78 w 89"/>
                    <a:gd name="T51" fmla="*/ 16 h 101"/>
                    <a:gd name="T52" fmla="*/ 86 w 89"/>
                    <a:gd name="T53" fmla="*/ 6 h 101"/>
                    <a:gd name="T54" fmla="*/ 84 w 89"/>
                    <a:gd name="T55" fmla="*/ 0 h 101"/>
                    <a:gd name="T56" fmla="*/ 79 w 89"/>
                    <a:gd name="T57" fmla="*/ 7 h 101"/>
                    <a:gd name="T58" fmla="*/ 68 w 89"/>
                    <a:gd name="T59" fmla="*/ 12 h 101"/>
                    <a:gd name="T60" fmla="*/ 58 w 89"/>
                    <a:gd name="T61" fmla="*/ 11 h 101"/>
                    <a:gd name="T62" fmla="*/ 43 w 89"/>
                    <a:gd name="T63" fmla="*/ 8 h 101"/>
                    <a:gd name="T64" fmla="*/ 34 w 89"/>
                    <a:gd name="T65" fmla="*/ 6 h 101"/>
                    <a:gd name="T66" fmla="*/ 27 w 89"/>
                    <a:gd name="T67" fmla="*/ 10 h 101"/>
                    <a:gd name="T68" fmla="*/ 17 w 89"/>
                    <a:gd name="T69" fmla="*/ 14 h 101"/>
                    <a:gd name="T70" fmla="*/ 14 w 89"/>
                    <a:gd name="T71" fmla="*/ 21 h 101"/>
                    <a:gd name="T72" fmla="*/ 14 w 89"/>
                    <a:gd name="T73" fmla="*/ 28 h 101"/>
                    <a:gd name="T74" fmla="*/ 15 w 89"/>
                    <a:gd name="T75" fmla="*/ 36 h 101"/>
                    <a:gd name="T76" fmla="*/ 7 w 89"/>
                    <a:gd name="T77" fmla="*/ 44 h 101"/>
                    <a:gd name="T78" fmla="*/ 5 w 89"/>
                    <a:gd name="T79" fmla="*/ 54 h 101"/>
                    <a:gd name="T80" fmla="*/ 0 w 89"/>
                    <a:gd name="T81" fmla="*/ 62 h 101"/>
                    <a:gd name="T82" fmla="*/ 1 w 89"/>
                    <a:gd name="T83" fmla="*/ 72 h 101"/>
                    <a:gd name="T84" fmla="*/ 10 w 89"/>
                    <a:gd name="T85" fmla="*/ 72 h 101"/>
                    <a:gd name="T86" fmla="*/ 12 w 89"/>
                    <a:gd name="T87" fmla="*/ 84 h 101"/>
                    <a:gd name="T88" fmla="*/ 8 w 89"/>
                    <a:gd name="T89" fmla="*/ 94 h 101"/>
                    <a:gd name="T90" fmla="*/ 12 w 89"/>
                    <a:gd name="T91" fmla="*/ 100 h 101"/>
                    <a:gd name="T92" fmla="*/ 23 w 89"/>
                    <a:gd name="T93" fmla="*/ 99 h 101"/>
                    <a:gd name="T94" fmla="*/ 22 w 89"/>
                    <a:gd name="T95" fmla="*/ 91 h 101"/>
                    <a:gd name="T96" fmla="*/ 23 w 89"/>
                    <a:gd name="T97" fmla="*/ 74 h 101"/>
                    <a:gd name="T98" fmla="*/ 21 w 89"/>
                    <a:gd name="T99" fmla="*/ 6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101">
                      <a:moveTo>
                        <a:pt x="21" y="64"/>
                      </a:moveTo>
                      <a:lnTo>
                        <a:pt x="26" y="61"/>
                      </a:lnTo>
                      <a:lnTo>
                        <a:pt x="29" y="61"/>
                      </a:lnTo>
                      <a:lnTo>
                        <a:pt x="31" y="61"/>
                      </a:lnTo>
                      <a:lnTo>
                        <a:pt x="32" y="64"/>
                      </a:lnTo>
                      <a:lnTo>
                        <a:pt x="31" y="68"/>
                      </a:lnTo>
                      <a:lnTo>
                        <a:pt x="29" y="71"/>
                      </a:lnTo>
                      <a:lnTo>
                        <a:pt x="31" y="74"/>
                      </a:lnTo>
                      <a:lnTo>
                        <a:pt x="36" y="79"/>
                      </a:lnTo>
                      <a:lnTo>
                        <a:pt x="39" y="79"/>
                      </a:lnTo>
                      <a:lnTo>
                        <a:pt x="39" y="81"/>
                      </a:lnTo>
                      <a:lnTo>
                        <a:pt x="38" y="87"/>
                      </a:lnTo>
                      <a:lnTo>
                        <a:pt x="40" y="89"/>
                      </a:lnTo>
                      <a:lnTo>
                        <a:pt x="42" y="90"/>
                      </a:lnTo>
                      <a:lnTo>
                        <a:pt x="44" y="88"/>
                      </a:lnTo>
                      <a:lnTo>
                        <a:pt x="47" y="85"/>
                      </a:lnTo>
                      <a:lnTo>
                        <a:pt x="52" y="84"/>
                      </a:lnTo>
                      <a:lnTo>
                        <a:pt x="55" y="84"/>
                      </a:lnTo>
                      <a:lnTo>
                        <a:pt x="53" y="83"/>
                      </a:lnTo>
                      <a:lnTo>
                        <a:pt x="57" y="82"/>
                      </a:lnTo>
                      <a:lnTo>
                        <a:pt x="56" y="80"/>
                      </a:lnTo>
                      <a:lnTo>
                        <a:pt x="53" y="79"/>
                      </a:lnTo>
                      <a:lnTo>
                        <a:pt x="51" y="76"/>
                      </a:lnTo>
                      <a:lnTo>
                        <a:pt x="49" y="74"/>
                      </a:lnTo>
                      <a:lnTo>
                        <a:pt x="48" y="72"/>
                      </a:lnTo>
                      <a:lnTo>
                        <a:pt x="49" y="71"/>
                      </a:lnTo>
                      <a:lnTo>
                        <a:pt x="50" y="71"/>
                      </a:lnTo>
                      <a:lnTo>
                        <a:pt x="49" y="68"/>
                      </a:lnTo>
                      <a:lnTo>
                        <a:pt x="51" y="67"/>
                      </a:lnTo>
                      <a:lnTo>
                        <a:pt x="49" y="65"/>
                      </a:lnTo>
                      <a:lnTo>
                        <a:pt x="41" y="54"/>
                      </a:lnTo>
                      <a:lnTo>
                        <a:pt x="38" y="51"/>
                      </a:lnTo>
                      <a:lnTo>
                        <a:pt x="35" y="51"/>
                      </a:lnTo>
                      <a:lnTo>
                        <a:pt x="35" y="48"/>
                      </a:lnTo>
                      <a:lnTo>
                        <a:pt x="38" y="50"/>
                      </a:lnTo>
                      <a:lnTo>
                        <a:pt x="41" y="49"/>
                      </a:lnTo>
                      <a:lnTo>
                        <a:pt x="43" y="47"/>
                      </a:lnTo>
                      <a:lnTo>
                        <a:pt x="48" y="45"/>
                      </a:lnTo>
                      <a:lnTo>
                        <a:pt x="51" y="42"/>
                      </a:lnTo>
                      <a:lnTo>
                        <a:pt x="55" y="38"/>
                      </a:lnTo>
                      <a:lnTo>
                        <a:pt x="58" y="36"/>
                      </a:lnTo>
                      <a:lnTo>
                        <a:pt x="62" y="38"/>
                      </a:lnTo>
                      <a:lnTo>
                        <a:pt x="65" y="36"/>
                      </a:lnTo>
                      <a:lnTo>
                        <a:pt x="64" y="32"/>
                      </a:lnTo>
                      <a:lnTo>
                        <a:pt x="60" y="31"/>
                      </a:lnTo>
                      <a:lnTo>
                        <a:pt x="58" y="32"/>
                      </a:lnTo>
                      <a:lnTo>
                        <a:pt x="56" y="34"/>
                      </a:lnTo>
                      <a:lnTo>
                        <a:pt x="47" y="34"/>
                      </a:lnTo>
                      <a:lnTo>
                        <a:pt x="44" y="37"/>
                      </a:lnTo>
                      <a:lnTo>
                        <a:pt x="41" y="37"/>
                      </a:lnTo>
                      <a:lnTo>
                        <a:pt x="39" y="34"/>
                      </a:lnTo>
                      <a:lnTo>
                        <a:pt x="36" y="37"/>
                      </a:lnTo>
                      <a:lnTo>
                        <a:pt x="33" y="40"/>
                      </a:lnTo>
                      <a:lnTo>
                        <a:pt x="32" y="44"/>
                      </a:lnTo>
                      <a:lnTo>
                        <a:pt x="27" y="42"/>
                      </a:lnTo>
                      <a:lnTo>
                        <a:pt x="25" y="41"/>
                      </a:lnTo>
                      <a:lnTo>
                        <a:pt x="25" y="39"/>
                      </a:lnTo>
                      <a:lnTo>
                        <a:pt x="23" y="36"/>
                      </a:lnTo>
                      <a:lnTo>
                        <a:pt x="19" y="36"/>
                      </a:lnTo>
                      <a:lnTo>
                        <a:pt x="18" y="32"/>
                      </a:lnTo>
                      <a:lnTo>
                        <a:pt x="17" y="27"/>
                      </a:lnTo>
                      <a:lnTo>
                        <a:pt x="19" y="21"/>
                      </a:lnTo>
                      <a:lnTo>
                        <a:pt x="22" y="17"/>
                      </a:lnTo>
                      <a:lnTo>
                        <a:pt x="24" y="16"/>
                      </a:lnTo>
                      <a:lnTo>
                        <a:pt x="26" y="16"/>
                      </a:lnTo>
                      <a:lnTo>
                        <a:pt x="30" y="17"/>
                      </a:lnTo>
                      <a:lnTo>
                        <a:pt x="32" y="17"/>
                      </a:lnTo>
                      <a:lnTo>
                        <a:pt x="34" y="17"/>
                      </a:lnTo>
                      <a:lnTo>
                        <a:pt x="35" y="17"/>
                      </a:lnTo>
                      <a:lnTo>
                        <a:pt x="38" y="16"/>
                      </a:lnTo>
                      <a:lnTo>
                        <a:pt x="40" y="16"/>
                      </a:lnTo>
                      <a:lnTo>
                        <a:pt x="43" y="17"/>
                      </a:lnTo>
                      <a:lnTo>
                        <a:pt x="45" y="17"/>
                      </a:lnTo>
                      <a:lnTo>
                        <a:pt x="59" y="16"/>
                      </a:lnTo>
                      <a:lnTo>
                        <a:pt x="61" y="20"/>
                      </a:lnTo>
                      <a:lnTo>
                        <a:pt x="67" y="20"/>
                      </a:lnTo>
                      <a:lnTo>
                        <a:pt x="76" y="19"/>
                      </a:lnTo>
                      <a:lnTo>
                        <a:pt x="78" y="16"/>
                      </a:lnTo>
                      <a:lnTo>
                        <a:pt x="79" y="14"/>
                      </a:lnTo>
                      <a:lnTo>
                        <a:pt x="85" y="8"/>
                      </a:lnTo>
                      <a:lnTo>
                        <a:pt x="86" y="6"/>
                      </a:lnTo>
                      <a:lnTo>
                        <a:pt x="89" y="4"/>
                      </a:lnTo>
                      <a:lnTo>
                        <a:pt x="87" y="0"/>
                      </a:lnTo>
                      <a:lnTo>
                        <a:pt x="84" y="0"/>
                      </a:lnTo>
                      <a:lnTo>
                        <a:pt x="83" y="4"/>
                      </a:lnTo>
                      <a:lnTo>
                        <a:pt x="79" y="5"/>
                      </a:lnTo>
                      <a:lnTo>
                        <a:pt x="79" y="7"/>
                      </a:lnTo>
                      <a:lnTo>
                        <a:pt x="76" y="8"/>
                      </a:lnTo>
                      <a:lnTo>
                        <a:pt x="74" y="11"/>
                      </a:lnTo>
                      <a:lnTo>
                        <a:pt x="68" y="12"/>
                      </a:lnTo>
                      <a:lnTo>
                        <a:pt x="64" y="11"/>
                      </a:lnTo>
                      <a:lnTo>
                        <a:pt x="60" y="11"/>
                      </a:lnTo>
                      <a:lnTo>
                        <a:pt x="58" y="11"/>
                      </a:lnTo>
                      <a:lnTo>
                        <a:pt x="56" y="12"/>
                      </a:lnTo>
                      <a:lnTo>
                        <a:pt x="50" y="10"/>
                      </a:lnTo>
                      <a:lnTo>
                        <a:pt x="43" y="8"/>
                      </a:lnTo>
                      <a:lnTo>
                        <a:pt x="38" y="10"/>
                      </a:lnTo>
                      <a:lnTo>
                        <a:pt x="36" y="6"/>
                      </a:lnTo>
                      <a:lnTo>
                        <a:pt x="34" y="6"/>
                      </a:lnTo>
                      <a:lnTo>
                        <a:pt x="31" y="5"/>
                      </a:lnTo>
                      <a:lnTo>
                        <a:pt x="29" y="7"/>
                      </a:lnTo>
                      <a:lnTo>
                        <a:pt x="27" y="10"/>
                      </a:lnTo>
                      <a:lnTo>
                        <a:pt x="25" y="12"/>
                      </a:lnTo>
                      <a:lnTo>
                        <a:pt x="19" y="13"/>
                      </a:lnTo>
                      <a:lnTo>
                        <a:pt x="17" y="14"/>
                      </a:lnTo>
                      <a:lnTo>
                        <a:pt x="17" y="16"/>
                      </a:lnTo>
                      <a:lnTo>
                        <a:pt x="15" y="19"/>
                      </a:lnTo>
                      <a:lnTo>
                        <a:pt x="14" y="21"/>
                      </a:lnTo>
                      <a:lnTo>
                        <a:pt x="15" y="23"/>
                      </a:lnTo>
                      <a:lnTo>
                        <a:pt x="12" y="23"/>
                      </a:lnTo>
                      <a:lnTo>
                        <a:pt x="14" y="28"/>
                      </a:lnTo>
                      <a:lnTo>
                        <a:pt x="14" y="30"/>
                      </a:lnTo>
                      <a:lnTo>
                        <a:pt x="15" y="33"/>
                      </a:lnTo>
                      <a:lnTo>
                        <a:pt x="15" y="36"/>
                      </a:lnTo>
                      <a:lnTo>
                        <a:pt x="14" y="32"/>
                      </a:lnTo>
                      <a:lnTo>
                        <a:pt x="8" y="40"/>
                      </a:lnTo>
                      <a:lnTo>
                        <a:pt x="7" y="44"/>
                      </a:lnTo>
                      <a:lnTo>
                        <a:pt x="8" y="48"/>
                      </a:lnTo>
                      <a:lnTo>
                        <a:pt x="6" y="51"/>
                      </a:lnTo>
                      <a:lnTo>
                        <a:pt x="5" y="54"/>
                      </a:lnTo>
                      <a:lnTo>
                        <a:pt x="5" y="57"/>
                      </a:lnTo>
                      <a:lnTo>
                        <a:pt x="2" y="59"/>
                      </a:lnTo>
                      <a:lnTo>
                        <a:pt x="0" y="62"/>
                      </a:lnTo>
                      <a:lnTo>
                        <a:pt x="1" y="64"/>
                      </a:lnTo>
                      <a:lnTo>
                        <a:pt x="0" y="66"/>
                      </a:lnTo>
                      <a:lnTo>
                        <a:pt x="1" y="72"/>
                      </a:lnTo>
                      <a:lnTo>
                        <a:pt x="5" y="72"/>
                      </a:lnTo>
                      <a:lnTo>
                        <a:pt x="7" y="71"/>
                      </a:lnTo>
                      <a:lnTo>
                        <a:pt x="10" y="72"/>
                      </a:lnTo>
                      <a:lnTo>
                        <a:pt x="9" y="74"/>
                      </a:lnTo>
                      <a:lnTo>
                        <a:pt x="12" y="79"/>
                      </a:lnTo>
                      <a:lnTo>
                        <a:pt x="12" y="84"/>
                      </a:lnTo>
                      <a:lnTo>
                        <a:pt x="10" y="90"/>
                      </a:lnTo>
                      <a:lnTo>
                        <a:pt x="9" y="92"/>
                      </a:lnTo>
                      <a:lnTo>
                        <a:pt x="8" y="94"/>
                      </a:lnTo>
                      <a:lnTo>
                        <a:pt x="8" y="96"/>
                      </a:lnTo>
                      <a:lnTo>
                        <a:pt x="9" y="99"/>
                      </a:lnTo>
                      <a:lnTo>
                        <a:pt x="12" y="100"/>
                      </a:lnTo>
                      <a:lnTo>
                        <a:pt x="14" y="101"/>
                      </a:lnTo>
                      <a:lnTo>
                        <a:pt x="17" y="100"/>
                      </a:lnTo>
                      <a:lnTo>
                        <a:pt x="23" y="99"/>
                      </a:lnTo>
                      <a:lnTo>
                        <a:pt x="22" y="97"/>
                      </a:lnTo>
                      <a:lnTo>
                        <a:pt x="21" y="93"/>
                      </a:lnTo>
                      <a:lnTo>
                        <a:pt x="22" y="91"/>
                      </a:lnTo>
                      <a:lnTo>
                        <a:pt x="23" y="89"/>
                      </a:lnTo>
                      <a:lnTo>
                        <a:pt x="22" y="77"/>
                      </a:lnTo>
                      <a:lnTo>
                        <a:pt x="23" y="74"/>
                      </a:lnTo>
                      <a:lnTo>
                        <a:pt x="23" y="70"/>
                      </a:lnTo>
                      <a:lnTo>
                        <a:pt x="21" y="66"/>
                      </a:lnTo>
                      <a:lnTo>
                        <a:pt x="21" y="64"/>
                      </a:lnTo>
                      <a:lnTo>
                        <a:pt x="2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90" name="Freeform 152">
                  <a:extLst>
                    <a:ext uri="{FF2B5EF4-FFF2-40B4-BE49-F238E27FC236}">
                      <a16:creationId xmlns:a16="http://schemas.microsoft.com/office/drawing/2014/main" id="{46276DB1-7236-4DC6-ACD1-06EE18A0F664}"/>
                    </a:ext>
                  </a:extLst>
                </p:cNvPr>
                <p:cNvSpPr>
                  <a:spLocks/>
                </p:cNvSpPr>
                <p:nvPr/>
              </p:nvSpPr>
              <p:spPr bwMode="auto">
                <a:xfrm>
                  <a:off x="5313" y="2934"/>
                  <a:ext cx="27" cy="13"/>
                </a:xfrm>
                <a:custGeom>
                  <a:avLst/>
                  <a:gdLst>
                    <a:gd name="T0" fmla="*/ 27 w 27"/>
                    <a:gd name="T1" fmla="*/ 9 h 13"/>
                    <a:gd name="T2" fmla="*/ 23 w 27"/>
                    <a:gd name="T3" fmla="*/ 7 h 13"/>
                    <a:gd name="T4" fmla="*/ 21 w 27"/>
                    <a:gd name="T5" fmla="*/ 4 h 13"/>
                    <a:gd name="T6" fmla="*/ 19 w 27"/>
                    <a:gd name="T7" fmla="*/ 5 h 13"/>
                    <a:gd name="T8" fmla="*/ 15 w 27"/>
                    <a:gd name="T9" fmla="*/ 0 h 13"/>
                    <a:gd name="T10" fmla="*/ 12 w 27"/>
                    <a:gd name="T11" fmla="*/ 0 h 13"/>
                    <a:gd name="T12" fmla="*/ 10 w 27"/>
                    <a:gd name="T13" fmla="*/ 0 h 13"/>
                    <a:gd name="T14" fmla="*/ 4 w 27"/>
                    <a:gd name="T15" fmla="*/ 0 h 13"/>
                    <a:gd name="T16" fmla="*/ 2 w 27"/>
                    <a:gd name="T17" fmla="*/ 1 h 13"/>
                    <a:gd name="T18" fmla="*/ 0 w 27"/>
                    <a:gd name="T19" fmla="*/ 3 h 13"/>
                    <a:gd name="T20" fmla="*/ 2 w 27"/>
                    <a:gd name="T21" fmla="*/ 5 h 13"/>
                    <a:gd name="T22" fmla="*/ 3 w 27"/>
                    <a:gd name="T23" fmla="*/ 5 h 13"/>
                    <a:gd name="T24" fmla="*/ 8 w 27"/>
                    <a:gd name="T25" fmla="*/ 6 h 13"/>
                    <a:gd name="T26" fmla="*/ 15 w 27"/>
                    <a:gd name="T27" fmla="*/ 9 h 13"/>
                    <a:gd name="T28" fmla="*/ 17 w 27"/>
                    <a:gd name="T29" fmla="*/ 12 h 13"/>
                    <a:gd name="T30" fmla="*/ 20 w 27"/>
                    <a:gd name="T31" fmla="*/ 13 h 13"/>
                    <a:gd name="T32" fmla="*/ 25 w 27"/>
                    <a:gd name="T33" fmla="*/ 12 h 13"/>
                    <a:gd name="T34" fmla="*/ 27 w 27"/>
                    <a:gd name="T35" fmla="*/ 9 h 13"/>
                    <a:gd name="T36" fmla="*/ 27 w 27"/>
                    <a:gd name="T3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3">
                      <a:moveTo>
                        <a:pt x="27" y="9"/>
                      </a:moveTo>
                      <a:lnTo>
                        <a:pt x="23" y="7"/>
                      </a:lnTo>
                      <a:lnTo>
                        <a:pt x="21" y="4"/>
                      </a:lnTo>
                      <a:lnTo>
                        <a:pt x="19" y="5"/>
                      </a:lnTo>
                      <a:lnTo>
                        <a:pt x="15" y="0"/>
                      </a:lnTo>
                      <a:lnTo>
                        <a:pt x="12" y="0"/>
                      </a:lnTo>
                      <a:lnTo>
                        <a:pt x="10" y="0"/>
                      </a:lnTo>
                      <a:lnTo>
                        <a:pt x="4" y="0"/>
                      </a:lnTo>
                      <a:lnTo>
                        <a:pt x="2" y="1"/>
                      </a:lnTo>
                      <a:lnTo>
                        <a:pt x="0" y="3"/>
                      </a:lnTo>
                      <a:lnTo>
                        <a:pt x="2" y="5"/>
                      </a:lnTo>
                      <a:lnTo>
                        <a:pt x="3" y="5"/>
                      </a:lnTo>
                      <a:lnTo>
                        <a:pt x="8" y="6"/>
                      </a:lnTo>
                      <a:lnTo>
                        <a:pt x="15" y="9"/>
                      </a:lnTo>
                      <a:lnTo>
                        <a:pt x="17" y="12"/>
                      </a:lnTo>
                      <a:lnTo>
                        <a:pt x="20" y="13"/>
                      </a:lnTo>
                      <a:lnTo>
                        <a:pt x="25" y="12"/>
                      </a:lnTo>
                      <a:lnTo>
                        <a:pt x="27" y="9"/>
                      </a:lnTo>
                      <a:lnTo>
                        <a:pt x="2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91" name="Freeform 153">
                  <a:extLst>
                    <a:ext uri="{FF2B5EF4-FFF2-40B4-BE49-F238E27FC236}">
                      <a16:creationId xmlns:a16="http://schemas.microsoft.com/office/drawing/2014/main" id="{F476C75B-DD48-9C86-196C-6039F646264F}"/>
                    </a:ext>
                  </a:extLst>
                </p:cNvPr>
                <p:cNvSpPr>
                  <a:spLocks/>
                </p:cNvSpPr>
                <p:nvPr/>
              </p:nvSpPr>
              <p:spPr bwMode="auto">
                <a:xfrm>
                  <a:off x="5325" y="2548"/>
                  <a:ext cx="60" cy="84"/>
                </a:xfrm>
                <a:custGeom>
                  <a:avLst/>
                  <a:gdLst>
                    <a:gd name="T0" fmla="*/ 9 w 60"/>
                    <a:gd name="T1" fmla="*/ 22 h 84"/>
                    <a:gd name="T2" fmla="*/ 8 w 60"/>
                    <a:gd name="T3" fmla="*/ 31 h 84"/>
                    <a:gd name="T4" fmla="*/ 8 w 60"/>
                    <a:gd name="T5" fmla="*/ 35 h 84"/>
                    <a:gd name="T6" fmla="*/ 2 w 60"/>
                    <a:gd name="T7" fmla="*/ 33 h 84"/>
                    <a:gd name="T8" fmla="*/ 0 w 60"/>
                    <a:gd name="T9" fmla="*/ 35 h 84"/>
                    <a:gd name="T10" fmla="*/ 1 w 60"/>
                    <a:gd name="T11" fmla="*/ 40 h 84"/>
                    <a:gd name="T12" fmla="*/ 2 w 60"/>
                    <a:gd name="T13" fmla="*/ 41 h 84"/>
                    <a:gd name="T14" fmla="*/ 3 w 60"/>
                    <a:gd name="T15" fmla="*/ 48 h 84"/>
                    <a:gd name="T16" fmla="*/ 7 w 60"/>
                    <a:gd name="T17" fmla="*/ 53 h 84"/>
                    <a:gd name="T18" fmla="*/ 8 w 60"/>
                    <a:gd name="T19" fmla="*/ 58 h 84"/>
                    <a:gd name="T20" fmla="*/ 11 w 60"/>
                    <a:gd name="T21" fmla="*/ 56 h 84"/>
                    <a:gd name="T22" fmla="*/ 12 w 60"/>
                    <a:gd name="T23" fmla="*/ 54 h 84"/>
                    <a:gd name="T24" fmla="*/ 16 w 60"/>
                    <a:gd name="T25" fmla="*/ 56 h 84"/>
                    <a:gd name="T26" fmla="*/ 16 w 60"/>
                    <a:gd name="T27" fmla="*/ 58 h 84"/>
                    <a:gd name="T28" fmla="*/ 11 w 60"/>
                    <a:gd name="T29" fmla="*/ 63 h 84"/>
                    <a:gd name="T30" fmla="*/ 16 w 60"/>
                    <a:gd name="T31" fmla="*/ 66 h 84"/>
                    <a:gd name="T32" fmla="*/ 18 w 60"/>
                    <a:gd name="T33" fmla="*/ 70 h 84"/>
                    <a:gd name="T34" fmla="*/ 22 w 60"/>
                    <a:gd name="T35" fmla="*/ 67 h 84"/>
                    <a:gd name="T36" fmla="*/ 26 w 60"/>
                    <a:gd name="T37" fmla="*/ 66 h 84"/>
                    <a:gd name="T38" fmla="*/ 31 w 60"/>
                    <a:gd name="T39" fmla="*/ 68 h 84"/>
                    <a:gd name="T40" fmla="*/ 37 w 60"/>
                    <a:gd name="T41" fmla="*/ 73 h 84"/>
                    <a:gd name="T42" fmla="*/ 39 w 60"/>
                    <a:gd name="T43" fmla="*/ 76 h 84"/>
                    <a:gd name="T44" fmla="*/ 37 w 60"/>
                    <a:gd name="T45" fmla="*/ 70 h 84"/>
                    <a:gd name="T46" fmla="*/ 36 w 60"/>
                    <a:gd name="T47" fmla="*/ 66 h 84"/>
                    <a:gd name="T48" fmla="*/ 41 w 60"/>
                    <a:gd name="T49" fmla="*/ 68 h 84"/>
                    <a:gd name="T50" fmla="*/ 46 w 60"/>
                    <a:gd name="T51" fmla="*/ 73 h 84"/>
                    <a:gd name="T52" fmla="*/ 48 w 60"/>
                    <a:gd name="T53" fmla="*/ 78 h 84"/>
                    <a:gd name="T54" fmla="*/ 58 w 60"/>
                    <a:gd name="T55" fmla="*/ 80 h 84"/>
                    <a:gd name="T56" fmla="*/ 56 w 60"/>
                    <a:gd name="T57" fmla="*/ 84 h 84"/>
                    <a:gd name="T58" fmla="*/ 60 w 60"/>
                    <a:gd name="T59" fmla="*/ 78 h 84"/>
                    <a:gd name="T60" fmla="*/ 54 w 60"/>
                    <a:gd name="T61" fmla="*/ 74 h 84"/>
                    <a:gd name="T62" fmla="*/ 52 w 60"/>
                    <a:gd name="T63" fmla="*/ 71 h 84"/>
                    <a:gd name="T64" fmla="*/ 56 w 60"/>
                    <a:gd name="T65" fmla="*/ 68 h 84"/>
                    <a:gd name="T66" fmla="*/ 51 w 60"/>
                    <a:gd name="T67" fmla="*/ 66 h 84"/>
                    <a:gd name="T68" fmla="*/ 48 w 60"/>
                    <a:gd name="T69" fmla="*/ 67 h 84"/>
                    <a:gd name="T70" fmla="*/ 46 w 60"/>
                    <a:gd name="T71" fmla="*/ 69 h 84"/>
                    <a:gd name="T72" fmla="*/ 45 w 60"/>
                    <a:gd name="T73" fmla="*/ 65 h 84"/>
                    <a:gd name="T74" fmla="*/ 42 w 60"/>
                    <a:gd name="T75" fmla="*/ 61 h 84"/>
                    <a:gd name="T76" fmla="*/ 35 w 60"/>
                    <a:gd name="T77" fmla="*/ 63 h 84"/>
                    <a:gd name="T78" fmla="*/ 35 w 60"/>
                    <a:gd name="T79" fmla="*/ 65 h 84"/>
                    <a:gd name="T80" fmla="*/ 29 w 60"/>
                    <a:gd name="T81" fmla="*/ 65 h 84"/>
                    <a:gd name="T82" fmla="*/ 26 w 60"/>
                    <a:gd name="T83" fmla="*/ 60 h 84"/>
                    <a:gd name="T84" fmla="*/ 25 w 60"/>
                    <a:gd name="T85" fmla="*/ 57 h 84"/>
                    <a:gd name="T86" fmla="*/ 25 w 60"/>
                    <a:gd name="T87" fmla="*/ 53 h 84"/>
                    <a:gd name="T88" fmla="*/ 22 w 60"/>
                    <a:gd name="T89" fmla="*/ 48 h 84"/>
                    <a:gd name="T90" fmla="*/ 25 w 60"/>
                    <a:gd name="T91" fmla="*/ 42 h 84"/>
                    <a:gd name="T92" fmla="*/ 26 w 60"/>
                    <a:gd name="T93" fmla="*/ 36 h 84"/>
                    <a:gd name="T94" fmla="*/ 31 w 60"/>
                    <a:gd name="T95" fmla="*/ 35 h 84"/>
                    <a:gd name="T96" fmla="*/ 34 w 60"/>
                    <a:gd name="T97" fmla="*/ 33 h 84"/>
                    <a:gd name="T98" fmla="*/ 34 w 60"/>
                    <a:gd name="T99" fmla="*/ 30 h 84"/>
                    <a:gd name="T100" fmla="*/ 36 w 60"/>
                    <a:gd name="T101" fmla="*/ 25 h 84"/>
                    <a:gd name="T102" fmla="*/ 37 w 60"/>
                    <a:gd name="T103" fmla="*/ 20 h 84"/>
                    <a:gd name="T104" fmla="*/ 34 w 60"/>
                    <a:gd name="T105" fmla="*/ 17 h 84"/>
                    <a:gd name="T106" fmla="*/ 33 w 60"/>
                    <a:gd name="T107" fmla="*/ 7 h 84"/>
                    <a:gd name="T108" fmla="*/ 35 w 60"/>
                    <a:gd name="T109" fmla="*/ 3 h 84"/>
                    <a:gd name="T110" fmla="*/ 31 w 60"/>
                    <a:gd name="T111" fmla="*/ 3 h 84"/>
                    <a:gd name="T112" fmla="*/ 26 w 60"/>
                    <a:gd name="T113" fmla="*/ 5 h 84"/>
                    <a:gd name="T114" fmla="*/ 26 w 60"/>
                    <a:gd name="T115" fmla="*/ 6 h 84"/>
                    <a:gd name="T116" fmla="*/ 19 w 60"/>
                    <a:gd name="T117" fmla="*/ 0 h 84"/>
                    <a:gd name="T118" fmla="*/ 11 w 60"/>
                    <a:gd name="T119" fmla="*/ 5 h 84"/>
                    <a:gd name="T120" fmla="*/ 9 w 60"/>
                    <a:gd name="T121" fmla="*/ 1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 h="84">
                      <a:moveTo>
                        <a:pt x="9" y="16"/>
                      </a:moveTo>
                      <a:lnTo>
                        <a:pt x="9" y="22"/>
                      </a:lnTo>
                      <a:lnTo>
                        <a:pt x="8" y="30"/>
                      </a:lnTo>
                      <a:lnTo>
                        <a:pt x="8" y="31"/>
                      </a:lnTo>
                      <a:lnTo>
                        <a:pt x="9" y="34"/>
                      </a:lnTo>
                      <a:lnTo>
                        <a:pt x="8" y="35"/>
                      </a:lnTo>
                      <a:lnTo>
                        <a:pt x="5" y="36"/>
                      </a:lnTo>
                      <a:lnTo>
                        <a:pt x="2" y="33"/>
                      </a:lnTo>
                      <a:lnTo>
                        <a:pt x="0" y="32"/>
                      </a:lnTo>
                      <a:lnTo>
                        <a:pt x="0" y="35"/>
                      </a:lnTo>
                      <a:lnTo>
                        <a:pt x="0" y="37"/>
                      </a:lnTo>
                      <a:lnTo>
                        <a:pt x="1" y="40"/>
                      </a:lnTo>
                      <a:lnTo>
                        <a:pt x="1" y="41"/>
                      </a:lnTo>
                      <a:lnTo>
                        <a:pt x="2" y="41"/>
                      </a:lnTo>
                      <a:lnTo>
                        <a:pt x="2" y="44"/>
                      </a:lnTo>
                      <a:lnTo>
                        <a:pt x="3" y="48"/>
                      </a:lnTo>
                      <a:lnTo>
                        <a:pt x="4" y="53"/>
                      </a:lnTo>
                      <a:lnTo>
                        <a:pt x="7" y="53"/>
                      </a:lnTo>
                      <a:lnTo>
                        <a:pt x="7" y="56"/>
                      </a:lnTo>
                      <a:lnTo>
                        <a:pt x="8" y="58"/>
                      </a:lnTo>
                      <a:lnTo>
                        <a:pt x="11" y="59"/>
                      </a:lnTo>
                      <a:lnTo>
                        <a:pt x="11" y="56"/>
                      </a:lnTo>
                      <a:lnTo>
                        <a:pt x="10" y="53"/>
                      </a:lnTo>
                      <a:lnTo>
                        <a:pt x="12" y="54"/>
                      </a:lnTo>
                      <a:lnTo>
                        <a:pt x="13" y="54"/>
                      </a:lnTo>
                      <a:lnTo>
                        <a:pt x="16" y="56"/>
                      </a:lnTo>
                      <a:lnTo>
                        <a:pt x="17" y="58"/>
                      </a:lnTo>
                      <a:lnTo>
                        <a:pt x="16" y="58"/>
                      </a:lnTo>
                      <a:lnTo>
                        <a:pt x="11" y="61"/>
                      </a:lnTo>
                      <a:lnTo>
                        <a:pt x="11" y="63"/>
                      </a:lnTo>
                      <a:lnTo>
                        <a:pt x="12" y="66"/>
                      </a:lnTo>
                      <a:lnTo>
                        <a:pt x="16" y="66"/>
                      </a:lnTo>
                      <a:lnTo>
                        <a:pt x="16" y="69"/>
                      </a:lnTo>
                      <a:lnTo>
                        <a:pt x="18" y="70"/>
                      </a:lnTo>
                      <a:lnTo>
                        <a:pt x="21" y="70"/>
                      </a:lnTo>
                      <a:lnTo>
                        <a:pt x="22" y="67"/>
                      </a:lnTo>
                      <a:lnTo>
                        <a:pt x="25" y="67"/>
                      </a:lnTo>
                      <a:lnTo>
                        <a:pt x="26" y="66"/>
                      </a:lnTo>
                      <a:lnTo>
                        <a:pt x="28" y="66"/>
                      </a:lnTo>
                      <a:lnTo>
                        <a:pt x="31" y="68"/>
                      </a:lnTo>
                      <a:lnTo>
                        <a:pt x="35" y="70"/>
                      </a:lnTo>
                      <a:lnTo>
                        <a:pt x="37" y="73"/>
                      </a:lnTo>
                      <a:lnTo>
                        <a:pt x="37" y="76"/>
                      </a:lnTo>
                      <a:lnTo>
                        <a:pt x="39" y="76"/>
                      </a:lnTo>
                      <a:lnTo>
                        <a:pt x="39" y="74"/>
                      </a:lnTo>
                      <a:lnTo>
                        <a:pt x="37" y="70"/>
                      </a:lnTo>
                      <a:lnTo>
                        <a:pt x="37" y="68"/>
                      </a:lnTo>
                      <a:lnTo>
                        <a:pt x="36" y="66"/>
                      </a:lnTo>
                      <a:lnTo>
                        <a:pt x="38" y="66"/>
                      </a:lnTo>
                      <a:lnTo>
                        <a:pt x="41" y="68"/>
                      </a:lnTo>
                      <a:lnTo>
                        <a:pt x="42" y="70"/>
                      </a:lnTo>
                      <a:lnTo>
                        <a:pt x="46" y="73"/>
                      </a:lnTo>
                      <a:lnTo>
                        <a:pt x="48" y="75"/>
                      </a:lnTo>
                      <a:lnTo>
                        <a:pt x="48" y="78"/>
                      </a:lnTo>
                      <a:lnTo>
                        <a:pt x="55" y="80"/>
                      </a:lnTo>
                      <a:lnTo>
                        <a:pt x="58" y="80"/>
                      </a:lnTo>
                      <a:lnTo>
                        <a:pt x="55" y="82"/>
                      </a:lnTo>
                      <a:lnTo>
                        <a:pt x="56" y="84"/>
                      </a:lnTo>
                      <a:lnTo>
                        <a:pt x="60" y="83"/>
                      </a:lnTo>
                      <a:lnTo>
                        <a:pt x="60" y="78"/>
                      </a:lnTo>
                      <a:lnTo>
                        <a:pt x="54" y="77"/>
                      </a:lnTo>
                      <a:lnTo>
                        <a:pt x="54" y="74"/>
                      </a:lnTo>
                      <a:lnTo>
                        <a:pt x="52" y="71"/>
                      </a:lnTo>
                      <a:lnTo>
                        <a:pt x="52" y="71"/>
                      </a:lnTo>
                      <a:lnTo>
                        <a:pt x="53" y="69"/>
                      </a:lnTo>
                      <a:lnTo>
                        <a:pt x="56" y="68"/>
                      </a:lnTo>
                      <a:lnTo>
                        <a:pt x="55" y="67"/>
                      </a:lnTo>
                      <a:lnTo>
                        <a:pt x="51" y="66"/>
                      </a:lnTo>
                      <a:lnTo>
                        <a:pt x="48" y="63"/>
                      </a:lnTo>
                      <a:lnTo>
                        <a:pt x="48" y="67"/>
                      </a:lnTo>
                      <a:lnTo>
                        <a:pt x="47" y="69"/>
                      </a:lnTo>
                      <a:lnTo>
                        <a:pt x="46" y="69"/>
                      </a:lnTo>
                      <a:lnTo>
                        <a:pt x="45" y="67"/>
                      </a:lnTo>
                      <a:lnTo>
                        <a:pt x="45" y="65"/>
                      </a:lnTo>
                      <a:lnTo>
                        <a:pt x="44" y="63"/>
                      </a:lnTo>
                      <a:lnTo>
                        <a:pt x="42" y="61"/>
                      </a:lnTo>
                      <a:lnTo>
                        <a:pt x="36" y="60"/>
                      </a:lnTo>
                      <a:lnTo>
                        <a:pt x="35" y="63"/>
                      </a:lnTo>
                      <a:lnTo>
                        <a:pt x="33" y="62"/>
                      </a:lnTo>
                      <a:lnTo>
                        <a:pt x="35" y="65"/>
                      </a:lnTo>
                      <a:lnTo>
                        <a:pt x="33" y="66"/>
                      </a:lnTo>
                      <a:lnTo>
                        <a:pt x="29" y="65"/>
                      </a:lnTo>
                      <a:lnTo>
                        <a:pt x="27" y="62"/>
                      </a:lnTo>
                      <a:lnTo>
                        <a:pt x="26" y="60"/>
                      </a:lnTo>
                      <a:lnTo>
                        <a:pt x="26" y="59"/>
                      </a:lnTo>
                      <a:lnTo>
                        <a:pt x="25" y="57"/>
                      </a:lnTo>
                      <a:lnTo>
                        <a:pt x="26" y="54"/>
                      </a:lnTo>
                      <a:lnTo>
                        <a:pt x="25" y="53"/>
                      </a:lnTo>
                      <a:lnTo>
                        <a:pt x="25" y="51"/>
                      </a:lnTo>
                      <a:lnTo>
                        <a:pt x="22" y="48"/>
                      </a:lnTo>
                      <a:lnTo>
                        <a:pt x="24" y="45"/>
                      </a:lnTo>
                      <a:lnTo>
                        <a:pt x="25" y="42"/>
                      </a:lnTo>
                      <a:lnTo>
                        <a:pt x="25" y="40"/>
                      </a:lnTo>
                      <a:lnTo>
                        <a:pt x="26" y="36"/>
                      </a:lnTo>
                      <a:lnTo>
                        <a:pt x="28" y="35"/>
                      </a:lnTo>
                      <a:lnTo>
                        <a:pt x="31" y="35"/>
                      </a:lnTo>
                      <a:lnTo>
                        <a:pt x="31" y="35"/>
                      </a:lnTo>
                      <a:lnTo>
                        <a:pt x="34" y="33"/>
                      </a:lnTo>
                      <a:lnTo>
                        <a:pt x="33" y="32"/>
                      </a:lnTo>
                      <a:lnTo>
                        <a:pt x="34" y="30"/>
                      </a:lnTo>
                      <a:lnTo>
                        <a:pt x="35" y="28"/>
                      </a:lnTo>
                      <a:lnTo>
                        <a:pt x="36" y="25"/>
                      </a:lnTo>
                      <a:lnTo>
                        <a:pt x="37" y="22"/>
                      </a:lnTo>
                      <a:lnTo>
                        <a:pt x="37" y="20"/>
                      </a:lnTo>
                      <a:lnTo>
                        <a:pt x="37" y="20"/>
                      </a:lnTo>
                      <a:lnTo>
                        <a:pt x="34" y="17"/>
                      </a:lnTo>
                      <a:lnTo>
                        <a:pt x="33" y="13"/>
                      </a:lnTo>
                      <a:lnTo>
                        <a:pt x="33" y="7"/>
                      </a:lnTo>
                      <a:lnTo>
                        <a:pt x="35" y="5"/>
                      </a:lnTo>
                      <a:lnTo>
                        <a:pt x="35" y="3"/>
                      </a:lnTo>
                      <a:lnTo>
                        <a:pt x="33" y="2"/>
                      </a:lnTo>
                      <a:lnTo>
                        <a:pt x="31" y="3"/>
                      </a:lnTo>
                      <a:lnTo>
                        <a:pt x="28" y="5"/>
                      </a:lnTo>
                      <a:lnTo>
                        <a:pt x="26" y="5"/>
                      </a:lnTo>
                      <a:lnTo>
                        <a:pt x="26" y="7"/>
                      </a:lnTo>
                      <a:lnTo>
                        <a:pt x="26" y="6"/>
                      </a:lnTo>
                      <a:lnTo>
                        <a:pt x="25" y="3"/>
                      </a:lnTo>
                      <a:lnTo>
                        <a:pt x="19" y="0"/>
                      </a:lnTo>
                      <a:lnTo>
                        <a:pt x="11" y="1"/>
                      </a:lnTo>
                      <a:lnTo>
                        <a:pt x="11" y="5"/>
                      </a:lnTo>
                      <a:lnTo>
                        <a:pt x="9" y="10"/>
                      </a:lnTo>
                      <a:lnTo>
                        <a:pt x="9" y="16"/>
                      </a:lnTo>
                      <a:lnTo>
                        <a:pt x="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92" name="Freeform 154">
                  <a:extLst>
                    <a:ext uri="{FF2B5EF4-FFF2-40B4-BE49-F238E27FC236}">
                      <a16:creationId xmlns:a16="http://schemas.microsoft.com/office/drawing/2014/main" id="{428E60C4-C34B-A559-8DBC-F661E058C86A}"/>
                    </a:ext>
                  </a:extLst>
                </p:cNvPr>
                <p:cNvSpPr>
                  <a:spLocks/>
                </p:cNvSpPr>
                <p:nvPr/>
              </p:nvSpPr>
              <p:spPr bwMode="auto">
                <a:xfrm>
                  <a:off x="5325" y="2917"/>
                  <a:ext cx="44" cy="12"/>
                </a:xfrm>
                <a:custGeom>
                  <a:avLst/>
                  <a:gdLst>
                    <a:gd name="T0" fmla="*/ 3 w 44"/>
                    <a:gd name="T1" fmla="*/ 9 h 12"/>
                    <a:gd name="T2" fmla="*/ 4 w 44"/>
                    <a:gd name="T3" fmla="*/ 9 h 12"/>
                    <a:gd name="T4" fmla="*/ 8 w 44"/>
                    <a:gd name="T5" fmla="*/ 9 h 12"/>
                    <a:gd name="T6" fmla="*/ 10 w 44"/>
                    <a:gd name="T7" fmla="*/ 9 h 12"/>
                    <a:gd name="T8" fmla="*/ 16 w 44"/>
                    <a:gd name="T9" fmla="*/ 12 h 12"/>
                    <a:gd name="T10" fmla="*/ 21 w 44"/>
                    <a:gd name="T11" fmla="*/ 12 h 12"/>
                    <a:gd name="T12" fmla="*/ 24 w 44"/>
                    <a:gd name="T13" fmla="*/ 9 h 12"/>
                    <a:gd name="T14" fmla="*/ 26 w 44"/>
                    <a:gd name="T15" fmla="*/ 10 h 12"/>
                    <a:gd name="T16" fmla="*/ 29 w 44"/>
                    <a:gd name="T17" fmla="*/ 9 h 12"/>
                    <a:gd name="T18" fmla="*/ 31 w 44"/>
                    <a:gd name="T19" fmla="*/ 8 h 12"/>
                    <a:gd name="T20" fmla="*/ 37 w 44"/>
                    <a:gd name="T21" fmla="*/ 8 h 12"/>
                    <a:gd name="T22" fmla="*/ 41 w 44"/>
                    <a:gd name="T23" fmla="*/ 7 h 12"/>
                    <a:gd name="T24" fmla="*/ 42 w 44"/>
                    <a:gd name="T25" fmla="*/ 5 h 12"/>
                    <a:gd name="T26" fmla="*/ 44 w 44"/>
                    <a:gd name="T27" fmla="*/ 3 h 12"/>
                    <a:gd name="T28" fmla="*/ 44 w 44"/>
                    <a:gd name="T29" fmla="*/ 0 h 12"/>
                    <a:gd name="T30" fmla="*/ 41 w 44"/>
                    <a:gd name="T31" fmla="*/ 0 h 12"/>
                    <a:gd name="T32" fmla="*/ 41 w 44"/>
                    <a:gd name="T33" fmla="*/ 4 h 12"/>
                    <a:gd name="T34" fmla="*/ 38 w 44"/>
                    <a:gd name="T35" fmla="*/ 4 h 12"/>
                    <a:gd name="T36" fmla="*/ 37 w 44"/>
                    <a:gd name="T37" fmla="*/ 7 h 12"/>
                    <a:gd name="T38" fmla="*/ 34 w 44"/>
                    <a:gd name="T39" fmla="*/ 7 h 12"/>
                    <a:gd name="T40" fmla="*/ 30 w 44"/>
                    <a:gd name="T41" fmla="*/ 5 h 12"/>
                    <a:gd name="T42" fmla="*/ 27 w 44"/>
                    <a:gd name="T43" fmla="*/ 5 h 12"/>
                    <a:gd name="T44" fmla="*/ 25 w 44"/>
                    <a:gd name="T45" fmla="*/ 6 h 12"/>
                    <a:gd name="T46" fmla="*/ 21 w 44"/>
                    <a:gd name="T47" fmla="*/ 6 h 12"/>
                    <a:gd name="T48" fmla="*/ 17 w 44"/>
                    <a:gd name="T49" fmla="*/ 4 h 12"/>
                    <a:gd name="T50" fmla="*/ 8 w 44"/>
                    <a:gd name="T51" fmla="*/ 3 h 12"/>
                    <a:gd name="T52" fmla="*/ 5 w 44"/>
                    <a:gd name="T53" fmla="*/ 3 h 12"/>
                    <a:gd name="T54" fmla="*/ 0 w 44"/>
                    <a:gd name="T55" fmla="*/ 6 h 12"/>
                    <a:gd name="T56" fmla="*/ 0 w 44"/>
                    <a:gd name="T57" fmla="*/ 9 h 12"/>
                    <a:gd name="T58" fmla="*/ 3 w 44"/>
                    <a:gd name="T59" fmla="*/ 9 h 12"/>
                    <a:gd name="T60" fmla="*/ 3 w 44"/>
                    <a:gd name="T6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12">
                      <a:moveTo>
                        <a:pt x="3" y="9"/>
                      </a:moveTo>
                      <a:lnTo>
                        <a:pt x="4" y="9"/>
                      </a:lnTo>
                      <a:lnTo>
                        <a:pt x="8" y="9"/>
                      </a:lnTo>
                      <a:lnTo>
                        <a:pt x="10" y="9"/>
                      </a:lnTo>
                      <a:lnTo>
                        <a:pt x="16" y="12"/>
                      </a:lnTo>
                      <a:lnTo>
                        <a:pt x="21" y="12"/>
                      </a:lnTo>
                      <a:lnTo>
                        <a:pt x="24" y="9"/>
                      </a:lnTo>
                      <a:lnTo>
                        <a:pt x="26" y="10"/>
                      </a:lnTo>
                      <a:lnTo>
                        <a:pt x="29" y="9"/>
                      </a:lnTo>
                      <a:lnTo>
                        <a:pt x="31" y="8"/>
                      </a:lnTo>
                      <a:lnTo>
                        <a:pt x="37" y="8"/>
                      </a:lnTo>
                      <a:lnTo>
                        <a:pt x="41" y="7"/>
                      </a:lnTo>
                      <a:lnTo>
                        <a:pt x="42" y="5"/>
                      </a:lnTo>
                      <a:lnTo>
                        <a:pt x="44" y="3"/>
                      </a:lnTo>
                      <a:lnTo>
                        <a:pt x="44" y="0"/>
                      </a:lnTo>
                      <a:lnTo>
                        <a:pt x="41" y="0"/>
                      </a:lnTo>
                      <a:lnTo>
                        <a:pt x="41" y="4"/>
                      </a:lnTo>
                      <a:lnTo>
                        <a:pt x="38" y="4"/>
                      </a:lnTo>
                      <a:lnTo>
                        <a:pt x="37" y="7"/>
                      </a:lnTo>
                      <a:lnTo>
                        <a:pt x="34" y="7"/>
                      </a:lnTo>
                      <a:lnTo>
                        <a:pt x="30" y="5"/>
                      </a:lnTo>
                      <a:lnTo>
                        <a:pt x="27" y="5"/>
                      </a:lnTo>
                      <a:lnTo>
                        <a:pt x="25" y="6"/>
                      </a:lnTo>
                      <a:lnTo>
                        <a:pt x="21" y="6"/>
                      </a:lnTo>
                      <a:lnTo>
                        <a:pt x="17" y="4"/>
                      </a:lnTo>
                      <a:lnTo>
                        <a:pt x="8" y="3"/>
                      </a:lnTo>
                      <a:lnTo>
                        <a:pt x="5" y="3"/>
                      </a:lnTo>
                      <a:lnTo>
                        <a:pt x="0" y="6"/>
                      </a:lnTo>
                      <a:lnTo>
                        <a:pt x="0" y="9"/>
                      </a:lnTo>
                      <a:lnTo>
                        <a:pt x="3" y="9"/>
                      </a:ln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93" name="Freeform 155">
                  <a:extLst>
                    <a:ext uri="{FF2B5EF4-FFF2-40B4-BE49-F238E27FC236}">
                      <a16:creationId xmlns:a16="http://schemas.microsoft.com/office/drawing/2014/main" id="{ED0CA7B4-6C22-226C-4991-CB4B307E7803}"/>
                    </a:ext>
                  </a:extLst>
                </p:cNvPr>
                <p:cNvSpPr>
                  <a:spLocks/>
                </p:cNvSpPr>
                <p:nvPr/>
              </p:nvSpPr>
              <p:spPr bwMode="auto">
                <a:xfrm>
                  <a:off x="5329" y="2452"/>
                  <a:ext cx="25" cy="49"/>
                </a:xfrm>
                <a:custGeom>
                  <a:avLst/>
                  <a:gdLst>
                    <a:gd name="T0" fmla="*/ 23 w 25"/>
                    <a:gd name="T1" fmla="*/ 15 h 49"/>
                    <a:gd name="T2" fmla="*/ 24 w 25"/>
                    <a:gd name="T3" fmla="*/ 12 h 49"/>
                    <a:gd name="T4" fmla="*/ 24 w 25"/>
                    <a:gd name="T5" fmla="*/ 5 h 49"/>
                    <a:gd name="T6" fmla="*/ 25 w 25"/>
                    <a:gd name="T7" fmla="*/ 4 h 49"/>
                    <a:gd name="T8" fmla="*/ 23 w 25"/>
                    <a:gd name="T9" fmla="*/ 2 h 49"/>
                    <a:gd name="T10" fmla="*/ 20 w 25"/>
                    <a:gd name="T11" fmla="*/ 0 h 49"/>
                    <a:gd name="T12" fmla="*/ 16 w 25"/>
                    <a:gd name="T13" fmla="*/ 2 h 49"/>
                    <a:gd name="T14" fmla="*/ 14 w 25"/>
                    <a:gd name="T15" fmla="*/ 3 h 49"/>
                    <a:gd name="T16" fmla="*/ 13 w 25"/>
                    <a:gd name="T17" fmla="*/ 5 h 49"/>
                    <a:gd name="T18" fmla="*/ 11 w 25"/>
                    <a:gd name="T19" fmla="*/ 9 h 49"/>
                    <a:gd name="T20" fmla="*/ 7 w 25"/>
                    <a:gd name="T21" fmla="*/ 12 h 49"/>
                    <a:gd name="T22" fmla="*/ 0 w 25"/>
                    <a:gd name="T23" fmla="*/ 24 h 49"/>
                    <a:gd name="T24" fmla="*/ 0 w 25"/>
                    <a:gd name="T25" fmla="*/ 29 h 49"/>
                    <a:gd name="T26" fmla="*/ 0 w 25"/>
                    <a:gd name="T27" fmla="*/ 32 h 49"/>
                    <a:gd name="T28" fmla="*/ 4 w 25"/>
                    <a:gd name="T29" fmla="*/ 41 h 49"/>
                    <a:gd name="T30" fmla="*/ 7 w 25"/>
                    <a:gd name="T31" fmla="*/ 43 h 49"/>
                    <a:gd name="T32" fmla="*/ 8 w 25"/>
                    <a:gd name="T33" fmla="*/ 49 h 49"/>
                    <a:gd name="T34" fmla="*/ 11 w 25"/>
                    <a:gd name="T35" fmla="*/ 46 h 49"/>
                    <a:gd name="T36" fmla="*/ 12 w 25"/>
                    <a:gd name="T37" fmla="*/ 42 h 49"/>
                    <a:gd name="T38" fmla="*/ 13 w 25"/>
                    <a:gd name="T39" fmla="*/ 38 h 49"/>
                    <a:gd name="T40" fmla="*/ 17 w 25"/>
                    <a:gd name="T41" fmla="*/ 34 h 49"/>
                    <a:gd name="T42" fmla="*/ 18 w 25"/>
                    <a:gd name="T43" fmla="*/ 32 h 49"/>
                    <a:gd name="T44" fmla="*/ 22 w 25"/>
                    <a:gd name="T45" fmla="*/ 17 h 49"/>
                    <a:gd name="T46" fmla="*/ 23 w 25"/>
                    <a:gd name="T47" fmla="*/ 15 h 49"/>
                    <a:gd name="T48" fmla="*/ 23 w 25"/>
                    <a:gd name="T49"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49">
                      <a:moveTo>
                        <a:pt x="23" y="15"/>
                      </a:moveTo>
                      <a:lnTo>
                        <a:pt x="24" y="12"/>
                      </a:lnTo>
                      <a:lnTo>
                        <a:pt x="24" y="5"/>
                      </a:lnTo>
                      <a:lnTo>
                        <a:pt x="25" y="4"/>
                      </a:lnTo>
                      <a:lnTo>
                        <a:pt x="23" y="2"/>
                      </a:lnTo>
                      <a:lnTo>
                        <a:pt x="20" y="0"/>
                      </a:lnTo>
                      <a:lnTo>
                        <a:pt x="16" y="2"/>
                      </a:lnTo>
                      <a:lnTo>
                        <a:pt x="14" y="3"/>
                      </a:lnTo>
                      <a:lnTo>
                        <a:pt x="13" y="5"/>
                      </a:lnTo>
                      <a:lnTo>
                        <a:pt x="11" y="9"/>
                      </a:lnTo>
                      <a:lnTo>
                        <a:pt x="7" y="12"/>
                      </a:lnTo>
                      <a:lnTo>
                        <a:pt x="0" y="24"/>
                      </a:lnTo>
                      <a:lnTo>
                        <a:pt x="0" y="29"/>
                      </a:lnTo>
                      <a:lnTo>
                        <a:pt x="0" y="32"/>
                      </a:lnTo>
                      <a:lnTo>
                        <a:pt x="4" y="41"/>
                      </a:lnTo>
                      <a:lnTo>
                        <a:pt x="7" y="43"/>
                      </a:lnTo>
                      <a:lnTo>
                        <a:pt x="8" y="49"/>
                      </a:lnTo>
                      <a:lnTo>
                        <a:pt x="11" y="46"/>
                      </a:lnTo>
                      <a:lnTo>
                        <a:pt x="12" y="42"/>
                      </a:lnTo>
                      <a:lnTo>
                        <a:pt x="13" y="38"/>
                      </a:lnTo>
                      <a:lnTo>
                        <a:pt x="17" y="34"/>
                      </a:lnTo>
                      <a:lnTo>
                        <a:pt x="18" y="32"/>
                      </a:lnTo>
                      <a:lnTo>
                        <a:pt x="22" y="17"/>
                      </a:lnTo>
                      <a:lnTo>
                        <a:pt x="23" y="15"/>
                      </a:lnTo>
                      <a:lnTo>
                        <a:pt x="23"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94" name="Freeform 156">
                  <a:extLst>
                    <a:ext uri="{FF2B5EF4-FFF2-40B4-BE49-F238E27FC236}">
                      <a16:creationId xmlns:a16="http://schemas.microsoft.com/office/drawing/2014/main" id="{5D40A730-5258-FA71-4B62-7E04FADDDD02}"/>
                    </a:ext>
                  </a:extLst>
                </p:cNvPr>
                <p:cNvSpPr>
                  <a:spLocks/>
                </p:cNvSpPr>
                <p:nvPr/>
              </p:nvSpPr>
              <p:spPr bwMode="auto">
                <a:xfrm>
                  <a:off x="5333" y="2619"/>
                  <a:ext cx="17" cy="19"/>
                </a:xfrm>
                <a:custGeom>
                  <a:avLst/>
                  <a:gdLst>
                    <a:gd name="T0" fmla="*/ 14 w 17"/>
                    <a:gd name="T1" fmla="*/ 15 h 19"/>
                    <a:gd name="T2" fmla="*/ 17 w 17"/>
                    <a:gd name="T3" fmla="*/ 12 h 19"/>
                    <a:gd name="T4" fmla="*/ 16 w 17"/>
                    <a:gd name="T5" fmla="*/ 11 h 19"/>
                    <a:gd name="T6" fmla="*/ 16 w 17"/>
                    <a:gd name="T7" fmla="*/ 6 h 19"/>
                    <a:gd name="T8" fmla="*/ 13 w 17"/>
                    <a:gd name="T9" fmla="*/ 4 h 19"/>
                    <a:gd name="T10" fmla="*/ 8 w 17"/>
                    <a:gd name="T11" fmla="*/ 0 h 19"/>
                    <a:gd name="T12" fmla="*/ 4 w 17"/>
                    <a:gd name="T13" fmla="*/ 2 h 19"/>
                    <a:gd name="T14" fmla="*/ 2 w 17"/>
                    <a:gd name="T15" fmla="*/ 0 h 19"/>
                    <a:gd name="T16" fmla="*/ 0 w 17"/>
                    <a:gd name="T17" fmla="*/ 2 h 19"/>
                    <a:gd name="T18" fmla="*/ 1 w 17"/>
                    <a:gd name="T19" fmla="*/ 2 h 19"/>
                    <a:gd name="T20" fmla="*/ 3 w 17"/>
                    <a:gd name="T21" fmla="*/ 5 h 19"/>
                    <a:gd name="T22" fmla="*/ 4 w 17"/>
                    <a:gd name="T23" fmla="*/ 6 h 19"/>
                    <a:gd name="T24" fmla="*/ 5 w 17"/>
                    <a:gd name="T25" fmla="*/ 8 h 19"/>
                    <a:gd name="T26" fmla="*/ 5 w 17"/>
                    <a:gd name="T27" fmla="*/ 12 h 19"/>
                    <a:gd name="T28" fmla="*/ 7 w 17"/>
                    <a:gd name="T29" fmla="*/ 12 h 19"/>
                    <a:gd name="T30" fmla="*/ 8 w 17"/>
                    <a:gd name="T31" fmla="*/ 15 h 19"/>
                    <a:gd name="T32" fmla="*/ 10 w 17"/>
                    <a:gd name="T33" fmla="*/ 17 h 19"/>
                    <a:gd name="T34" fmla="*/ 12 w 17"/>
                    <a:gd name="T35" fmla="*/ 19 h 19"/>
                    <a:gd name="T36" fmla="*/ 13 w 17"/>
                    <a:gd name="T37" fmla="*/ 17 h 19"/>
                    <a:gd name="T38" fmla="*/ 14 w 17"/>
                    <a:gd name="T39" fmla="*/ 17 h 19"/>
                    <a:gd name="T40" fmla="*/ 14 w 17"/>
                    <a:gd name="T41" fmla="*/ 15 h 19"/>
                    <a:gd name="T42" fmla="*/ 14 w 17"/>
                    <a:gd name="T43"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4" y="15"/>
                      </a:moveTo>
                      <a:lnTo>
                        <a:pt x="17" y="12"/>
                      </a:lnTo>
                      <a:lnTo>
                        <a:pt x="16" y="11"/>
                      </a:lnTo>
                      <a:lnTo>
                        <a:pt x="16" y="6"/>
                      </a:lnTo>
                      <a:lnTo>
                        <a:pt x="13" y="4"/>
                      </a:lnTo>
                      <a:lnTo>
                        <a:pt x="8" y="0"/>
                      </a:lnTo>
                      <a:lnTo>
                        <a:pt x="4" y="2"/>
                      </a:lnTo>
                      <a:lnTo>
                        <a:pt x="2" y="0"/>
                      </a:lnTo>
                      <a:lnTo>
                        <a:pt x="0" y="2"/>
                      </a:lnTo>
                      <a:lnTo>
                        <a:pt x="1" y="2"/>
                      </a:lnTo>
                      <a:lnTo>
                        <a:pt x="3" y="5"/>
                      </a:lnTo>
                      <a:lnTo>
                        <a:pt x="4" y="6"/>
                      </a:lnTo>
                      <a:lnTo>
                        <a:pt x="5" y="8"/>
                      </a:lnTo>
                      <a:lnTo>
                        <a:pt x="5" y="12"/>
                      </a:lnTo>
                      <a:lnTo>
                        <a:pt x="7" y="12"/>
                      </a:lnTo>
                      <a:lnTo>
                        <a:pt x="8" y="15"/>
                      </a:lnTo>
                      <a:lnTo>
                        <a:pt x="10" y="17"/>
                      </a:lnTo>
                      <a:lnTo>
                        <a:pt x="12" y="19"/>
                      </a:lnTo>
                      <a:lnTo>
                        <a:pt x="13" y="17"/>
                      </a:lnTo>
                      <a:lnTo>
                        <a:pt x="14" y="17"/>
                      </a:lnTo>
                      <a:lnTo>
                        <a:pt x="14" y="15"/>
                      </a:lnTo>
                      <a:lnTo>
                        <a:pt x="14"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95" name="Freeform 157">
                  <a:extLst>
                    <a:ext uri="{FF2B5EF4-FFF2-40B4-BE49-F238E27FC236}">
                      <a16:creationId xmlns:a16="http://schemas.microsoft.com/office/drawing/2014/main" id="{2FDDBCF8-A835-A325-94B1-E9593C9CE064}"/>
                    </a:ext>
                  </a:extLst>
                </p:cNvPr>
                <p:cNvSpPr>
                  <a:spLocks/>
                </p:cNvSpPr>
                <p:nvPr/>
              </p:nvSpPr>
              <p:spPr bwMode="auto">
                <a:xfrm>
                  <a:off x="5353" y="2641"/>
                  <a:ext cx="18" cy="21"/>
                </a:xfrm>
                <a:custGeom>
                  <a:avLst/>
                  <a:gdLst>
                    <a:gd name="T0" fmla="*/ 10 w 18"/>
                    <a:gd name="T1" fmla="*/ 6 h 21"/>
                    <a:gd name="T2" fmla="*/ 7 w 18"/>
                    <a:gd name="T3" fmla="*/ 3 h 21"/>
                    <a:gd name="T4" fmla="*/ 2 w 18"/>
                    <a:gd name="T5" fmla="*/ 0 h 21"/>
                    <a:gd name="T6" fmla="*/ 0 w 18"/>
                    <a:gd name="T7" fmla="*/ 2 h 21"/>
                    <a:gd name="T8" fmla="*/ 3 w 18"/>
                    <a:gd name="T9" fmla="*/ 3 h 21"/>
                    <a:gd name="T10" fmla="*/ 3 w 18"/>
                    <a:gd name="T11" fmla="*/ 6 h 21"/>
                    <a:gd name="T12" fmla="*/ 2 w 18"/>
                    <a:gd name="T13" fmla="*/ 14 h 21"/>
                    <a:gd name="T14" fmla="*/ 1 w 18"/>
                    <a:gd name="T15" fmla="*/ 16 h 21"/>
                    <a:gd name="T16" fmla="*/ 2 w 18"/>
                    <a:gd name="T17" fmla="*/ 21 h 21"/>
                    <a:gd name="T18" fmla="*/ 6 w 18"/>
                    <a:gd name="T19" fmla="*/ 18 h 21"/>
                    <a:gd name="T20" fmla="*/ 10 w 18"/>
                    <a:gd name="T21" fmla="*/ 18 h 21"/>
                    <a:gd name="T22" fmla="*/ 14 w 18"/>
                    <a:gd name="T23" fmla="*/ 14 h 21"/>
                    <a:gd name="T24" fmla="*/ 15 w 18"/>
                    <a:gd name="T25" fmla="*/ 14 h 21"/>
                    <a:gd name="T26" fmla="*/ 17 w 18"/>
                    <a:gd name="T27" fmla="*/ 10 h 21"/>
                    <a:gd name="T28" fmla="*/ 18 w 18"/>
                    <a:gd name="T29" fmla="*/ 7 h 21"/>
                    <a:gd name="T30" fmla="*/ 17 w 18"/>
                    <a:gd name="T31" fmla="*/ 6 h 21"/>
                    <a:gd name="T32" fmla="*/ 15 w 18"/>
                    <a:gd name="T33" fmla="*/ 8 h 21"/>
                    <a:gd name="T34" fmla="*/ 15 w 18"/>
                    <a:gd name="T35" fmla="*/ 6 h 21"/>
                    <a:gd name="T36" fmla="*/ 10 w 18"/>
                    <a:gd name="T37" fmla="*/ 6 h 21"/>
                    <a:gd name="T38" fmla="*/ 10 w 18"/>
                    <a:gd name="T39"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1">
                      <a:moveTo>
                        <a:pt x="10" y="6"/>
                      </a:moveTo>
                      <a:lnTo>
                        <a:pt x="7" y="3"/>
                      </a:lnTo>
                      <a:lnTo>
                        <a:pt x="2" y="0"/>
                      </a:lnTo>
                      <a:lnTo>
                        <a:pt x="0" y="2"/>
                      </a:lnTo>
                      <a:lnTo>
                        <a:pt x="3" y="3"/>
                      </a:lnTo>
                      <a:lnTo>
                        <a:pt x="3" y="6"/>
                      </a:lnTo>
                      <a:lnTo>
                        <a:pt x="2" y="14"/>
                      </a:lnTo>
                      <a:lnTo>
                        <a:pt x="1" y="16"/>
                      </a:lnTo>
                      <a:lnTo>
                        <a:pt x="2" y="21"/>
                      </a:lnTo>
                      <a:lnTo>
                        <a:pt x="6" y="18"/>
                      </a:lnTo>
                      <a:lnTo>
                        <a:pt x="10" y="18"/>
                      </a:lnTo>
                      <a:lnTo>
                        <a:pt x="14" y="14"/>
                      </a:lnTo>
                      <a:lnTo>
                        <a:pt x="15" y="14"/>
                      </a:lnTo>
                      <a:lnTo>
                        <a:pt x="17" y="10"/>
                      </a:lnTo>
                      <a:lnTo>
                        <a:pt x="18" y="7"/>
                      </a:lnTo>
                      <a:lnTo>
                        <a:pt x="17" y="6"/>
                      </a:lnTo>
                      <a:lnTo>
                        <a:pt x="15" y="8"/>
                      </a:lnTo>
                      <a:lnTo>
                        <a:pt x="15" y="6"/>
                      </a:lnTo>
                      <a:lnTo>
                        <a:pt x="10" y="6"/>
                      </a:lnTo>
                      <a:lnTo>
                        <a:pt x="1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96" name="Freeform 158">
                  <a:extLst>
                    <a:ext uri="{FF2B5EF4-FFF2-40B4-BE49-F238E27FC236}">
                      <a16:creationId xmlns:a16="http://schemas.microsoft.com/office/drawing/2014/main" id="{E5110DA0-619D-1B7E-862E-6CA96756F1DA}"/>
                    </a:ext>
                  </a:extLst>
                </p:cNvPr>
                <p:cNvSpPr>
                  <a:spLocks/>
                </p:cNvSpPr>
                <p:nvPr/>
              </p:nvSpPr>
              <p:spPr bwMode="auto">
                <a:xfrm>
                  <a:off x="5354" y="2673"/>
                  <a:ext cx="64" cy="56"/>
                </a:xfrm>
                <a:custGeom>
                  <a:avLst/>
                  <a:gdLst>
                    <a:gd name="T0" fmla="*/ 2 w 64"/>
                    <a:gd name="T1" fmla="*/ 27 h 56"/>
                    <a:gd name="T2" fmla="*/ 0 w 64"/>
                    <a:gd name="T3" fmla="*/ 35 h 56"/>
                    <a:gd name="T4" fmla="*/ 4 w 64"/>
                    <a:gd name="T5" fmla="*/ 37 h 56"/>
                    <a:gd name="T6" fmla="*/ 7 w 64"/>
                    <a:gd name="T7" fmla="*/ 31 h 56"/>
                    <a:gd name="T8" fmla="*/ 9 w 64"/>
                    <a:gd name="T9" fmla="*/ 26 h 56"/>
                    <a:gd name="T10" fmla="*/ 13 w 64"/>
                    <a:gd name="T11" fmla="*/ 28 h 56"/>
                    <a:gd name="T12" fmla="*/ 15 w 64"/>
                    <a:gd name="T13" fmla="*/ 29 h 56"/>
                    <a:gd name="T14" fmla="*/ 18 w 64"/>
                    <a:gd name="T15" fmla="*/ 29 h 56"/>
                    <a:gd name="T16" fmla="*/ 22 w 64"/>
                    <a:gd name="T17" fmla="*/ 28 h 56"/>
                    <a:gd name="T18" fmla="*/ 24 w 64"/>
                    <a:gd name="T19" fmla="*/ 26 h 56"/>
                    <a:gd name="T20" fmla="*/ 31 w 64"/>
                    <a:gd name="T21" fmla="*/ 31 h 56"/>
                    <a:gd name="T22" fmla="*/ 31 w 64"/>
                    <a:gd name="T23" fmla="*/ 34 h 56"/>
                    <a:gd name="T24" fmla="*/ 29 w 64"/>
                    <a:gd name="T25" fmla="*/ 37 h 56"/>
                    <a:gd name="T26" fmla="*/ 30 w 64"/>
                    <a:gd name="T27" fmla="*/ 44 h 56"/>
                    <a:gd name="T28" fmla="*/ 35 w 64"/>
                    <a:gd name="T29" fmla="*/ 49 h 56"/>
                    <a:gd name="T30" fmla="*/ 43 w 64"/>
                    <a:gd name="T31" fmla="*/ 52 h 56"/>
                    <a:gd name="T32" fmla="*/ 47 w 64"/>
                    <a:gd name="T33" fmla="*/ 49 h 56"/>
                    <a:gd name="T34" fmla="*/ 46 w 64"/>
                    <a:gd name="T35" fmla="*/ 54 h 56"/>
                    <a:gd name="T36" fmla="*/ 48 w 64"/>
                    <a:gd name="T37" fmla="*/ 56 h 56"/>
                    <a:gd name="T38" fmla="*/ 52 w 64"/>
                    <a:gd name="T39" fmla="*/ 48 h 56"/>
                    <a:gd name="T40" fmla="*/ 48 w 64"/>
                    <a:gd name="T41" fmla="*/ 40 h 56"/>
                    <a:gd name="T42" fmla="*/ 51 w 64"/>
                    <a:gd name="T43" fmla="*/ 36 h 56"/>
                    <a:gd name="T44" fmla="*/ 53 w 64"/>
                    <a:gd name="T45" fmla="*/ 34 h 56"/>
                    <a:gd name="T46" fmla="*/ 58 w 64"/>
                    <a:gd name="T47" fmla="*/ 44 h 56"/>
                    <a:gd name="T48" fmla="*/ 59 w 64"/>
                    <a:gd name="T49" fmla="*/ 46 h 56"/>
                    <a:gd name="T50" fmla="*/ 60 w 64"/>
                    <a:gd name="T51" fmla="*/ 37 h 56"/>
                    <a:gd name="T52" fmla="*/ 64 w 64"/>
                    <a:gd name="T53" fmla="*/ 32 h 56"/>
                    <a:gd name="T54" fmla="*/ 64 w 64"/>
                    <a:gd name="T55" fmla="*/ 28 h 56"/>
                    <a:gd name="T56" fmla="*/ 61 w 64"/>
                    <a:gd name="T57" fmla="*/ 25 h 56"/>
                    <a:gd name="T58" fmla="*/ 63 w 64"/>
                    <a:gd name="T59" fmla="*/ 20 h 56"/>
                    <a:gd name="T60" fmla="*/ 60 w 64"/>
                    <a:gd name="T61" fmla="*/ 18 h 56"/>
                    <a:gd name="T62" fmla="*/ 57 w 64"/>
                    <a:gd name="T63" fmla="*/ 14 h 56"/>
                    <a:gd name="T64" fmla="*/ 58 w 64"/>
                    <a:gd name="T65" fmla="*/ 8 h 56"/>
                    <a:gd name="T66" fmla="*/ 57 w 64"/>
                    <a:gd name="T67" fmla="*/ 5 h 56"/>
                    <a:gd name="T68" fmla="*/ 55 w 64"/>
                    <a:gd name="T69" fmla="*/ 2 h 56"/>
                    <a:gd name="T70" fmla="*/ 48 w 64"/>
                    <a:gd name="T71" fmla="*/ 1 h 56"/>
                    <a:gd name="T72" fmla="*/ 50 w 64"/>
                    <a:gd name="T73" fmla="*/ 9 h 56"/>
                    <a:gd name="T74" fmla="*/ 46 w 64"/>
                    <a:gd name="T75" fmla="*/ 8 h 56"/>
                    <a:gd name="T76" fmla="*/ 42 w 64"/>
                    <a:gd name="T77" fmla="*/ 10 h 56"/>
                    <a:gd name="T78" fmla="*/ 39 w 64"/>
                    <a:gd name="T79" fmla="*/ 16 h 56"/>
                    <a:gd name="T80" fmla="*/ 35 w 64"/>
                    <a:gd name="T81" fmla="*/ 14 h 56"/>
                    <a:gd name="T82" fmla="*/ 32 w 64"/>
                    <a:gd name="T83" fmla="*/ 19 h 56"/>
                    <a:gd name="T84" fmla="*/ 29 w 64"/>
                    <a:gd name="T85" fmla="*/ 20 h 56"/>
                    <a:gd name="T86" fmla="*/ 24 w 64"/>
                    <a:gd name="T87" fmla="*/ 23 h 56"/>
                    <a:gd name="T88" fmla="*/ 25 w 64"/>
                    <a:gd name="T89" fmla="*/ 22 h 56"/>
                    <a:gd name="T90" fmla="*/ 26 w 64"/>
                    <a:gd name="T91" fmla="*/ 17 h 56"/>
                    <a:gd name="T92" fmla="*/ 21 w 64"/>
                    <a:gd name="T93" fmla="*/ 14 h 56"/>
                    <a:gd name="T94" fmla="*/ 15 w 64"/>
                    <a:gd name="T95" fmla="*/ 18 h 56"/>
                    <a:gd name="T96" fmla="*/ 13 w 64"/>
                    <a:gd name="T97" fmla="*/ 21 h 56"/>
                    <a:gd name="T98" fmla="*/ 5 w 64"/>
                    <a:gd name="T99"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 h="56">
                      <a:moveTo>
                        <a:pt x="5" y="22"/>
                      </a:moveTo>
                      <a:lnTo>
                        <a:pt x="2" y="27"/>
                      </a:lnTo>
                      <a:lnTo>
                        <a:pt x="2" y="29"/>
                      </a:lnTo>
                      <a:lnTo>
                        <a:pt x="0" y="35"/>
                      </a:lnTo>
                      <a:lnTo>
                        <a:pt x="1" y="37"/>
                      </a:lnTo>
                      <a:lnTo>
                        <a:pt x="4" y="37"/>
                      </a:lnTo>
                      <a:lnTo>
                        <a:pt x="5" y="34"/>
                      </a:lnTo>
                      <a:lnTo>
                        <a:pt x="7" y="31"/>
                      </a:lnTo>
                      <a:lnTo>
                        <a:pt x="7" y="29"/>
                      </a:lnTo>
                      <a:lnTo>
                        <a:pt x="9" y="26"/>
                      </a:lnTo>
                      <a:lnTo>
                        <a:pt x="13" y="27"/>
                      </a:lnTo>
                      <a:lnTo>
                        <a:pt x="13" y="28"/>
                      </a:lnTo>
                      <a:lnTo>
                        <a:pt x="13" y="30"/>
                      </a:lnTo>
                      <a:lnTo>
                        <a:pt x="15" y="29"/>
                      </a:lnTo>
                      <a:lnTo>
                        <a:pt x="17" y="27"/>
                      </a:lnTo>
                      <a:lnTo>
                        <a:pt x="18" y="29"/>
                      </a:lnTo>
                      <a:lnTo>
                        <a:pt x="22" y="30"/>
                      </a:lnTo>
                      <a:lnTo>
                        <a:pt x="22" y="28"/>
                      </a:lnTo>
                      <a:lnTo>
                        <a:pt x="22" y="26"/>
                      </a:lnTo>
                      <a:lnTo>
                        <a:pt x="24" y="26"/>
                      </a:lnTo>
                      <a:lnTo>
                        <a:pt x="30" y="28"/>
                      </a:lnTo>
                      <a:lnTo>
                        <a:pt x="31" y="31"/>
                      </a:lnTo>
                      <a:lnTo>
                        <a:pt x="32" y="34"/>
                      </a:lnTo>
                      <a:lnTo>
                        <a:pt x="31" y="34"/>
                      </a:lnTo>
                      <a:lnTo>
                        <a:pt x="30" y="35"/>
                      </a:lnTo>
                      <a:lnTo>
                        <a:pt x="29" y="37"/>
                      </a:lnTo>
                      <a:lnTo>
                        <a:pt x="30" y="39"/>
                      </a:lnTo>
                      <a:lnTo>
                        <a:pt x="30" y="44"/>
                      </a:lnTo>
                      <a:lnTo>
                        <a:pt x="31" y="47"/>
                      </a:lnTo>
                      <a:lnTo>
                        <a:pt x="35" y="49"/>
                      </a:lnTo>
                      <a:lnTo>
                        <a:pt x="41" y="52"/>
                      </a:lnTo>
                      <a:lnTo>
                        <a:pt x="43" y="52"/>
                      </a:lnTo>
                      <a:lnTo>
                        <a:pt x="46" y="49"/>
                      </a:lnTo>
                      <a:lnTo>
                        <a:pt x="47" y="49"/>
                      </a:lnTo>
                      <a:lnTo>
                        <a:pt x="46" y="53"/>
                      </a:lnTo>
                      <a:lnTo>
                        <a:pt x="46" y="54"/>
                      </a:lnTo>
                      <a:lnTo>
                        <a:pt x="47" y="56"/>
                      </a:lnTo>
                      <a:lnTo>
                        <a:pt x="48" y="56"/>
                      </a:lnTo>
                      <a:lnTo>
                        <a:pt x="52" y="51"/>
                      </a:lnTo>
                      <a:lnTo>
                        <a:pt x="52" y="48"/>
                      </a:lnTo>
                      <a:lnTo>
                        <a:pt x="50" y="44"/>
                      </a:lnTo>
                      <a:lnTo>
                        <a:pt x="48" y="40"/>
                      </a:lnTo>
                      <a:lnTo>
                        <a:pt x="49" y="39"/>
                      </a:lnTo>
                      <a:lnTo>
                        <a:pt x="51" y="36"/>
                      </a:lnTo>
                      <a:lnTo>
                        <a:pt x="52" y="32"/>
                      </a:lnTo>
                      <a:lnTo>
                        <a:pt x="53" y="34"/>
                      </a:lnTo>
                      <a:lnTo>
                        <a:pt x="57" y="38"/>
                      </a:lnTo>
                      <a:lnTo>
                        <a:pt x="58" y="44"/>
                      </a:lnTo>
                      <a:lnTo>
                        <a:pt x="59" y="46"/>
                      </a:lnTo>
                      <a:lnTo>
                        <a:pt x="59" y="46"/>
                      </a:lnTo>
                      <a:lnTo>
                        <a:pt x="59" y="39"/>
                      </a:lnTo>
                      <a:lnTo>
                        <a:pt x="60" y="37"/>
                      </a:lnTo>
                      <a:lnTo>
                        <a:pt x="63" y="35"/>
                      </a:lnTo>
                      <a:lnTo>
                        <a:pt x="64" y="32"/>
                      </a:lnTo>
                      <a:lnTo>
                        <a:pt x="64" y="31"/>
                      </a:lnTo>
                      <a:lnTo>
                        <a:pt x="64" y="28"/>
                      </a:lnTo>
                      <a:lnTo>
                        <a:pt x="63" y="26"/>
                      </a:lnTo>
                      <a:lnTo>
                        <a:pt x="61" y="25"/>
                      </a:lnTo>
                      <a:lnTo>
                        <a:pt x="61" y="22"/>
                      </a:lnTo>
                      <a:lnTo>
                        <a:pt x="63" y="20"/>
                      </a:lnTo>
                      <a:lnTo>
                        <a:pt x="60" y="20"/>
                      </a:lnTo>
                      <a:lnTo>
                        <a:pt x="60" y="18"/>
                      </a:lnTo>
                      <a:lnTo>
                        <a:pt x="60" y="16"/>
                      </a:lnTo>
                      <a:lnTo>
                        <a:pt x="57" y="14"/>
                      </a:lnTo>
                      <a:lnTo>
                        <a:pt x="60" y="12"/>
                      </a:lnTo>
                      <a:lnTo>
                        <a:pt x="58" y="8"/>
                      </a:lnTo>
                      <a:lnTo>
                        <a:pt x="59" y="5"/>
                      </a:lnTo>
                      <a:lnTo>
                        <a:pt x="57" y="5"/>
                      </a:lnTo>
                      <a:lnTo>
                        <a:pt x="56" y="5"/>
                      </a:lnTo>
                      <a:lnTo>
                        <a:pt x="55" y="2"/>
                      </a:lnTo>
                      <a:lnTo>
                        <a:pt x="50" y="0"/>
                      </a:lnTo>
                      <a:lnTo>
                        <a:pt x="48" y="1"/>
                      </a:lnTo>
                      <a:lnTo>
                        <a:pt x="50" y="6"/>
                      </a:lnTo>
                      <a:lnTo>
                        <a:pt x="50" y="9"/>
                      </a:lnTo>
                      <a:lnTo>
                        <a:pt x="48" y="9"/>
                      </a:lnTo>
                      <a:lnTo>
                        <a:pt x="46" y="8"/>
                      </a:lnTo>
                      <a:lnTo>
                        <a:pt x="44" y="11"/>
                      </a:lnTo>
                      <a:lnTo>
                        <a:pt x="42" y="10"/>
                      </a:lnTo>
                      <a:lnTo>
                        <a:pt x="40" y="10"/>
                      </a:lnTo>
                      <a:lnTo>
                        <a:pt x="39" y="16"/>
                      </a:lnTo>
                      <a:lnTo>
                        <a:pt x="38" y="16"/>
                      </a:lnTo>
                      <a:lnTo>
                        <a:pt x="35" y="14"/>
                      </a:lnTo>
                      <a:lnTo>
                        <a:pt x="33" y="16"/>
                      </a:lnTo>
                      <a:lnTo>
                        <a:pt x="32" y="19"/>
                      </a:lnTo>
                      <a:lnTo>
                        <a:pt x="31" y="20"/>
                      </a:lnTo>
                      <a:lnTo>
                        <a:pt x="29" y="20"/>
                      </a:lnTo>
                      <a:lnTo>
                        <a:pt x="26" y="22"/>
                      </a:lnTo>
                      <a:lnTo>
                        <a:pt x="24" y="23"/>
                      </a:lnTo>
                      <a:lnTo>
                        <a:pt x="24" y="23"/>
                      </a:lnTo>
                      <a:lnTo>
                        <a:pt x="25" y="22"/>
                      </a:lnTo>
                      <a:lnTo>
                        <a:pt x="27" y="19"/>
                      </a:lnTo>
                      <a:lnTo>
                        <a:pt x="26" y="17"/>
                      </a:lnTo>
                      <a:lnTo>
                        <a:pt x="24" y="14"/>
                      </a:lnTo>
                      <a:lnTo>
                        <a:pt x="21" y="14"/>
                      </a:lnTo>
                      <a:lnTo>
                        <a:pt x="17" y="16"/>
                      </a:lnTo>
                      <a:lnTo>
                        <a:pt x="15" y="18"/>
                      </a:lnTo>
                      <a:lnTo>
                        <a:pt x="15" y="20"/>
                      </a:lnTo>
                      <a:lnTo>
                        <a:pt x="13" y="21"/>
                      </a:lnTo>
                      <a:lnTo>
                        <a:pt x="8" y="22"/>
                      </a:lnTo>
                      <a:lnTo>
                        <a:pt x="5" y="22"/>
                      </a:lnTo>
                      <a:lnTo>
                        <a:pt x="5"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97" name="Freeform 159">
                  <a:extLst>
                    <a:ext uri="{FF2B5EF4-FFF2-40B4-BE49-F238E27FC236}">
                      <a16:creationId xmlns:a16="http://schemas.microsoft.com/office/drawing/2014/main" id="{894535AD-A06C-3052-4B8A-A71FA17640E8}"/>
                    </a:ext>
                  </a:extLst>
                </p:cNvPr>
                <p:cNvSpPr>
                  <a:spLocks/>
                </p:cNvSpPr>
                <p:nvPr/>
              </p:nvSpPr>
              <p:spPr bwMode="auto">
                <a:xfrm>
                  <a:off x="5355" y="2611"/>
                  <a:ext cx="3" cy="2"/>
                </a:xfrm>
                <a:custGeom>
                  <a:avLst/>
                  <a:gdLst>
                    <a:gd name="T0" fmla="*/ 3 w 3"/>
                    <a:gd name="T1" fmla="*/ 2 h 2"/>
                    <a:gd name="T2" fmla="*/ 3 w 3"/>
                    <a:gd name="T3" fmla="*/ 2 h 2"/>
                    <a:gd name="T4" fmla="*/ 0 w 3"/>
                    <a:gd name="T5" fmla="*/ 0 h 2"/>
                    <a:gd name="T6" fmla="*/ 3 w 3"/>
                    <a:gd name="T7" fmla="*/ 2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lnTo>
                        <a:pt x="3" y="2"/>
                      </a:lnTo>
                      <a:lnTo>
                        <a:pt x="0" y="0"/>
                      </a:lnTo>
                      <a:lnTo>
                        <a:pt x="3"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98" name="Freeform 160">
                  <a:extLst>
                    <a:ext uri="{FF2B5EF4-FFF2-40B4-BE49-F238E27FC236}">
                      <a16:creationId xmlns:a16="http://schemas.microsoft.com/office/drawing/2014/main" id="{9081BD80-D78C-7B3E-543C-1A26A2CE75B1}"/>
                    </a:ext>
                  </a:extLst>
                </p:cNvPr>
                <p:cNvSpPr>
                  <a:spLocks/>
                </p:cNvSpPr>
                <p:nvPr/>
              </p:nvSpPr>
              <p:spPr bwMode="auto">
                <a:xfrm>
                  <a:off x="5359" y="2869"/>
                  <a:ext cx="7" cy="11"/>
                </a:xfrm>
                <a:custGeom>
                  <a:avLst/>
                  <a:gdLst>
                    <a:gd name="T0" fmla="*/ 7 w 7"/>
                    <a:gd name="T1" fmla="*/ 0 h 11"/>
                    <a:gd name="T2" fmla="*/ 3 w 7"/>
                    <a:gd name="T3" fmla="*/ 2 h 11"/>
                    <a:gd name="T4" fmla="*/ 1 w 7"/>
                    <a:gd name="T5" fmla="*/ 4 h 11"/>
                    <a:gd name="T6" fmla="*/ 0 w 7"/>
                    <a:gd name="T7" fmla="*/ 10 h 11"/>
                    <a:gd name="T8" fmla="*/ 4 w 7"/>
                    <a:gd name="T9" fmla="*/ 11 h 11"/>
                    <a:gd name="T10" fmla="*/ 7 w 7"/>
                    <a:gd name="T11" fmla="*/ 3 h 11"/>
                    <a:gd name="T12" fmla="*/ 7 w 7"/>
                    <a:gd name="T13" fmla="*/ 0 h 11"/>
                    <a:gd name="T14" fmla="*/ 7 w 7"/>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7" y="0"/>
                      </a:moveTo>
                      <a:lnTo>
                        <a:pt x="3" y="2"/>
                      </a:lnTo>
                      <a:lnTo>
                        <a:pt x="1" y="4"/>
                      </a:lnTo>
                      <a:lnTo>
                        <a:pt x="0" y="10"/>
                      </a:lnTo>
                      <a:lnTo>
                        <a:pt x="4" y="11"/>
                      </a:lnTo>
                      <a:lnTo>
                        <a:pt x="7" y="3"/>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99" name="Freeform 161">
                  <a:extLst>
                    <a:ext uri="{FF2B5EF4-FFF2-40B4-BE49-F238E27FC236}">
                      <a16:creationId xmlns:a16="http://schemas.microsoft.com/office/drawing/2014/main" id="{289540CA-1426-1277-4EB3-7E7C23F516F2}"/>
                    </a:ext>
                  </a:extLst>
                </p:cNvPr>
                <p:cNvSpPr>
                  <a:spLocks/>
                </p:cNvSpPr>
                <p:nvPr/>
              </p:nvSpPr>
              <p:spPr bwMode="auto">
                <a:xfrm>
                  <a:off x="5361" y="2655"/>
                  <a:ext cx="16" cy="27"/>
                </a:xfrm>
                <a:custGeom>
                  <a:avLst/>
                  <a:gdLst>
                    <a:gd name="T0" fmla="*/ 2 w 16"/>
                    <a:gd name="T1" fmla="*/ 21 h 27"/>
                    <a:gd name="T2" fmla="*/ 7 w 16"/>
                    <a:gd name="T3" fmla="*/ 23 h 27"/>
                    <a:gd name="T4" fmla="*/ 8 w 16"/>
                    <a:gd name="T5" fmla="*/ 27 h 27"/>
                    <a:gd name="T6" fmla="*/ 9 w 16"/>
                    <a:gd name="T7" fmla="*/ 27 h 27"/>
                    <a:gd name="T8" fmla="*/ 12 w 16"/>
                    <a:gd name="T9" fmla="*/ 24 h 27"/>
                    <a:gd name="T10" fmla="*/ 11 w 16"/>
                    <a:gd name="T11" fmla="*/ 21 h 27"/>
                    <a:gd name="T12" fmla="*/ 10 w 16"/>
                    <a:gd name="T13" fmla="*/ 19 h 27"/>
                    <a:gd name="T14" fmla="*/ 10 w 16"/>
                    <a:gd name="T15" fmla="*/ 17 h 27"/>
                    <a:gd name="T16" fmla="*/ 12 w 16"/>
                    <a:gd name="T17" fmla="*/ 11 h 27"/>
                    <a:gd name="T18" fmla="*/ 12 w 16"/>
                    <a:gd name="T19" fmla="*/ 7 h 27"/>
                    <a:gd name="T20" fmla="*/ 15 w 16"/>
                    <a:gd name="T21" fmla="*/ 5 h 27"/>
                    <a:gd name="T22" fmla="*/ 16 w 16"/>
                    <a:gd name="T23" fmla="*/ 3 h 27"/>
                    <a:gd name="T24" fmla="*/ 14 w 16"/>
                    <a:gd name="T25" fmla="*/ 1 h 27"/>
                    <a:gd name="T26" fmla="*/ 11 w 16"/>
                    <a:gd name="T27" fmla="*/ 0 h 27"/>
                    <a:gd name="T28" fmla="*/ 8 w 16"/>
                    <a:gd name="T29" fmla="*/ 1 h 27"/>
                    <a:gd name="T30" fmla="*/ 7 w 16"/>
                    <a:gd name="T31" fmla="*/ 2 h 27"/>
                    <a:gd name="T32" fmla="*/ 8 w 16"/>
                    <a:gd name="T33" fmla="*/ 3 h 27"/>
                    <a:gd name="T34" fmla="*/ 6 w 16"/>
                    <a:gd name="T35" fmla="*/ 5 h 27"/>
                    <a:gd name="T36" fmla="*/ 6 w 16"/>
                    <a:gd name="T37" fmla="*/ 10 h 27"/>
                    <a:gd name="T38" fmla="*/ 5 w 16"/>
                    <a:gd name="T39" fmla="*/ 13 h 27"/>
                    <a:gd name="T40" fmla="*/ 2 w 16"/>
                    <a:gd name="T41" fmla="*/ 14 h 27"/>
                    <a:gd name="T42" fmla="*/ 0 w 16"/>
                    <a:gd name="T43" fmla="*/ 15 h 27"/>
                    <a:gd name="T44" fmla="*/ 0 w 16"/>
                    <a:gd name="T45" fmla="*/ 19 h 27"/>
                    <a:gd name="T46" fmla="*/ 2 w 16"/>
                    <a:gd name="T47" fmla="*/ 21 h 27"/>
                    <a:gd name="T48" fmla="*/ 2 w 16"/>
                    <a:gd name="T49"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7">
                      <a:moveTo>
                        <a:pt x="2" y="21"/>
                      </a:moveTo>
                      <a:lnTo>
                        <a:pt x="7" y="23"/>
                      </a:lnTo>
                      <a:lnTo>
                        <a:pt x="8" y="27"/>
                      </a:lnTo>
                      <a:lnTo>
                        <a:pt x="9" y="27"/>
                      </a:lnTo>
                      <a:lnTo>
                        <a:pt x="12" y="24"/>
                      </a:lnTo>
                      <a:lnTo>
                        <a:pt x="11" y="21"/>
                      </a:lnTo>
                      <a:lnTo>
                        <a:pt x="10" y="19"/>
                      </a:lnTo>
                      <a:lnTo>
                        <a:pt x="10" y="17"/>
                      </a:lnTo>
                      <a:lnTo>
                        <a:pt x="12" y="11"/>
                      </a:lnTo>
                      <a:lnTo>
                        <a:pt x="12" y="7"/>
                      </a:lnTo>
                      <a:lnTo>
                        <a:pt x="15" y="5"/>
                      </a:lnTo>
                      <a:lnTo>
                        <a:pt x="16" y="3"/>
                      </a:lnTo>
                      <a:lnTo>
                        <a:pt x="14" y="1"/>
                      </a:lnTo>
                      <a:lnTo>
                        <a:pt x="11" y="0"/>
                      </a:lnTo>
                      <a:lnTo>
                        <a:pt x="8" y="1"/>
                      </a:lnTo>
                      <a:lnTo>
                        <a:pt x="7" y="2"/>
                      </a:lnTo>
                      <a:lnTo>
                        <a:pt x="8" y="3"/>
                      </a:lnTo>
                      <a:lnTo>
                        <a:pt x="6" y="5"/>
                      </a:lnTo>
                      <a:lnTo>
                        <a:pt x="6" y="10"/>
                      </a:lnTo>
                      <a:lnTo>
                        <a:pt x="5" y="13"/>
                      </a:lnTo>
                      <a:lnTo>
                        <a:pt x="2" y="14"/>
                      </a:lnTo>
                      <a:lnTo>
                        <a:pt x="0" y="15"/>
                      </a:lnTo>
                      <a:lnTo>
                        <a:pt x="0" y="19"/>
                      </a:lnTo>
                      <a:lnTo>
                        <a:pt x="2" y="21"/>
                      </a:lnTo>
                      <a:lnTo>
                        <a:pt x="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00" name="Freeform 162">
                  <a:extLst>
                    <a:ext uri="{FF2B5EF4-FFF2-40B4-BE49-F238E27FC236}">
                      <a16:creationId xmlns:a16="http://schemas.microsoft.com/office/drawing/2014/main" id="{58872D34-489A-8304-A676-E671798F44EC}"/>
                    </a:ext>
                  </a:extLst>
                </p:cNvPr>
                <p:cNvSpPr>
                  <a:spLocks/>
                </p:cNvSpPr>
                <p:nvPr/>
              </p:nvSpPr>
              <p:spPr bwMode="auto">
                <a:xfrm>
                  <a:off x="5363" y="2866"/>
                  <a:ext cx="9" cy="17"/>
                </a:xfrm>
                <a:custGeom>
                  <a:avLst/>
                  <a:gdLst>
                    <a:gd name="T0" fmla="*/ 7 w 9"/>
                    <a:gd name="T1" fmla="*/ 0 h 17"/>
                    <a:gd name="T2" fmla="*/ 5 w 9"/>
                    <a:gd name="T3" fmla="*/ 1 h 17"/>
                    <a:gd name="T4" fmla="*/ 4 w 9"/>
                    <a:gd name="T5" fmla="*/ 7 h 17"/>
                    <a:gd name="T6" fmla="*/ 3 w 9"/>
                    <a:gd name="T7" fmla="*/ 10 h 17"/>
                    <a:gd name="T8" fmla="*/ 0 w 9"/>
                    <a:gd name="T9" fmla="*/ 15 h 17"/>
                    <a:gd name="T10" fmla="*/ 3 w 9"/>
                    <a:gd name="T11" fmla="*/ 17 h 17"/>
                    <a:gd name="T12" fmla="*/ 5 w 9"/>
                    <a:gd name="T13" fmla="*/ 14 h 17"/>
                    <a:gd name="T14" fmla="*/ 7 w 9"/>
                    <a:gd name="T15" fmla="*/ 14 h 17"/>
                    <a:gd name="T16" fmla="*/ 7 w 9"/>
                    <a:gd name="T17" fmla="*/ 12 h 17"/>
                    <a:gd name="T18" fmla="*/ 6 w 9"/>
                    <a:gd name="T19" fmla="*/ 8 h 17"/>
                    <a:gd name="T20" fmla="*/ 6 w 9"/>
                    <a:gd name="T21" fmla="*/ 6 h 17"/>
                    <a:gd name="T22" fmla="*/ 9 w 9"/>
                    <a:gd name="T23" fmla="*/ 3 h 17"/>
                    <a:gd name="T24" fmla="*/ 7 w 9"/>
                    <a:gd name="T25" fmla="*/ 0 h 17"/>
                    <a:gd name="T26" fmla="*/ 7 w 9"/>
                    <a:gd name="T2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7">
                      <a:moveTo>
                        <a:pt x="7" y="0"/>
                      </a:moveTo>
                      <a:lnTo>
                        <a:pt x="5" y="1"/>
                      </a:lnTo>
                      <a:lnTo>
                        <a:pt x="4" y="7"/>
                      </a:lnTo>
                      <a:lnTo>
                        <a:pt x="3" y="10"/>
                      </a:lnTo>
                      <a:lnTo>
                        <a:pt x="0" y="15"/>
                      </a:lnTo>
                      <a:lnTo>
                        <a:pt x="3" y="17"/>
                      </a:lnTo>
                      <a:lnTo>
                        <a:pt x="5" y="14"/>
                      </a:lnTo>
                      <a:lnTo>
                        <a:pt x="7" y="14"/>
                      </a:lnTo>
                      <a:lnTo>
                        <a:pt x="7" y="12"/>
                      </a:lnTo>
                      <a:lnTo>
                        <a:pt x="6" y="8"/>
                      </a:lnTo>
                      <a:lnTo>
                        <a:pt x="6" y="6"/>
                      </a:lnTo>
                      <a:lnTo>
                        <a:pt x="9" y="3"/>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01" name="Freeform 163">
                  <a:extLst>
                    <a:ext uri="{FF2B5EF4-FFF2-40B4-BE49-F238E27FC236}">
                      <a16:creationId xmlns:a16="http://schemas.microsoft.com/office/drawing/2014/main" id="{03DAD3C4-CE76-43DD-8DD5-D08A6CC3A804}"/>
                    </a:ext>
                  </a:extLst>
                </p:cNvPr>
                <p:cNvSpPr>
                  <a:spLocks/>
                </p:cNvSpPr>
                <p:nvPr/>
              </p:nvSpPr>
              <p:spPr bwMode="auto">
                <a:xfrm>
                  <a:off x="5368" y="2922"/>
                  <a:ext cx="2" cy="2"/>
                </a:xfrm>
                <a:custGeom>
                  <a:avLst/>
                  <a:gdLst>
                    <a:gd name="T0" fmla="*/ 0 w 2"/>
                    <a:gd name="T1" fmla="*/ 1 h 2"/>
                    <a:gd name="T2" fmla="*/ 0 w 2"/>
                    <a:gd name="T3" fmla="*/ 2 h 2"/>
                    <a:gd name="T4" fmla="*/ 2 w 2"/>
                    <a:gd name="T5" fmla="*/ 0 h 2"/>
                    <a:gd name="T6" fmla="*/ 0 w 2"/>
                    <a:gd name="T7" fmla="*/ 1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lnTo>
                        <a:pt x="0" y="2"/>
                      </a:lnTo>
                      <a:lnTo>
                        <a:pt x="2" y="0"/>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02" name="Freeform 164">
                  <a:extLst>
                    <a:ext uri="{FF2B5EF4-FFF2-40B4-BE49-F238E27FC236}">
                      <a16:creationId xmlns:a16="http://schemas.microsoft.com/office/drawing/2014/main" id="{9723265D-E1D4-D46F-53F8-013A1BE7DAF6}"/>
                    </a:ext>
                  </a:extLst>
                </p:cNvPr>
                <p:cNvSpPr>
                  <a:spLocks/>
                </p:cNvSpPr>
                <p:nvPr/>
              </p:nvSpPr>
              <p:spPr bwMode="auto">
                <a:xfrm>
                  <a:off x="5369" y="2861"/>
                  <a:ext cx="3" cy="3"/>
                </a:xfrm>
                <a:custGeom>
                  <a:avLst/>
                  <a:gdLst>
                    <a:gd name="T0" fmla="*/ 1 w 3"/>
                    <a:gd name="T1" fmla="*/ 0 h 3"/>
                    <a:gd name="T2" fmla="*/ 0 w 3"/>
                    <a:gd name="T3" fmla="*/ 1 h 3"/>
                    <a:gd name="T4" fmla="*/ 2 w 3"/>
                    <a:gd name="T5" fmla="*/ 3 h 3"/>
                    <a:gd name="T6" fmla="*/ 3 w 3"/>
                    <a:gd name="T7" fmla="*/ 0 h 3"/>
                    <a:gd name="T8" fmla="*/ 1 w 3"/>
                    <a:gd name="T9" fmla="*/ 0 h 3"/>
                    <a:gd name="T10" fmla="*/ 1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1" y="0"/>
                      </a:moveTo>
                      <a:lnTo>
                        <a:pt x="0" y="1"/>
                      </a:lnTo>
                      <a:lnTo>
                        <a:pt x="2" y="3"/>
                      </a:lnTo>
                      <a:lnTo>
                        <a:pt x="3" y="0"/>
                      </a:lnTo>
                      <a:lnTo>
                        <a:pt x="1" y="0"/>
                      </a:ln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03" name="Freeform 165">
                  <a:extLst>
                    <a:ext uri="{FF2B5EF4-FFF2-40B4-BE49-F238E27FC236}">
                      <a16:creationId xmlns:a16="http://schemas.microsoft.com/office/drawing/2014/main" id="{7E6D6D2D-9290-F26C-0C6F-8FDF65A3B83F}"/>
                    </a:ext>
                  </a:extLst>
                </p:cNvPr>
                <p:cNvSpPr>
                  <a:spLocks/>
                </p:cNvSpPr>
                <p:nvPr/>
              </p:nvSpPr>
              <p:spPr bwMode="auto">
                <a:xfrm>
                  <a:off x="5370" y="2918"/>
                  <a:ext cx="2" cy="3"/>
                </a:xfrm>
                <a:custGeom>
                  <a:avLst/>
                  <a:gdLst>
                    <a:gd name="T0" fmla="*/ 0 w 2"/>
                    <a:gd name="T1" fmla="*/ 2 h 3"/>
                    <a:gd name="T2" fmla="*/ 0 w 2"/>
                    <a:gd name="T3" fmla="*/ 3 h 3"/>
                    <a:gd name="T4" fmla="*/ 2 w 2"/>
                    <a:gd name="T5" fmla="*/ 0 h 3"/>
                    <a:gd name="T6" fmla="*/ 0 w 2"/>
                    <a:gd name="T7" fmla="*/ 2 h 3"/>
                    <a:gd name="T8" fmla="*/ 0 w 2"/>
                    <a:gd name="T9" fmla="*/ 2 h 3"/>
                  </a:gdLst>
                  <a:ahLst/>
                  <a:cxnLst>
                    <a:cxn ang="0">
                      <a:pos x="T0" y="T1"/>
                    </a:cxn>
                    <a:cxn ang="0">
                      <a:pos x="T2" y="T3"/>
                    </a:cxn>
                    <a:cxn ang="0">
                      <a:pos x="T4" y="T5"/>
                    </a:cxn>
                    <a:cxn ang="0">
                      <a:pos x="T6" y="T7"/>
                    </a:cxn>
                    <a:cxn ang="0">
                      <a:pos x="T8" y="T9"/>
                    </a:cxn>
                  </a:cxnLst>
                  <a:rect l="0" t="0" r="r" b="b"/>
                  <a:pathLst>
                    <a:path w="2" h="3">
                      <a:moveTo>
                        <a:pt x="0" y="2"/>
                      </a:moveTo>
                      <a:lnTo>
                        <a:pt x="0" y="3"/>
                      </a:lnTo>
                      <a:lnTo>
                        <a:pt x="2"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04" name="Freeform 166">
                  <a:extLst>
                    <a:ext uri="{FF2B5EF4-FFF2-40B4-BE49-F238E27FC236}">
                      <a16:creationId xmlns:a16="http://schemas.microsoft.com/office/drawing/2014/main" id="{D5B4B9E8-D92A-52CB-8B0E-5FAD0DEF69DB}"/>
                    </a:ext>
                  </a:extLst>
                </p:cNvPr>
                <p:cNvSpPr>
                  <a:spLocks/>
                </p:cNvSpPr>
                <p:nvPr/>
              </p:nvSpPr>
              <p:spPr bwMode="auto">
                <a:xfrm>
                  <a:off x="5371" y="2634"/>
                  <a:ext cx="13" cy="9"/>
                </a:xfrm>
                <a:custGeom>
                  <a:avLst/>
                  <a:gdLst>
                    <a:gd name="T0" fmla="*/ 2 w 13"/>
                    <a:gd name="T1" fmla="*/ 0 h 9"/>
                    <a:gd name="T2" fmla="*/ 1 w 13"/>
                    <a:gd name="T3" fmla="*/ 0 h 9"/>
                    <a:gd name="T4" fmla="*/ 1 w 13"/>
                    <a:gd name="T5" fmla="*/ 4 h 9"/>
                    <a:gd name="T6" fmla="*/ 0 w 13"/>
                    <a:gd name="T7" fmla="*/ 7 h 9"/>
                    <a:gd name="T8" fmla="*/ 1 w 13"/>
                    <a:gd name="T9" fmla="*/ 7 h 9"/>
                    <a:gd name="T10" fmla="*/ 4 w 13"/>
                    <a:gd name="T11" fmla="*/ 4 h 9"/>
                    <a:gd name="T12" fmla="*/ 6 w 13"/>
                    <a:gd name="T13" fmla="*/ 4 h 9"/>
                    <a:gd name="T14" fmla="*/ 8 w 13"/>
                    <a:gd name="T15" fmla="*/ 8 h 9"/>
                    <a:gd name="T16" fmla="*/ 12 w 13"/>
                    <a:gd name="T17" fmla="*/ 9 h 9"/>
                    <a:gd name="T18" fmla="*/ 12 w 13"/>
                    <a:gd name="T19" fmla="*/ 7 h 9"/>
                    <a:gd name="T20" fmla="*/ 13 w 13"/>
                    <a:gd name="T21" fmla="*/ 7 h 9"/>
                    <a:gd name="T22" fmla="*/ 12 w 13"/>
                    <a:gd name="T23" fmla="*/ 6 h 9"/>
                    <a:gd name="T24" fmla="*/ 9 w 13"/>
                    <a:gd name="T25" fmla="*/ 4 h 9"/>
                    <a:gd name="T26" fmla="*/ 7 w 13"/>
                    <a:gd name="T27" fmla="*/ 1 h 9"/>
                    <a:gd name="T28" fmla="*/ 5 w 13"/>
                    <a:gd name="T29" fmla="*/ 0 h 9"/>
                    <a:gd name="T30" fmla="*/ 2 w 13"/>
                    <a:gd name="T31" fmla="*/ 0 h 9"/>
                    <a:gd name="T32" fmla="*/ 2 w 13"/>
                    <a:gd name="T3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9">
                      <a:moveTo>
                        <a:pt x="2" y="0"/>
                      </a:moveTo>
                      <a:lnTo>
                        <a:pt x="1" y="0"/>
                      </a:lnTo>
                      <a:lnTo>
                        <a:pt x="1" y="4"/>
                      </a:lnTo>
                      <a:lnTo>
                        <a:pt x="0" y="7"/>
                      </a:lnTo>
                      <a:lnTo>
                        <a:pt x="1" y="7"/>
                      </a:lnTo>
                      <a:lnTo>
                        <a:pt x="4" y="4"/>
                      </a:lnTo>
                      <a:lnTo>
                        <a:pt x="6" y="4"/>
                      </a:lnTo>
                      <a:lnTo>
                        <a:pt x="8" y="8"/>
                      </a:lnTo>
                      <a:lnTo>
                        <a:pt x="12" y="9"/>
                      </a:lnTo>
                      <a:lnTo>
                        <a:pt x="12" y="7"/>
                      </a:lnTo>
                      <a:lnTo>
                        <a:pt x="13" y="7"/>
                      </a:lnTo>
                      <a:lnTo>
                        <a:pt x="12" y="6"/>
                      </a:lnTo>
                      <a:lnTo>
                        <a:pt x="9" y="4"/>
                      </a:lnTo>
                      <a:lnTo>
                        <a:pt x="7" y="1"/>
                      </a:lnTo>
                      <a:lnTo>
                        <a:pt x="5"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05" name="Freeform 167">
                  <a:extLst>
                    <a:ext uri="{FF2B5EF4-FFF2-40B4-BE49-F238E27FC236}">
                      <a16:creationId xmlns:a16="http://schemas.microsoft.com/office/drawing/2014/main" id="{2D296978-F528-69FC-5F1C-8CDBFC200BCC}"/>
                    </a:ext>
                  </a:extLst>
                </p:cNvPr>
                <p:cNvSpPr>
                  <a:spLocks/>
                </p:cNvSpPr>
                <p:nvPr/>
              </p:nvSpPr>
              <p:spPr bwMode="auto">
                <a:xfrm>
                  <a:off x="5373" y="2918"/>
                  <a:ext cx="8" cy="5"/>
                </a:xfrm>
                <a:custGeom>
                  <a:avLst/>
                  <a:gdLst>
                    <a:gd name="T0" fmla="*/ 2 w 8"/>
                    <a:gd name="T1" fmla="*/ 2 h 5"/>
                    <a:gd name="T2" fmla="*/ 0 w 8"/>
                    <a:gd name="T3" fmla="*/ 4 h 5"/>
                    <a:gd name="T4" fmla="*/ 3 w 8"/>
                    <a:gd name="T5" fmla="*/ 5 h 5"/>
                    <a:gd name="T6" fmla="*/ 5 w 8"/>
                    <a:gd name="T7" fmla="*/ 4 h 5"/>
                    <a:gd name="T8" fmla="*/ 8 w 8"/>
                    <a:gd name="T9" fmla="*/ 2 h 5"/>
                    <a:gd name="T10" fmla="*/ 5 w 8"/>
                    <a:gd name="T11" fmla="*/ 0 h 5"/>
                    <a:gd name="T12" fmla="*/ 2 w 8"/>
                    <a:gd name="T13" fmla="*/ 2 h 5"/>
                    <a:gd name="T14" fmla="*/ 2 w 8"/>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2" y="2"/>
                      </a:moveTo>
                      <a:lnTo>
                        <a:pt x="0" y="4"/>
                      </a:lnTo>
                      <a:lnTo>
                        <a:pt x="3" y="5"/>
                      </a:lnTo>
                      <a:lnTo>
                        <a:pt x="5" y="4"/>
                      </a:lnTo>
                      <a:lnTo>
                        <a:pt x="8" y="2"/>
                      </a:lnTo>
                      <a:lnTo>
                        <a:pt x="5" y="0"/>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06" name="Freeform 168">
                  <a:extLst>
                    <a:ext uri="{FF2B5EF4-FFF2-40B4-BE49-F238E27FC236}">
                      <a16:creationId xmlns:a16="http://schemas.microsoft.com/office/drawing/2014/main" id="{66A29CCC-12A9-7C83-BE1B-4FFBB121EA7B}"/>
                    </a:ext>
                  </a:extLst>
                </p:cNvPr>
                <p:cNvSpPr>
                  <a:spLocks/>
                </p:cNvSpPr>
                <p:nvPr/>
              </p:nvSpPr>
              <p:spPr bwMode="auto">
                <a:xfrm>
                  <a:off x="5373" y="2651"/>
                  <a:ext cx="11" cy="25"/>
                </a:xfrm>
                <a:custGeom>
                  <a:avLst/>
                  <a:gdLst>
                    <a:gd name="T0" fmla="*/ 5 w 11"/>
                    <a:gd name="T1" fmla="*/ 17 h 25"/>
                    <a:gd name="T2" fmla="*/ 5 w 11"/>
                    <a:gd name="T3" fmla="*/ 16 h 25"/>
                    <a:gd name="T4" fmla="*/ 8 w 11"/>
                    <a:gd name="T5" fmla="*/ 14 h 25"/>
                    <a:gd name="T6" fmla="*/ 10 w 11"/>
                    <a:gd name="T7" fmla="*/ 11 h 25"/>
                    <a:gd name="T8" fmla="*/ 11 w 11"/>
                    <a:gd name="T9" fmla="*/ 2 h 25"/>
                    <a:gd name="T10" fmla="*/ 11 w 11"/>
                    <a:gd name="T11" fmla="*/ 0 h 25"/>
                    <a:gd name="T12" fmla="*/ 8 w 11"/>
                    <a:gd name="T13" fmla="*/ 2 h 25"/>
                    <a:gd name="T14" fmla="*/ 8 w 11"/>
                    <a:gd name="T15" fmla="*/ 6 h 25"/>
                    <a:gd name="T16" fmla="*/ 4 w 11"/>
                    <a:gd name="T17" fmla="*/ 13 h 25"/>
                    <a:gd name="T18" fmla="*/ 3 w 11"/>
                    <a:gd name="T19" fmla="*/ 16 h 25"/>
                    <a:gd name="T20" fmla="*/ 2 w 11"/>
                    <a:gd name="T21" fmla="*/ 16 h 25"/>
                    <a:gd name="T22" fmla="*/ 0 w 11"/>
                    <a:gd name="T23" fmla="*/ 19 h 25"/>
                    <a:gd name="T24" fmla="*/ 0 w 11"/>
                    <a:gd name="T25" fmla="*/ 25 h 25"/>
                    <a:gd name="T26" fmla="*/ 3 w 11"/>
                    <a:gd name="T27" fmla="*/ 23 h 25"/>
                    <a:gd name="T28" fmla="*/ 5 w 11"/>
                    <a:gd name="T29" fmla="*/ 17 h 25"/>
                    <a:gd name="T30" fmla="*/ 5 w 11"/>
                    <a:gd name="T31"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25">
                      <a:moveTo>
                        <a:pt x="5" y="17"/>
                      </a:moveTo>
                      <a:lnTo>
                        <a:pt x="5" y="16"/>
                      </a:lnTo>
                      <a:lnTo>
                        <a:pt x="8" y="14"/>
                      </a:lnTo>
                      <a:lnTo>
                        <a:pt x="10" y="11"/>
                      </a:lnTo>
                      <a:lnTo>
                        <a:pt x="11" y="2"/>
                      </a:lnTo>
                      <a:lnTo>
                        <a:pt x="11" y="0"/>
                      </a:lnTo>
                      <a:lnTo>
                        <a:pt x="8" y="2"/>
                      </a:lnTo>
                      <a:lnTo>
                        <a:pt x="8" y="6"/>
                      </a:lnTo>
                      <a:lnTo>
                        <a:pt x="4" y="13"/>
                      </a:lnTo>
                      <a:lnTo>
                        <a:pt x="3" y="16"/>
                      </a:lnTo>
                      <a:lnTo>
                        <a:pt x="2" y="16"/>
                      </a:lnTo>
                      <a:lnTo>
                        <a:pt x="0" y="19"/>
                      </a:lnTo>
                      <a:lnTo>
                        <a:pt x="0" y="25"/>
                      </a:lnTo>
                      <a:lnTo>
                        <a:pt x="3" y="23"/>
                      </a:lnTo>
                      <a:lnTo>
                        <a:pt x="5" y="17"/>
                      </a:lnTo>
                      <a:lnTo>
                        <a:pt x="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07" name="Freeform 169">
                  <a:extLst>
                    <a:ext uri="{FF2B5EF4-FFF2-40B4-BE49-F238E27FC236}">
                      <a16:creationId xmlns:a16="http://schemas.microsoft.com/office/drawing/2014/main" id="{8EE16CA2-3C94-90D1-1395-8B3406F4BB12}"/>
                    </a:ext>
                  </a:extLst>
                </p:cNvPr>
                <p:cNvSpPr>
                  <a:spLocks/>
                </p:cNvSpPr>
                <p:nvPr/>
              </p:nvSpPr>
              <p:spPr bwMode="auto">
                <a:xfrm>
                  <a:off x="5377" y="2921"/>
                  <a:ext cx="51" cy="27"/>
                </a:xfrm>
                <a:custGeom>
                  <a:avLst/>
                  <a:gdLst>
                    <a:gd name="T0" fmla="*/ 0 w 51"/>
                    <a:gd name="T1" fmla="*/ 22 h 27"/>
                    <a:gd name="T2" fmla="*/ 0 w 51"/>
                    <a:gd name="T3" fmla="*/ 27 h 27"/>
                    <a:gd name="T4" fmla="*/ 3 w 51"/>
                    <a:gd name="T5" fmla="*/ 27 h 27"/>
                    <a:gd name="T6" fmla="*/ 8 w 51"/>
                    <a:gd name="T7" fmla="*/ 25 h 27"/>
                    <a:gd name="T8" fmla="*/ 11 w 51"/>
                    <a:gd name="T9" fmla="*/ 25 h 27"/>
                    <a:gd name="T10" fmla="*/ 19 w 51"/>
                    <a:gd name="T11" fmla="*/ 18 h 27"/>
                    <a:gd name="T12" fmla="*/ 20 w 51"/>
                    <a:gd name="T13" fmla="*/ 14 h 27"/>
                    <a:gd name="T14" fmla="*/ 25 w 51"/>
                    <a:gd name="T15" fmla="*/ 12 h 27"/>
                    <a:gd name="T16" fmla="*/ 33 w 51"/>
                    <a:gd name="T17" fmla="*/ 10 h 27"/>
                    <a:gd name="T18" fmla="*/ 35 w 51"/>
                    <a:gd name="T19" fmla="*/ 9 h 27"/>
                    <a:gd name="T20" fmla="*/ 37 w 51"/>
                    <a:gd name="T21" fmla="*/ 8 h 27"/>
                    <a:gd name="T22" fmla="*/ 43 w 51"/>
                    <a:gd name="T23" fmla="*/ 5 h 27"/>
                    <a:gd name="T24" fmla="*/ 45 w 51"/>
                    <a:gd name="T25" fmla="*/ 4 h 27"/>
                    <a:gd name="T26" fmla="*/ 49 w 51"/>
                    <a:gd name="T27" fmla="*/ 2 h 27"/>
                    <a:gd name="T28" fmla="*/ 51 w 51"/>
                    <a:gd name="T29" fmla="*/ 0 h 27"/>
                    <a:gd name="T30" fmla="*/ 45 w 51"/>
                    <a:gd name="T31" fmla="*/ 0 h 27"/>
                    <a:gd name="T32" fmla="*/ 43 w 51"/>
                    <a:gd name="T33" fmla="*/ 1 h 27"/>
                    <a:gd name="T34" fmla="*/ 37 w 51"/>
                    <a:gd name="T35" fmla="*/ 1 h 27"/>
                    <a:gd name="T36" fmla="*/ 34 w 51"/>
                    <a:gd name="T37" fmla="*/ 2 h 27"/>
                    <a:gd name="T38" fmla="*/ 32 w 51"/>
                    <a:gd name="T39" fmla="*/ 1 h 27"/>
                    <a:gd name="T40" fmla="*/ 21 w 51"/>
                    <a:gd name="T41" fmla="*/ 3 h 27"/>
                    <a:gd name="T42" fmla="*/ 19 w 51"/>
                    <a:gd name="T43" fmla="*/ 8 h 27"/>
                    <a:gd name="T44" fmla="*/ 15 w 51"/>
                    <a:gd name="T45" fmla="*/ 10 h 27"/>
                    <a:gd name="T46" fmla="*/ 9 w 51"/>
                    <a:gd name="T47" fmla="*/ 11 h 27"/>
                    <a:gd name="T48" fmla="*/ 4 w 51"/>
                    <a:gd name="T49" fmla="*/ 14 h 27"/>
                    <a:gd name="T50" fmla="*/ 1 w 51"/>
                    <a:gd name="T51" fmla="*/ 17 h 27"/>
                    <a:gd name="T52" fmla="*/ 0 w 51"/>
                    <a:gd name="T53" fmla="*/ 22 h 27"/>
                    <a:gd name="T54" fmla="*/ 0 w 51"/>
                    <a:gd name="T55"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 h="27">
                      <a:moveTo>
                        <a:pt x="0" y="22"/>
                      </a:moveTo>
                      <a:lnTo>
                        <a:pt x="0" y="27"/>
                      </a:lnTo>
                      <a:lnTo>
                        <a:pt x="3" y="27"/>
                      </a:lnTo>
                      <a:lnTo>
                        <a:pt x="8" y="25"/>
                      </a:lnTo>
                      <a:lnTo>
                        <a:pt x="11" y="25"/>
                      </a:lnTo>
                      <a:lnTo>
                        <a:pt x="19" y="18"/>
                      </a:lnTo>
                      <a:lnTo>
                        <a:pt x="20" y="14"/>
                      </a:lnTo>
                      <a:lnTo>
                        <a:pt x="25" y="12"/>
                      </a:lnTo>
                      <a:lnTo>
                        <a:pt x="33" y="10"/>
                      </a:lnTo>
                      <a:lnTo>
                        <a:pt x="35" y="9"/>
                      </a:lnTo>
                      <a:lnTo>
                        <a:pt x="37" y="8"/>
                      </a:lnTo>
                      <a:lnTo>
                        <a:pt x="43" y="5"/>
                      </a:lnTo>
                      <a:lnTo>
                        <a:pt x="45" y="4"/>
                      </a:lnTo>
                      <a:lnTo>
                        <a:pt x="49" y="2"/>
                      </a:lnTo>
                      <a:lnTo>
                        <a:pt x="51" y="0"/>
                      </a:lnTo>
                      <a:lnTo>
                        <a:pt x="45" y="0"/>
                      </a:lnTo>
                      <a:lnTo>
                        <a:pt x="43" y="1"/>
                      </a:lnTo>
                      <a:lnTo>
                        <a:pt x="37" y="1"/>
                      </a:lnTo>
                      <a:lnTo>
                        <a:pt x="34" y="2"/>
                      </a:lnTo>
                      <a:lnTo>
                        <a:pt x="32" y="1"/>
                      </a:lnTo>
                      <a:lnTo>
                        <a:pt x="21" y="3"/>
                      </a:lnTo>
                      <a:lnTo>
                        <a:pt x="19" y="8"/>
                      </a:lnTo>
                      <a:lnTo>
                        <a:pt x="15" y="10"/>
                      </a:lnTo>
                      <a:lnTo>
                        <a:pt x="9" y="11"/>
                      </a:lnTo>
                      <a:lnTo>
                        <a:pt x="4" y="14"/>
                      </a:lnTo>
                      <a:lnTo>
                        <a:pt x="1" y="17"/>
                      </a:lnTo>
                      <a:lnTo>
                        <a:pt x="0" y="22"/>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08" name="Freeform 170">
                  <a:extLst>
                    <a:ext uri="{FF2B5EF4-FFF2-40B4-BE49-F238E27FC236}">
                      <a16:creationId xmlns:a16="http://schemas.microsoft.com/office/drawing/2014/main" id="{F5A412C2-07D2-E12B-7BBF-6A9FE29660C9}"/>
                    </a:ext>
                  </a:extLst>
                </p:cNvPr>
                <p:cNvSpPr>
                  <a:spLocks/>
                </p:cNvSpPr>
                <p:nvPr/>
              </p:nvSpPr>
              <p:spPr bwMode="auto">
                <a:xfrm>
                  <a:off x="5380" y="2666"/>
                  <a:ext cx="10" cy="8"/>
                </a:xfrm>
                <a:custGeom>
                  <a:avLst/>
                  <a:gdLst>
                    <a:gd name="T0" fmla="*/ 1 w 10"/>
                    <a:gd name="T1" fmla="*/ 8 h 8"/>
                    <a:gd name="T2" fmla="*/ 6 w 10"/>
                    <a:gd name="T3" fmla="*/ 8 h 8"/>
                    <a:gd name="T4" fmla="*/ 8 w 10"/>
                    <a:gd name="T5" fmla="*/ 8 h 8"/>
                    <a:gd name="T6" fmla="*/ 10 w 10"/>
                    <a:gd name="T7" fmla="*/ 6 h 8"/>
                    <a:gd name="T8" fmla="*/ 10 w 10"/>
                    <a:gd name="T9" fmla="*/ 2 h 8"/>
                    <a:gd name="T10" fmla="*/ 8 w 10"/>
                    <a:gd name="T11" fmla="*/ 0 h 8"/>
                    <a:gd name="T12" fmla="*/ 5 w 10"/>
                    <a:gd name="T13" fmla="*/ 0 h 8"/>
                    <a:gd name="T14" fmla="*/ 4 w 10"/>
                    <a:gd name="T15" fmla="*/ 1 h 8"/>
                    <a:gd name="T16" fmla="*/ 4 w 10"/>
                    <a:gd name="T17" fmla="*/ 2 h 8"/>
                    <a:gd name="T18" fmla="*/ 0 w 10"/>
                    <a:gd name="T19" fmla="*/ 3 h 8"/>
                    <a:gd name="T20" fmla="*/ 1 w 10"/>
                    <a:gd name="T21" fmla="*/ 8 h 8"/>
                    <a:gd name="T22" fmla="*/ 1 w 10"/>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1" y="8"/>
                      </a:moveTo>
                      <a:lnTo>
                        <a:pt x="6" y="8"/>
                      </a:lnTo>
                      <a:lnTo>
                        <a:pt x="8" y="8"/>
                      </a:lnTo>
                      <a:lnTo>
                        <a:pt x="10" y="6"/>
                      </a:lnTo>
                      <a:lnTo>
                        <a:pt x="10" y="2"/>
                      </a:lnTo>
                      <a:lnTo>
                        <a:pt x="8" y="0"/>
                      </a:lnTo>
                      <a:lnTo>
                        <a:pt x="5" y="0"/>
                      </a:lnTo>
                      <a:lnTo>
                        <a:pt x="4" y="1"/>
                      </a:lnTo>
                      <a:lnTo>
                        <a:pt x="4" y="2"/>
                      </a:lnTo>
                      <a:lnTo>
                        <a:pt x="0" y="3"/>
                      </a:lnTo>
                      <a:lnTo>
                        <a:pt x="1" y="8"/>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09" name="Freeform 171">
                  <a:extLst>
                    <a:ext uri="{FF2B5EF4-FFF2-40B4-BE49-F238E27FC236}">
                      <a16:creationId xmlns:a16="http://schemas.microsoft.com/office/drawing/2014/main" id="{129209C2-D55E-C078-D6D0-412952D195BF}"/>
                    </a:ext>
                  </a:extLst>
                </p:cNvPr>
                <p:cNvSpPr>
                  <a:spLocks/>
                </p:cNvSpPr>
                <p:nvPr/>
              </p:nvSpPr>
              <p:spPr bwMode="auto">
                <a:xfrm>
                  <a:off x="5383" y="2920"/>
                  <a:ext cx="2" cy="2"/>
                </a:xfrm>
                <a:custGeom>
                  <a:avLst/>
                  <a:gdLst>
                    <a:gd name="T0" fmla="*/ 0 w 2"/>
                    <a:gd name="T1" fmla="*/ 1 h 2"/>
                    <a:gd name="T2" fmla="*/ 0 w 2"/>
                    <a:gd name="T3" fmla="*/ 2 h 2"/>
                    <a:gd name="T4" fmla="*/ 2 w 2"/>
                    <a:gd name="T5" fmla="*/ 2 h 2"/>
                    <a:gd name="T6" fmla="*/ 2 w 2"/>
                    <a:gd name="T7" fmla="*/ 0 h 2"/>
                    <a:gd name="T8" fmla="*/ 0 w 2"/>
                    <a:gd name="T9" fmla="*/ 1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lnTo>
                        <a:pt x="0" y="2"/>
                      </a:lnTo>
                      <a:lnTo>
                        <a:pt x="2" y="2"/>
                      </a:lnTo>
                      <a:lnTo>
                        <a:pt x="2" y="0"/>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10" name="Freeform 172">
                  <a:extLst>
                    <a:ext uri="{FF2B5EF4-FFF2-40B4-BE49-F238E27FC236}">
                      <a16:creationId xmlns:a16="http://schemas.microsoft.com/office/drawing/2014/main" id="{6380C729-9C30-6C4C-256F-61924636A62D}"/>
                    </a:ext>
                  </a:extLst>
                </p:cNvPr>
                <p:cNvSpPr>
                  <a:spLocks/>
                </p:cNvSpPr>
                <p:nvPr/>
              </p:nvSpPr>
              <p:spPr bwMode="auto">
                <a:xfrm>
                  <a:off x="5384" y="2613"/>
                  <a:ext cx="4" cy="6"/>
                </a:xfrm>
                <a:custGeom>
                  <a:avLst/>
                  <a:gdLst>
                    <a:gd name="T0" fmla="*/ 2 w 4"/>
                    <a:gd name="T1" fmla="*/ 6 h 6"/>
                    <a:gd name="T2" fmla="*/ 4 w 4"/>
                    <a:gd name="T3" fmla="*/ 4 h 6"/>
                    <a:gd name="T4" fmla="*/ 4 w 4"/>
                    <a:gd name="T5" fmla="*/ 2 h 6"/>
                    <a:gd name="T6" fmla="*/ 2 w 4"/>
                    <a:gd name="T7" fmla="*/ 0 h 6"/>
                    <a:gd name="T8" fmla="*/ 0 w 4"/>
                    <a:gd name="T9" fmla="*/ 4 h 6"/>
                    <a:gd name="T10" fmla="*/ 2 w 4"/>
                    <a:gd name="T11" fmla="*/ 6 h 6"/>
                    <a:gd name="T12" fmla="*/ 2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6"/>
                      </a:moveTo>
                      <a:lnTo>
                        <a:pt x="4" y="4"/>
                      </a:lnTo>
                      <a:lnTo>
                        <a:pt x="4" y="2"/>
                      </a:lnTo>
                      <a:lnTo>
                        <a:pt x="2" y="0"/>
                      </a:lnTo>
                      <a:lnTo>
                        <a:pt x="0" y="4"/>
                      </a:lnTo>
                      <a:lnTo>
                        <a:pt x="2" y="6"/>
                      </a:lnTo>
                      <a:lnTo>
                        <a:pt x="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11" name="Freeform 173">
                  <a:extLst>
                    <a:ext uri="{FF2B5EF4-FFF2-40B4-BE49-F238E27FC236}">
                      <a16:creationId xmlns:a16="http://schemas.microsoft.com/office/drawing/2014/main" id="{A4BF5DDC-19E4-A568-5D51-839CE8A17DFB}"/>
                    </a:ext>
                  </a:extLst>
                </p:cNvPr>
                <p:cNvSpPr>
                  <a:spLocks/>
                </p:cNvSpPr>
                <p:nvPr/>
              </p:nvSpPr>
              <p:spPr bwMode="auto">
                <a:xfrm>
                  <a:off x="5386" y="2633"/>
                  <a:ext cx="20" cy="20"/>
                </a:xfrm>
                <a:custGeom>
                  <a:avLst/>
                  <a:gdLst>
                    <a:gd name="T0" fmla="*/ 14 w 20"/>
                    <a:gd name="T1" fmla="*/ 1 h 20"/>
                    <a:gd name="T2" fmla="*/ 11 w 20"/>
                    <a:gd name="T3" fmla="*/ 0 h 20"/>
                    <a:gd name="T4" fmla="*/ 9 w 20"/>
                    <a:gd name="T5" fmla="*/ 0 h 20"/>
                    <a:gd name="T6" fmla="*/ 9 w 20"/>
                    <a:gd name="T7" fmla="*/ 0 h 20"/>
                    <a:gd name="T8" fmla="*/ 6 w 20"/>
                    <a:gd name="T9" fmla="*/ 1 h 20"/>
                    <a:gd name="T10" fmla="*/ 3 w 20"/>
                    <a:gd name="T11" fmla="*/ 0 h 20"/>
                    <a:gd name="T12" fmla="*/ 0 w 20"/>
                    <a:gd name="T13" fmla="*/ 1 h 20"/>
                    <a:gd name="T14" fmla="*/ 1 w 20"/>
                    <a:gd name="T15" fmla="*/ 3 h 20"/>
                    <a:gd name="T16" fmla="*/ 3 w 20"/>
                    <a:gd name="T17" fmla="*/ 6 h 20"/>
                    <a:gd name="T18" fmla="*/ 6 w 20"/>
                    <a:gd name="T19" fmla="*/ 7 h 20"/>
                    <a:gd name="T20" fmla="*/ 7 w 20"/>
                    <a:gd name="T21" fmla="*/ 8 h 20"/>
                    <a:gd name="T22" fmla="*/ 9 w 20"/>
                    <a:gd name="T23" fmla="*/ 11 h 20"/>
                    <a:gd name="T24" fmla="*/ 9 w 20"/>
                    <a:gd name="T25" fmla="*/ 14 h 20"/>
                    <a:gd name="T26" fmla="*/ 10 w 20"/>
                    <a:gd name="T27" fmla="*/ 16 h 20"/>
                    <a:gd name="T28" fmla="*/ 12 w 20"/>
                    <a:gd name="T29" fmla="*/ 18 h 20"/>
                    <a:gd name="T30" fmla="*/ 14 w 20"/>
                    <a:gd name="T31" fmla="*/ 20 h 20"/>
                    <a:gd name="T32" fmla="*/ 20 w 20"/>
                    <a:gd name="T33" fmla="*/ 19 h 20"/>
                    <a:gd name="T34" fmla="*/ 19 w 20"/>
                    <a:gd name="T35" fmla="*/ 16 h 20"/>
                    <a:gd name="T36" fmla="*/ 18 w 20"/>
                    <a:gd name="T37" fmla="*/ 16 h 20"/>
                    <a:gd name="T38" fmla="*/ 17 w 20"/>
                    <a:gd name="T39" fmla="*/ 14 h 20"/>
                    <a:gd name="T40" fmla="*/ 17 w 20"/>
                    <a:gd name="T41" fmla="*/ 9 h 20"/>
                    <a:gd name="T42" fmla="*/ 17 w 20"/>
                    <a:gd name="T43" fmla="*/ 7 h 20"/>
                    <a:gd name="T44" fmla="*/ 17 w 20"/>
                    <a:gd name="T45" fmla="*/ 6 h 20"/>
                    <a:gd name="T46" fmla="*/ 17 w 20"/>
                    <a:gd name="T47" fmla="*/ 6 h 20"/>
                    <a:gd name="T48" fmla="*/ 17 w 20"/>
                    <a:gd name="T49" fmla="*/ 5 h 20"/>
                    <a:gd name="T50" fmla="*/ 15 w 20"/>
                    <a:gd name="T51" fmla="*/ 3 h 20"/>
                    <a:gd name="T52" fmla="*/ 14 w 20"/>
                    <a:gd name="T53" fmla="*/ 1 h 20"/>
                    <a:gd name="T54" fmla="*/ 14 w 20"/>
                    <a:gd name="T5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20">
                      <a:moveTo>
                        <a:pt x="14" y="1"/>
                      </a:moveTo>
                      <a:lnTo>
                        <a:pt x="11" y="0"/>
                      </a:lnTo>
                      <a:lnTo>
                        <a:pt x="9" y="0"/>
                      </a:lnTo>
                      <a:lnTo>
                        <a:pt x="9" y="0"/>
                      </a:lnTo>
                      <a:lnTo>
                        <a:pt x="6" y="1"/>
                      </a:lnTo>
                      <a:lnTo>
                        <a:pt x="3" y="0"/>
                      </a:lnTo>
                      <a:lnTo>
                        <a:pt x="0" y="1"/>
                      </a:lnTo>
                      <a:lnTo>
                        <a:pt x="1" y="3"/>
                      </a:lnTo>
                      <a:lnTo>
                        <a:pt x="3" y="6"/>
                      </a:lnTo>
                      <a:lnTo>
                        <a:pt x="6" y="7"/>
                      </a:lnTo>
                      <a:lnTo>
                        <a:pt x="7" y="8"/>
                      </a:lnTo>
                      <a:lnTo>
                        <a:pt x="9" y="11"/>
                      </a:lnTo>
                      <a:lnTo>
                        <a:pt x="9" y="14"/>
                      </a:lnTo>
                      <a:lnTo>
                        <a:pt x="10" y="16"/>
                      </a:lnTo>
                      <a:lnTo>
                        <a:pt x="12" y="18"/>
                      </a:lnTo>
                      <a:lnTo>
                        <a:pt x="14" y="20"/>
                      </a:lnTo>
                      <a:lnTo>
                        <a:pt x="20" y="19"/>
                      </a:lnTo>
                      <a:lnTo>
                        <a:pt x="19" y="16"/>
                      </a:lnTo>
                      <a:lnTo>
                        <a:pt x="18" y="16"/>
                      </a:lnTo>
                      <a:lnTo>
                        <a:pt x="17" y="14"/>
                      </a:lnTo>
                      <a:lnTo>
                        <a:pt x="17" y="9"/>
                      </a:lnTo>
                      <a:lnTo>
                        <a:pt x="17" y="7"/>
                      </a:lnTo>
                      <a:lnTo>
                        <a:pt x="17" y="6"/>
                      </a:lnTo>
                      <a:lnTo>
                        <a:pt x="17" y="6"/>
                      </a:lnTo>
                      <a:lnTo>
                        <a:pt x="17" y="5"/>
                      </a:lnTo>
                      <a:lnTo>
                        <a:pt x="15" y="3"/>
                      </a:lnTo>
                      <a:lnTo>
                        <a:pt x="14" y="1"/>
                      </a:lnTo>
                      <a:lnTo>
                        <a:pt x="1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12" name="Freeform 174">
                  <a:extLst>
                    <a:ext uri="{FF2B5EF4-FFF2-40B4-BE49-F238E27FC236}">
                      <a16:creationId xmlns:a16="http://schemas.microsoft.com/office/drawing/2014/main" id="{B4AC207B-216D-4778-4923-E6AD348349A8}"/>
                    </a:ext>
                  </a:extLst>
                </p:cNvPr>
                <p:cNvSpPr>
                  <a:spLocks/>
                </p:cNvSpPr>
                <p:nvPr/>
              </p:nvSpPr>
              <p:spPr bwMode="auto">
                <a:xfrm>
                  <a:off x="5387" y="2645"/>
                  <a:ext cx="3" cy="3"/>
                </a:xfrm>
                <a:custGeom>
                  <a:avLst/>
                  <a:gdLst>
                    <a:gd name="T0" fmla="*/ 2 w 3"/>
                    <a:gd name="T1" fmla="*/ 3 h 3"/>
                    <a:gd name="T2" fmla="*/ 3 w 3"/>
                    <a:gd name="T3" fmla="*/ 0 h 3"/>
                    <a:gd name="T4" fmla="*/ 0 w 3"/>
                    <a:gd name="T5" fmla="*/ 0 h 3"/>
                    <a:gd name="T6" fmla="*/ 2 w 3"/>
                    <a:gd name="T7" fmla="*/ 3 h 3"/>
                    <a:gd name="T8" fmla="*/ 2 w 3"/>
                    <a:gd name="T9" fmla="*/ 3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lnTo>
                        <a:pt x="3" y="0"/>
                      </a:lnTo>
                      <a:lnTo>
                        <a:pt x="0" y="0"/>
                      </a:lnTo>
                      <a:lnTo>
                        <a:pt x="2" y="3"/>
                      </a:lnTo>
                      <a:lnTo>
                        <a:pt x="2" y="3"/>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13" name="Freeform 175">
                  <a:extLst>
                    <a:ext uri="{FF2B5EF4-FFF2-40B4-BE49-F238E27FC236}">
                      <a16:creationId xmlns:a16="http://schemas.microsoft.com/office/drawing/2014/main" id="{E7D74CB8-F404-0BCE-D659-568793D33AED}"/>
                    </a:ext>
                  </a:extLst>
                </p:cNvPr>
                <p:cNvSpPr>
                  <a:spLocks/>
                </p:cNvSpPr>
                <p:nvPr/>
              </p:nvSpPr>
              <p:spPr bwMode="auto">
                <a:xfrm>
                  <a:off x="5387" y="2917"/>
                  <a:ext cx="11" cy="5"/>
                </a:xfrm>
                <a:custGeom>
                  <a:avLst/>
                  <a:gdLst>
                    <a:gd name="T0" fmla="*/ 2 w 11"/>
                    <a:gd name="T1" fmla="*/ 0 h 5"/>
                    <a:gd name="T2" fmla="*/ 2 w 11"/>
                    <a:gd name="T3" fmla="*/ 1 h 5"/>
                    <a:gd name="T4" fmla="*/ 0 w 11"/>
                    <a:gd name="T5" fmla="*/ 5 h 5"/>
                    <a:gd name="T6" fmla="*/ 3 w 11"/>
                    <a:gd name="T7" fmla="*/ 5 h 5"/>
                    <a:gd name="T8" fmla="*/ 11 w 11"/>
                    <a:gd name="T9" fmla="*/ 4 h 5"/>
                    <a:gd name="T10" fmla="*/ 10 w 11"/>
                    <a:gd name="T11" fmla="*/ 0 h 5"/>
                    <a:gd name="T12" fmla="*/ 5 w 11"/>
                    <a:gd name="T13" fmla="*/ 0 h 5"/>
                    <a:gd name="T14" fmla="*/ 2 w 11"/>
                    <a:gd name="T15" fmla="*/ 0 h 5"/>
                    <a:gd name="T16" fmla="*/ 2 w 11"/>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2" y="0"/>
                      </a:moveTo>
                      <a:lnTo>
                        <a:pt x="2" y="1"/>
                      </a:lnTo>
                      <a:lnTo>
                        <a:pt x="0" y="5"/>
                      </a:lnTo>
                      <a:lnTo>
                        <a:pt x="3" y="5"/>
                      </a:lnTo>
                      <a:lnTo>
                        <a:pt x="11" y="4"/>
                      </a:lnTo>
                      <a:lnTo>
                        <a:pt x="10" y="0"/>
                      </a:lnTo>
                      <a:lnTo>
                        <a:pt x="5"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14" name="Freeform 176">
                  <a:extLst>
                    <a:ext uri="{FF2B5EF4-FFF2-40B4-BE49-F238E27FC236}">
                      <a16:creationId xmlns:a16="http://schemas.microsoft.com/office/drawing/2014/main" id="{88EC449C-90AC-2970-368A-14486131B1E4}"/>
                    </a:ext>
                  </a:extLst>
                </p:cNvPr>
                <p:cNvSpPr>
                  <a:spLocks/>
                </p:cNvSpPr>
                <p:nvPr/>
              </p:nvSpPr>
              <p:spPr bwMode="auto">
                <a:xfrm>
                  <a:off x="5388" y="2648"/>
                  <a:ext cx="10" cy="20"/>
                </a:xfrm>
                <a:custGeom>
                  <a:avLst/>
                  <a:gdLst>
                    <a:gd name="T0" fmla="*/ 5 w 10"/>
                    <a:gd name="T1" fmla="*/ 18 h 20"/>
                    <a:gd name="T2" fmla="*/ 8 w 10"/>
                    <a:gd name="T3" fmla="*/ 20 h 20"/>
                    <a:gd name="T4" fmla="*/ 8 w 10"/>
                    <a:gd name="T5" fmla="*/ 17 h 20"/>
                    <a:gd name="T6" fmla="*/ 10 w 10"/>
                    <a:gd name="T7" fmla="*/ 17 h 20"/>
                    <a:gd name="T8" fmla="*/ 10 w 10"/>
                    <a:gd name="T9" fmla="*/ 12 h 20"/>
                    <a:gd name="T10" fmla="*/ 9 w 10"/>
                    <a:gd name="T11" fmla="*/ 10 h 20"/>
                    <a:gd name="T12" fmla="*/ 9 w 10"/>
                    <a:gd name="T13" fmla="*/ 4 h 20"/>
                    <a:gd name="T14" fmla="*/ 8 w 10"/>
                    <a:gd name="T15" fmla="*/ 2 h 20"/>
                    <a:gd name="T16" fmla="*/ 6 w 10"/>
                    <a:gd name="T17" fmla="*/ 1 h 20"/>
                    <a:gd name="T18" fmla="*/ 2 w 10"/>
                    <a:gd name="T19" fmla="*/ 2 h 20"/>
                    <a:gd name="T20" fmla="*/ 0 w 10"/>
                    <a:gd name="T21" fmla="*/ 0 h 20"/>
                    <a:gd name="T22" fmla="*/ 0 w 10"/>
                    <a:gd name="T23" fmla="*/ 5 h 20"/>
                    <a:gd name="T24" fmla="*/ 0 w 10"/>
                    <a:gd name="T25" fmla="*/ 8 h 20"/>
                    <a:gd name="T26" fmla="*/ 4 w 10"/>
                    <a:gd name="T27" fmla="*/ 7 h 20"/>
                    <a:gd name="T28" fmla="*/ 6 w 10"/>
                    <a:gd name="T29" fmla="*/ 10 h 20"/>
                    <a:gd name="T30" fmla="*/ 6 w 10"/>
                    <a:gd name="T31" fmla="*/ 11 h 20"/>
                    <a:gd name="T32" fmla="*/ 5 w 10"/>
                    <a:gd name="T33" fmla="*/ 13 h 20"/>
                    <a:gd name="T34" fmla="*/ 6 w 10"/>
                    <a:gd name="T35" fmla="*/ 16 h 20"/>
                    <a:gd name="T36" fmla="*/ 5 w 10"/>
                    <a:gd name="T37" fmla="*/ 18 h 20"/>
                    <a:gd name="T38" fmla="*/ 5 w 10"/>
                    <a:gd name="T39"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20">
                      <a:moveTo>
                        <a:pt x="5" y="18"/>
                      </a:moveTo>
                      <a:lnTo>
                        <a:pt x="8" y="20"/>
                      </a:lnTo>
                      <a:lnTo>
                        <a:pt x="8" y="17"/>
                      </a:lnTo>
                      <a:lnTo>
                        <a:pt x="10" y="17"/>
                      </a:lnTo>
                      <a:lnTo>
                        <a:pt x="10" y="12"/>
                      </a:lnTo>
                      <a:lnTo>
                        <a:pt x="9" y="10"/>
                      </a:lnTo>
                      <a:lnTo>
                        <a:pt x="9" y="4"/>
                      </a:lnTo>
                      <a:lnTo>
                        <a:pt x="8" y="2"/>
                      </a:lnTo>
                      <a:lnTo>
                        <a:pt x="6" y="1"/>
                      </a:lnTo>
                      <a:lnTo>
                        <a:pt x="2" y="2"/>
                      </a:lnTo>
                      <a:lnTo>
                        <a:pt x="0" y="0"/>
                      </a:lnTo>
                      <a:lnTo>
                        <a:pt x="0" y="5"/>
                      </a:lnTo>
                      <a:lnTo>
                        <a:pt x="0" y="8"/>
                      </a:lnTo>
                      <a:lnTo>
                        <a:pt x="4" y="7"/>
                      </a:lnTo>
                      <a:lnTo>
                        <a:pt x="6" y="10"/>
                      </a:lnTo>
                      <a:lnTo>
                        <a:pt x="6" y="11"/>
                      </a:lnTo>
                      <a:lnTo>
                        <a:pt x="5" y="13"/>
                      </a:lnTo>
                      <a:lnTo>
                        <a:pt x="6" y="16"/>
                      </a:lnTo>
                      <a:lnTo>
                        <a:pt x="5" y="18"/>
                      </a:ln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15" name="Freeform 177">
                  <a:extLst>
                    <a:ext uri="{FF2B5EF4-FFF2-40B4-BE49-F238E27FC236}">
                      <a16:creationId xmlns:a16="http://schemas.microsoft.com/office/drawing/2014/main" id="{56D4E80B-3F84-2A65-21EF-CE1D83E2885F}"/>
                    </a:ext>
                  </a:extLst>
                </p:cNvPr>
                <p:cNvSpPr>
                  <a:spLocks/>
                </p:cNvSpPr>
                <p:nvPr/>
              </p:nvSpPr>
              <p:spPr bwMode="auto">
                <a:xfrm>
                  <a:off x="5407" y="2909"/>
                  <a:ext cx="14" cy="7"/>
                </a:xfrm>
                <a:custGeom>
                  <a:avLst/>
                  <a:gdLst>
                    <a:gd name="T0" fmla="*/ 3 w 14"/>
                    <a:gd name="T1" fmla="*/ 1 h 7"/>
                    <a:gd name="T2" fmla="*/ 0 w 14"/>
                    <a:gd name="T3" fmla="*/ 4 h 7"/>
                    <a:gd name="T4" fmla="*/ 0 w 14"/>
                    <a:gd name="T5" fmla="*/ 7 h 7"/>
                    <a:gd name="T6" fmla="*/ 3 w 14"/>
                    <a:gd name="T7" fmla="*/ 5 h 7"/>
                    <a:gd name="T8" fmla="*/ 8 w 14"/>
                    <a:gd name="T9" fmla="*/ 6 h 7"/>
                    <a:gd name="T10" fmla="*/ 11 w 14"/>
                    <a:gd name="T11" fmla="*/ 4 h 7"/>
                    <a:gd name="T12" fmla="*/ 14 w 14"/>
                    <a:gd name="T13" fmla="*/ 3 h 7"/>
                    <a:gd name="T14" fmla="*/ 11 w 14"/>
                    <a:gd name="T15" fmla="*/ 0 h 7"/>
                    <a:gd name="T16" fmla="*/ 8 w 14"/>
                    <a:gd name="T17" fmla="*/ 1 h 7"/>
                    <a:gd name="T18" fmla="*/ 5 w 14"/>
                    <a:gd name="T19" fmla="*/ 3 h 7"/>
                    <a:gd name="T20" fmla="*/ 3 w 14"/>
                    <a:gd name="T21" fmla="*/ 1 h 7"/>
                    <a:gd name="T22" fmla="*/ 3 w 14"/>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7">
                      <a:moveTo>
                        <a:pt x="3" y="1"/>
                      </a:moveTo>
                      <a:lnTo>
                        <a:pt x="0" y="4"/>
                      </a:lnTo>
                      <a:lnTo>
                        <a:pt x="0" y="7"/>
                      </a:lnTo>
                      <a:lnTo>
                        <a:pt x="3" y="5"/>
                      </a:lnTo>
                      <a:lnTo>
                        <a:pt x="8" y="6"/>
                      </a:lnTo>
                      <a:lnTo>
                        <a:pt x="11" y="4"/>
                      </a:lnTo>
                      <a:lnTo>
                        <a:pt x="14" y="3"/>
                      </a:lnTo>
                      <a:lnTo>
                        <a:pt x="11" y="0"/>
                      </a:lnTo>
                      <a:lnTo>
                        <a:pt x="8" y="1"/>
                      </a:lnTo>
                      <a:lnTo>
                        <a:pt x="5" y="3"/>
                      </a:lnTo>
                      <a:lnTo>
                        <a:pt x="3" y="1"/>
                      </a:ln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16" name="Freeform 178">
                  <a:extLst>
                    <a:ext uri="{FF2B5EF4-FFF2-40B4-BE49-F238E27FC236}">
                      <a16:creationId xmlns:a16="http://schemas.microsoft.com/office/drawing/2014/main" id="{DC434BDD-4211-D374-6FD2-CD9E18FC82E7}"/>
                    </a:ext>
                  </a:extLst>
                </p:cNvPr>
                <p:cNvSpPr>
                  <a:spLocks/>
                </p:cNvSpPr>
                <p:nvPr/>
              </p:nvSpPr>
              <p:spPr bwMode="auto">
                <a:xfrm>
                  <a:off x="5411" y="2848"/>
                  <a:ext cx="16" cy="10"/>
                </a:xfrm>
                <a:custGeom>
                  <a:avLst/>
                  <a:gdLst>
                    <a:gd name="T0" fmla="*/ 9 w 16"/>
                    <a:gd name="T1" fmla="*/ 10 h 10"/>
                    <a:gd name="T2" fmla="*/ 11 w 16"/>
                    <a:gd name="T3" fmla="*/ 9 h 10"/>
                    <a:gd name="T4" fmla="*/ 13 w 16"/>
                    <a:gd name="T5" fmla="*/ 8 h 10"/>
                    <a:gd name="T6" fmla="*/ 16 w 16"/>
                    <a:gd name="T7" fmla="*/ 5 h 10"/>
                    <a:gd name="T8" fmla="*/ 11 w 16"/>
                    <a:gd name="T9" fmla="*/ 0 h 10"/>
                    <a:gd name="T10" fmla="*/ 9 w 16"/>
                    <a:gd name="T11" fmla="*/ 0 h 10"/>
                    <a:gd name="T12" fmla="*/ 0 w 16"/>
                    <a:gd name="T13" fmla="*/ 0 h 10"/>
                    <a:gd name="T14" fmla="*/ 0 w 16"/>
                    <a:gd name="T15" fmla="*/ 2 h 10"/>
                    <a:gd name="T16" fmla="*/ 1 w 16"/>
                    <a:gd name="T17" fmla="*/ 6 h 10"/>
                    <a:gd name="T18" fmla="*/ 3 w 16"/>
                    <a:gd name="T19" fmla="*/ 8 h 10"/>
                    <a:gd name="T20" fmla="*/ 9 w 16"/>
                    <a:gd name="T21" fmla="*/ 10 h 10"/>
                    <a:gd name="T22" fmla="*/ 9 w 16"/>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0">
                      <a:moveTo>
                        <a:pt x="9" y="10"/>
                      </a:moveTo>
                      <a:lnTo>
                        <a:pt x="11" y="9"/>
                      </a:lnTo>
                      <a:lnTo>
                        <a:pt x="13" y="8"/>
                      </a:lnTo>
                      <a:lnTo>
                        <a:pt x="16" y="5"/>
                      </a:lnTo>
                      <a:lnTo>
                        <a:pt x="11" y="0"/>
                      </a:lnTo>
                      <a:lnTo>
                        <a:pt x="9" y="0"/>
                      </a:lnTo>
                      <a:lnTo>
                        <a:pt x="0" y="0"/>
                      </a:lnTo>
                      <a:lnTo>
                        <a:pt x="0" y="2"/>
                      </a:lnTo>
                      <a:lnTo>
                        <a:pt x="1" y="6"/>
                      </a:lnTo>
                      <a:lnTo>
                        <a:pt x="3" y="8"/>
                      </a:lnTo>
                      <a:lnTo>
                        <a:pt x="9" y="10"/>
                      </a:lnTo>
                      <a:lnTo>
                        <a:pt x="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17" name="Freeform 179">
                  <a:extLst>
                    <a:ext uri="{FF2B5EF4-FFF2-40B4-BE49-F238E27FC236}">
                      <a16:creationId xmlns:a16="http://schemas.microsoft.com/office/drawing/2014/main" id="{23DE0136-6FF6-C86C-167A-3348F1999B2F}"/>
                    </a:ext>
                  </a:extLst>
                </p:cNvPr>
                <p:cNvSpPr>
                  <a:spLocks/>
                </p:cNvSpPr>
                <p:nvPr/>
              </p:nvSpPr>
              <p:spPr bwMode="auto">
                <a:xfrm>
                  <a:off x="5429" y="2776"/>
                  <a:ext cx="20" cy="40"/>
                </a:xfrm>
                <a:custGeom>
                  <a:avLst/>
                  <a:gdLst>
                    <a:gd name="T0" fmla="*/ 5 w 20"/>
                    <a:gd name="T1" fmla="*/ 29 h 40"/>
                    <a:gd name="T2" fmla="*/ 5 w 20"/>
                    <a:gd name="T3" fmla="*/ 31 h 40"/>
                    <a:gd name="T4" fmla="*/ 10 w 20"/>
                    <a:gd name="T5" fmla="*/ 39 h 40"/>
                    <a:gd name="T6" fmla="*/ 12 w 20"/>
                    <a:gd name="T7" fmla="*/ 40 h 40"/>
                    <a:gd name="T8" fmla="*/ 9 w 20"/>
                    <a:gd name="T9" fmla="*/ 35 h 40"/>
                    <a:gd name="T10" fmla="*/ 7 w 20"/>
                    <a:gd name="T11" fmla="*/ 29 h 40"/>
                    <a:gd name="T12" fmla="*/ 8 w 20"/>
                    <a:gd name="T13" fmla="*/ 28 h 40"/>
                    <a:gd name="T14" fmla="*/ 7 w 20"/>
                    <a:gd name="T15" fmla="*/ 25 h 40"/>
                    <a:gd name="T16" fmla="*/ 10 w 20"/>
                    <a:gd name="T17" fmla="*/ 23 h 40"/>
                    <a:gd name="T18" fmla="*/ 20 w 20"/>
                    <a:gd name="T19" fmla="*/ 26 h 40"/>
                    <a:gd name="T20" fmla="*/ 18 w 20"/>
                    <a:gd name="T21" fmla="*/ 25 h 40"/>
                    <a:gd name="T22" fmla="*/ 18 w 20"/>
                    <a:gd name="T23" fmla="*/ 22 h 40"/>
                    <a:gd name="T24" fmla="*/ 15 w 20"/>
                    <a:gd name="T25" fmla="*/ 21 h 40"/>
                    <a:gd name="T26" fmla="*/ 12 w 20"/>
                    <a:gd name="T27" fmla="*/ 20 h 40"/>
                    <a:gd name="T28" fmla="*/ 14 w 20"/>
                    <a:gd name="T29" fmla="*/ 17 h 40"/>
                    <a:gd name="T30" fmla="*/ 16 w 20"/>
                    <a:gd name="T31" fmla="*/ 16 h 40"/>
                    <a:gd name="T32" fmla="*/ 18 w 20"/>
                    <a:gd name="T33" fmla="*/ 13 h 40"/>
                    <a:gd name="T34" fmla="*/ 18 w 20"/>
                    <a:gd name="T35" fmla="*/ 11 h 40"/>
                    <a:gd name="T36" fmla="*/ 16 w 20"/>
                    <a:gd name="T37" fmla="*/ 8 h 40"/>
                    <a:gd name="T38" fmla="*/ 14 w 20"/>
                    <a:gd name="T39" fmla="*/ 10 h 40"/>
                    <a:gd name="T40" fmla="*/ 10 w 20"/>
                    <a:gd name="T41" fmla="*/ 11 h 40"/>
                    <a:gd name="T42" fmla="*/ 10 w 20"/>
                    <a:gd name="T43" fmla="*/ 14 h 40"/>
                    <a:gd name="T44" fmla="*/ 8 w 20"/>
                    <a:gd name="T45" fmla="*/ 16 h 40"/>
                    <a:gd name="T46" fmla="*/ 7 w 20"/>
                    <a:gd name="T47" fmla="*/ 18 h 40"/>
                    <a:gd name="T48" fmla="*/ 5 w 20"/>
                    <a:gd name="T49" fmla="*/ 18 h 40"/>
                    <a:gd name="T50" fmla="*/ 5 w 20"/>
                    <a:gd name="T51" fmla="*/ 16 h 40"/>
                    <a:gd name="T52" fmla="*/ 7 w 20"/>
                    <a:gd name="T53" fmla="*/ 13 h 40"/>
                    <a:gd name="T54" fmla="*/ 9 w 20"/>
                    <a:gd name="T55" fmla="*/ 11 h 40"/>
                    <a:gd name="T56" fmla="*/ 9 w 20"/>
                    <a:gd name="T57" fmla="*/ 8 h 40"/>
                    <a:gd name="T58" fmla="*/ 7 w 20"/>
                    <a:gd name="T59" fmla="*/ 0 h 40"/>
                    <a:gd name="T60" fmla="*/ 3 w 20"/>
                    <a:gd name="T61" fmla="*/ 5 h 40"/>
                    <a:gd name="T62" fmla="*/ 1 w 20"/>
                    <a:gd name="T63" fmla="*/ 11 h 40"/>
                    <a:gd name="T64" fmla="*/ 0 w 20"/>
                    <a:gd name="T65" fmla="*/ 13 h 40"/>
                    <a:gd name="T66" fmla="*/ 2 w 20"/>
                    <a:gd name="T67" fmla="*/ 16 h 40"/>
                    <a:gd name="T68" fmla="*/ 3 w 20"/>
                    <a:gd name="T69" fmla="*/ 19 h 40"/>
                    <a:gd name="T70" fmla="*/ 2 w 20"/>
                    <a:gd name="T71" fmla="*/ 21 h 40"/>
                    <a:gd name="T72" fmla="*/ 5 w 20"/>
                    <a:gd name="T73" fmla="*/ 27 h 40"/>
                    <a:gd name="T74" fmla="*/ 5 w 20"/>
                    <a:gd name="T75" fmla="*/ 29 h 40"/>
                    <a:gd name="T76" fmla="*/ 5 w 20"/>
                    <a:gd name="T77"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40">
                      <a:moveTo>
                        <a:pt x="5" y="29"/>
                      </a:moveTo>
                      <a:lnTo>
                        <a:pt x="5" y="31"/>
                      </a:lnTo>
                      <a:lnTo>
                        <a:pt x="10" y="39"/>
                      </a:lnTo>
                      <a:lnTo>
                        <a:pt x="12" y="40"/>
                      </a:lnTo>
                      <a:lnTo>
                        <a:pt x="9" y="35"/>
                      </a:lnTo>
                      <a:lnTo>
                        <a:pt x="7" y="29"/>
                      </a:lnTo>
                      <a:lnTo>
                        <a:pt x="8" y="28"/>
                      </a:lnTo>
                      <a:lnTo>
                        <a:pt x="7" y="25"/>
                      </a:lnTo>
                      <a:lnTo>
                        <a:pt x="10" y="23"/>
                      </a:lnTo>
                      <a:lnTo>
                        <a:pt x="20" y="26"/>
                      </a:lnTo>
                      <a:lnTo>
                        <a:pt x="18" y="25"/>
                      </a:lnTo>
                      <a:lnTo>
                        <a:pt x="18" y="22"/>
                      </a:lnTo>
                      <a:lnTo>
                        <a:pt x="15" y="21"/>
                      </a:lnTo>
                      <a:lnTo>
                        <a:pt x="12" y="20"/>
                      </a:lnTo>
                      <a:lnTo>
                        <a:pt x="14" y="17"/>
                      </a:lnTo>
                      <a:lnTo>
                        <a:pt x="16" y="16"/>
                      </a:lnTo>
                      <a:lnTo>
                        <a:pt x="18" y="13"/>
                      </a:lnTo>
                      <a:lnTo>
                        <a:pt x="18" y="11"/>
                      </a:lnTo>
                      <a:lnTo>
                        <a:pt x="16" y="8"/>
                      </a:lnTo>
                      <a:lnTo>
                        <a:pt x="14" y="10"/>
                      </a:lnTo>
                      <a:lnTo>
                        <a:pt x="10" y="11"/>
                      </a:lnTo>
                      <a:lnTo>
                        <a:pt x="10" y="14"/>
                      </a:lnTo>
                      <a:lnTo>
                        <a:pt x="8" y="16"/>
                      </a:lnTo>
                      <a:lnTo>
                        <a:pt x="7" y="18"/>
                      </a:lnTo>
                      <a:lnTo>
                        <a:pt x="5" y="18"/>
                      </a:lnTo>
                      <a:lnTo>
                        <a:pt x="5" y="16"/>
                      </a:lnTo>
                      <a:lnTo>
                        <a:pt x="7" y="13"/>
                      </a:lnTo>
                      <a:lnTo>
                        <a:pt x="9" y="11"/>
                      </a:lnTo>
                      <a:lnTo>
                        <a:pt x="9" y="8"/>
                      </a:lnTo>
                      <a:lnTo>
                        <a:pt x="7" y="0"/>
                      </a:lnTo>
                      <a:lnTo>
                        <a:pt x="3" y="5"/>
                      </a:lnTo>
                      <a:lnTo>
                        <a:pt x="1" y="11"/>
                      </a:lnTo>
                      <a:lnTo>
                        <a:pt x="0" y="13"/>
                      </a:lnTo>
                      <a:lnTo>
                        <a:pt x="2" y="16"/>
                      </a:lnTo>
                      <a:lnTo>
                        <a:pt x="3" y="19"/>
                      </a:lnTo>
                      <a:lnTo>
                        <a:pt x="2" y="21"/>
                      </a:lnTo>
                      <a:lnTo>
                        <a:pt x="5" y="27"/>
                      </a:lnTo>
                      <a:lnTo>
                        <a:pt x="5" y="29"/>
                      </a:lnTo>
                      <a:lnTo>
                        <a:pt x="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18" name="Freeform 180">
                  <a:extLst>
                    <a:ext uri="{FF2B5EF4-FFF2-40B4-BE49-F238E27FC236}">
                      <a16:creationId xmlns:a16="http://schemas.microsoft.com/office/drawing/2014/main" id="{97F7D45D-5BA7-A3D1-4C82-BD502CF2393C}"/>
                    </a:ext>
                  </a:extLst>
                </p:cNvPr>
                <p:cNvSpPr>
                  <a:spLocks/>
                </p:cNvSpPr>
                <p:nvPr/>
              </p:nvSpPr>
              <p:spPr bwMode="auto">
                <a:xfrm>
                  <a:off x="5437" y="2844"/>
                  <a:ext cx="40" cy="14"/>
                </a:xfrm>
                <a:custGeom>
                  <a:avLst/>
                  <a:gdLst>
                    <a:gd name="T0" fmla="*/ 28 w 40"/>
                    <a:gd name="T1" fmla="*/ 9 h 14"/>
                    <a:gd name="T2" fmla="*/ 34 w 40"/>
                    <a:gd name="T3" fmla="*/ 12 h 14"/>
                    <a:gd name="T4" fmla="*/ 36 w 40"/>
                    <a:gd name="T5" fmla="*/ 13 h 14"/>
                    <a:gd name="T6" fmla="*/ 40 w 40"/>
                    <a:gd name="T7" fmla="*/ 14 h 14"/>
                    <a:gd name="T8" fmla="*/ 40 w 40"/>
                    <a:gd name="T9" fmla="*/ 9 h 14"/>
                    <a:gd name="T10" fmla="*/ 36 w 40"/>
                    <a:gd name="T11" fmla="*/ 8 h 14"/>
                    <a:gd name="T12" fmla="*/ 36 w 40"/>
                    <a:gd name="T13" fmla="*/ 4 h 14"/>
                    <a:gd name="T14" fmla="*/ 33 w 40"/>
                    <a:gd name="T15" fmla="*/ 3 h 14"/>
                    <a:gd name="T16" fmla="*/ 28 w 40"/>
                    <a:gd name="T17" fmla="*/ 3 h 14"/>
                    <a:gd name="T18" fmla="*/ 26 w 40"/>
                    <a:gd name="T19" fmla="*/ 2 h 14"/>
                    <a:gd name="T20" fmla="*/ 21 w 40"/>
                    <a:gd name="T21" fmla="*/ 0 h 14"/>
                    <a:gd name="T22" fmla="*/ 16 w 40"/>
                    <a:gd name="T23" fmla="*/ 2 h 14"/>
                    <a:gd name="T24" fmla="*/ 14 w 40"/>
                    <a:gd name="T25" fmla="*/ 1 h 14"/>
                    <a:gd name="T26" fmla="*/ 8 w 40"/>
                    <a:gd name="T27" fmla="*/ 1 h 14"/>
                    <a:gd name="T28" fmla="*/ 4 w 40"/>
                    <a:gd name="T29" fmla="*/ 1 h 14"/>
                    <a:gd name="T30" fmla="*/ 2 w 40"/>
                    <a:gd name="T31" fmla="*/ 2 h 14"/>
                    <a:gd name="T32" fmla="*/ 0 w 40"/>
                    <a:gd name="T33" fmla="*/ 4 h 14"/>
                    <a:gd name="T34" fmla="*/ 0 w 40"/>
                    <a:gd name="T35" fmla="*/ 10 h 14"/>
                    <a:gd name="T36" fmla="*/ 1 w 40"/>
                    <a:gd name="T37" fmla="*/ 8 h 14"/>
                    <a:gd name="T38" fmla="*/ 2 w 40"/>
                    <a:gd name="T39" fmla="*/ 4 h 14"/>
                    <a:gd name="T40" fmla="*/ 4 w 40"/>
                    <a:gd name="T41" fmla="*/ 6 h 14"/>
                    <a:gd name="T42" fmla="*/ 7 w 40"/>
                    <a:gd name="T43" fmla="*/ 9 h 14"/>
                    <a:gd name="T44" fmla="*/ 9 w 40"/>
                    <a:gd name="T45" fmla="*/ 9 h 14"/>
                    <a:gd name="T46" fmla="*/ 11 w 40"/>
                    <a:gd name="T47" fmla="*/ 6 h 14"/>
                    <a:gd name="T48" fmla="*/ 15 w 40"/>
                    <a:gd name="T49" fmla="*/ 8 h 14"/>
                    <a:gd name="T50" fmla="*/ 20 w 40"/>
                    <a:gd name="T51" fmla="*/ 9 h 14"/>
                    <a:gd name="T52" fmla="*/ 23 w 40"/>
                    <a:gd name="T53" fmla="*/ 8 h 14"/>
                    <a:gd name="T54" fmla="*/ 25 w 40"/>
                    <a:gd name="T55" fmla="*/ 8 h 14"/>
                    <a:gd name="T56" fmla="*/ 28 w 40"/>
                    <a:gd name="T57" fmla="*/ 9 h 14"/>
                    <a:gd name="T58" fmla="*/ 28 w 40"/>
                    <a:gd name="T5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4">
                      <a:moveTo>
                        <a:pt x="28" y="9"/>
                      </a:moveTo>
                      <a:lnTo>
                        <a:pt x="34" y="12"/>
                      </a:lnTo>
                      <a:lnTo>
                        <a:pt x="36" y="13"/>
                      </a:lnTo>
                      <a:lnTo>
                        <a:pt x="40" y="14"/>
                      </a:lnTo>
                      <a:lnTo>
                        <a:pt x="40" y="9"/>
                      </a:lnTo>
                      <a:lnTo>
                        <a:pt x="36" y="8"/>
                      </a:lnTo>
                      <a:lnTo>
                        <a:pt x="36" y="4"/>
                      </a:lnTo>
                      <a:lnTo>
                        <a:pt x="33" y="3"/>
                      </a:lnTo>
                      <a:lnTo>
                        <a:pt x="28" y="3"/>
                      </a:lnTo>
                      <a:lnTo>
                        <a:pt x="26" y="2"/>
                      </a:lnTo>
                      <a:lnTo>
                        <a:pt x="21" y="0"/>
                      </a:lnTo>
                      <a:lnTo>
                        <a:pt x="16" y="2"/>
                      </a:lnTo>
                      <a:lnTo>
                        <a:pt x="14" y="1"/>
                      </a:lnTo>
                      <a:lnTo>
                        <a:pt x="8" y="1"/>
                      </a:lnTo>
                      <a:lnTo>
                        <a:pt x="4" y="1"/>
                      </a:lnTo>
                      <a:lnTo>
                        <a:pt x="2" y="2"/>
                      </a:lnTo>
                      <a:lnTo>
                        <a:pt x="0" y="4"/>
                      </a:lnTo>
                      <a:lnTo>
                        <a:pt x="0" y="10"/>
                      </a:lnTo>
                      <a:lnTo>
                        <a:pt x="1" y="8"/>
                      </a:lnTo>
                      <a:lnTo>
                        <a:pt x="2" y="4"/>
                      </a:lnTo>
                      <a:lnTo>
                        <a:pt x="4" y="6"/>
                      </a:lnTo>
                      <a:lnTo>
                        <a:pt x="7" y="9"/>
                      </a:lnTo>
                      <a:lnTo>
                        <a:pt x="9" y="9"/>
                      </a:lnTo>
                      <a:lnTo>
                        <a:pt x="11" y="6"/>
                      </a:lnTo>
                      <a:lnTo>
                        <a:pt x="15" y="8"/>
                      </a:lnTo>
                      <a:lnTo>
                        <a:pt x="20" y="9"/>
                      </a:lnTo>
                      <a:lnTo>
                        <a:pt x="23" y="8"/>
                      </a:lnTo>
                      <a:lnTo>
                        <a:pt x="25" y="8"/>
                      </a:lnTo>
                      <a:lnTo>
                        <a:pt x="28" y="9"/>
                      </a:lnTo>
                      <a:lnTo>
                        <a:pt x="2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19" name="Freeform 181">
                  <a:extLst>
                    <a:ext uri="{FF2B5EF4-FFF2-40B4-BE49-F238E27FC236}">
                      <a16:creationId xmlns:a16="http://schemas.microsoft.com/office/drawing/2014/main" id="{BF103E93-2B10-1EAB-6702-12930C0A5839}"/>
                    </a:ext>
                  </a:extLst>
                </p:cNvPr>
                <p:cNvSpPr>
                  <a:spLocks/>
                </p:cNvSpPr>
                <p:nvPr/>
              </p:nvSpPr>
              <p:spPr bwMode="auto">
                <a:xfrm>
                  <a:off x="5440" y="2770"/>
                  <a:ext cx="7" cy="8"/>
                </a:xfrm>
                <a:custGeom>
                  <a:avLst/>
                  <a:gdLst>
                    <a:gd name="T0" fmla="*/ 1 w 7"/>
                    <a:gd name="T1" fmla="*/ 8 h 8"/>
                    <a:gd name="T2" fmla="*/ 3 w 7"/>
                    <a:gd name="T3" fmla="*/ 8 h 8"/>
                    <a:gd name="T4" fmla="*/ 6 w 7"/>
                    <a:gd name="T5" fmla="*/ 6 h 8"/>
                    <a:gd name="T6" fmla="*/ 7 w 7"/>
                    <a:gd name="T7" fmla="*/ 3 h 8"/>
                    <a:gd name="T8" fmla="*/ 7 w 7"/>
                    <a:gd name="T9" fmla="*/ 1 h 8"/>
                    <a:gd name="T10" fmla="*/ 5 w 7"/>
                    <a:gd name="T11" fmla="*/ 0 h 8"/>
                    <a:gd name="T12" fmla="*/ 1 w 7"/>
                    <a:gd name="T13" fmla="*/ 2 h 8"/>
                    <a:gd name="T14" fmla="*/ 0 w 7"/>
                    <a:gd name="T15" fmla="*/ 6 h 8"/>
                    <a:gd name="T16" fmla="*/ 1 w 7"/>
                    <a:gd name="T17" fmla="*/ 8 h 8"/>
                    <a:gd name="T18" fmla="*/ 1 w 7"/>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1" y="8"/>
                      </a:moveTo>
                      <a:lnTo>
                        <a:pt x="3" y="8"/>
                      </a:lnTo>
                      <a:lnTo>
                        <a:pt x="6" y="6"/>
                      </a:lnTo>
                      <a:lnTo>
                        <a:pt x="7" y="3"/>
                      </a:lnTo>
                      <a:lnTo>
                        <a:pt x="7" y="1"/>
                      </a:lnTo>
                      <a:lnTo>
                        <a:pt x="5" y="0"/>
                      </a:lnTo>
                      <a:lnTo>
                        <a:pt x="1" y="2"/>
                      </a:lnTo>
                      <a:lnTo>
                        <a:pt x="0" y="6"/>
                      </a:lnTo>
                      <a:lnTo>
                        <a:pt x="1" y="8"/>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20" name="Freeform 182">
                  <a:extLst>
                    <a:ext uri="{FF2B5EF4-FFF2-40B4-BE49-F238E27FC236}">
                      <a16:creationId xmlns:a16="http://schemas.microsoft.com/office/drawing/2014/main" id="{DB63A2F7-3778-F523-15D9-46BCAD38EE7C}"/>
                    </a:ext>
                  </a:extLst>
                </p:cNvPr>
                <p:cNvSpPr>
                  <a:spLocks/>
                </p:cNvSpPr>
                <p:nvPr/>
              </p:nvSpPr>
              <p:spPr bwMode="auto">
                <a:xfrm>
                  <a:off x="5460" y="2203"/>
                  <a:ext cx="169" cy="164"/>
                </a:xfrm>
                <a:custGeom>
                  <a:avLst/>
                  <a:gdLst>
                    <a:gd name="T0" fmla="*/ 23 w 169"/>
                    <a:gd name="T1" fmla="*/ 119 h 164"/>
                    <a:gd name="T2" fmla="*/ 35 w 169"/>
                    <a:gd name="T3" fmla="*/ 119 h 164"/>
                    <a:gd name="T4" fmla="*/ 41 w 169"/>
                    <a:gd name="T5" fmla="*/ 115 h 164"/>
                    <a:gd name="T6" fmla="*/ 48 w 169"/>
                    <a:gd name="T7" fmla="*/ 114 h 164"/>
                    <a:gd name="T8" fmla="*/ 60 w 169"/>
                    <a:gd name="T9" fmla="*/ 111 h 164"/>
                    <a:gd name="T10" fmla="*/ 77 w 169"/>
                    <a:gd name="T11" fmla="*/ 108 h 164"/>
                    <a:gd name="T12" fmla="*/ 74 w 169"/>
                    <a:gd name="T13" fmla="*/ 114 h 164"/>
                    <a:gd name="T14" fmla="*/ 79 w 169"/>
                    <a:gd name="T15" fmla="*/ 123 h 164"/>
                    <a:gd name="T16" fmla="*/ 88 w 169"/>
                    <a:gd name="T17" fmla="*/ 121 h 164"/>
                    <a:gd name="T18" fmla="*/ 99 w 169"/>
                    <a:gd name="T19" fmla="*/ 113 h 164"/>
                    <a:gd name="T20" fmla="*/ 97 w 169"/>
                    <a:gd name="T21" fmla="*/ 103 h 164"/>
                    <a:gd name="T22" fmla="*/ 100 w 169"/>
                    <a:gd name="T23" fmla="*/ 105 h 164"/>
                    <a:gd name="T24" fmla="*/ 116 w 169"/>
                    <a:gd name="T25" fmla="*/ 110 h 164"/>
                    <a:gd name="T26" fmla="*/ 125 w 169"/>
                    <a:gd name="T27" fmla="*/ 104 h 164"/>
                    <a:gd name="T28" fmla="*/ 130 w 169"/>
                    <a:gd name="T29" fmla="*/ 102 h 164"/>
                    <a:gd name="T30" fmla="*/ 137 w 169"/>
                    <a:gd name="T31" fmla="*/ 98 h 164"/>
                    <a:gd name="T32" fmla="*/ 140 w 169"/>
                    <a:gd name="T33" fmla="*/ 99 h 164"/>
                    <a:gd name="T34" fmla="*/ 151 w 169"/>
                    <a:gd name="T35" fmla="*/ 93 h 164"/>
                    <a:gd name="T36" fmla="*/ 150 w 169"/>
                    <a:gd name="T37" fmla="*/ 85 h 164"/>
                    <a:gd name="T38" fmla="*/ 156 w 169"/>
                    <a:gd name="T39" fmla="*/ 65 h 164"/>
                    <a:gd name="T40" fmla="*/ 157 w 169"/>
                    <a:gd name="T41" fmla="*/ 51 h 164"/>
                    <a:gd name="T42" fmla="*/ 164 w 169"/>
                    <a:gd name="T43" fmla="*/ 40 h 164"/>
                    <a:gd name="T44" fmla="*/ 169 w 169"/>
                    <a:gd name="T45" fmla="*/ 33 h 164"/>
                    <a:gd name="T46" fmla="*/ 162 w 169"/>
                    <a:gd name="T47" fmla="*/ 14 h 164"/>
                    <a:gd name="T48" fmla="*/ 157 w 169"/>
                    <a:gd name="T49" fmla="*/ 0 h 164"/>
                    <a:gd name="T50" fmla="*/ 159 w 169"/>
                    <a:gd name="T51" fmla="*/ 4 h 164"/>
                    <a:gd name="T52" fmla="*/ 152 w 169"/>
                    <a:gd name="T53" fmla="*/ 11 h 164"/>
                    <a:gd name="T54" fmla="*/ 146 w 169"/>
                    <a:gd name="T55" fmla="*/ 6 h 164"/>
                    <a:gd name="T56" fmla="*/ 140 w 169"/>
                    <a:gd name="T57" fmla="*/ 14 h 164"/>
                    <a:gd name="T58" fmla="*/ 139 w 169"/>
                    <a:gd name="T59" fmla="*/ 27 h 164"/>
                    <a:gd name="T60" fmla="*/ 142 w 169"/>
                    <a:gd name="T61" fmla="*/ 35 h 164"/>
                    <a:gd name="T62" fmla="*/ 134 w 169"/>
                    <a:gd name="T63" fmla="*/ 51 h 164"/>
                    <a:gd name="T64" fmla="*/ 126 w 169"/>
                    <a:gd name="T65" fmla="*/ 59 h 164"/>
                    <a:gd name="T66" fmla="*/ 117 w 169"/>
                    <a:gd name="T67" fmla="*/ 70 h 164"/>
                    <a:gd name="T68" fmla="*/ 102 w 169"/>
                    <a:gd name="T69" fmla="*/ 72 h 164"/>
                    <a:gd name="T70" fmla="*/ 105 w 169"/>
                    <a:gd name="T71" fmla="*/ 64 h 164"/>
                    <a:gd name="T72" fmla="*/ 97 w 169"/>
                    <a:gd name="T73" fmla="*/ 76 h 164"/>
                    <a:gd name="T74" fmla="*/ 88 w 169"/>
                    <a:gd name="T75" fmla="*/ 90 h 164"/>
                    <a:gd name="T76" fmla="*/ 79 w 169"/>
                    <a:gd name="T77" fmla="*/ 96 h 164"/>
                    <a:gd name="T78" fmla="*/ 64 w 169"/>
                    <a:gd name="T79" fmla="*/ 94 h 164"/>
                    <a:gd name="T80" fmla="*/ 48 w 169"/>
                    <a:gd name="T81" fmla="*/ 95 h 164"/>
                    <a:gd name="T82" fmla="*/ 30 w 169"/>
                    <a:gd name="T83" fmla="*/ 107 h 164"/>
                    <a:gd name="T84" fmla="*/ 20 w 169"/>
                    <a:gd name="T85" fmla="*/ 112 h 164"/>
                    <a:gd name="T86" fmla="*/ 12 w 169"/>
                    <a:gd name="T87" fmla="*/ 121 h 164"/>
                    <a:gd name="T88" fmla="*/ 5 w 169"/>
                    <a:gd name="T89" fmla="*/ 128 h 164"/>
                    <a:gd name="T90" fmla="*/ 0 w 169"/>
                    <a:gd name="T91" fmla="*/ 130 h 164"/>
                    <a:gd name="T92" fmla="*/ 2 w 169"/>
                    <a:gd name="T93" fmla="*/ 136 h 164"/>
                    <a:gd name="T94" fmla="*/ 5 w 169"/>
                    <a:gd name="T95" fmla="*/ 138 h 164"/>
                    <a:gd name="T96" fmla="*/ 10 w 169"/>
                    <a:gd name="T97" fmla="*/ 132 h 164"/>
                    <a:gd name="T98" fmla="*/ 13 w 169"/>
                    <a:gd name="T99" fmla="*/ 139 h 164"/>
                    <a:gd name="T100" fmla="*/ 10 w 169"/>
                    <a:gd name="T101" fmla="*/ 155 h 164"/>
                    <a:gd name="T102" fmla="*/ 12 w 169"/>
                    <a:gd name="T103" fmla="*/ 156 h 164"/>
                    <a:gd name="T104" fmla="*/ 15 w 169"/>
                    <a:gd name="T105" fmla="*/ 158 h 164"/>
                    <a:gd name="T106" fmla="*/ 20 w 169"/>
                    <a:gd name="T107" fmla="*/ 160 h 164"/>
                    <a:gd name="T108" fmla="*/ 23 w 169"/>
                    <a:gd name="T109" fmla="*/ 156 h 164"/>
                    <a:gd name="T110" fmla="*/ 28 w 169"/>
                    <a:gd name="T111" fmla="*/ 141 h 164"/>
                    <a:gd name="T112" fmla="*/ 32 w 169"/>
                    <a:gd name="T113" fmla="*/ 132 h 164"/>
                    <a:gd name="T114" fmla="*/ 28 w 169"/>
                    <a:gd name="T115" fmla="*/ 124 h 164"/>
                    <a:gd name="T116" fmla="*/ 19 w 169"/>
                    <a:gd name="T117" fmla="*/ 122 h 164"/>
                    <a:gd name="T118" fmla="*/ 18 w 169"/>
                    <a:gd name="T119" fmla="*/ 12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9" h="164">
                      <a:moveTo>
                        <a:pt x="18" y="120"/>
                      </a:moveTo>
                      <a:lnTo>
                        <a:pt x="19" y="119"/>
                      </a:lnTo>
                      <a:lnTo>
                        <a:pt x="21" y="120"/>
                      </a:lnTo>
                      <a:lnTo>
                        <a:pt x="23" y="119"/>
                      </a:lnTo>
                      <a:lnTo>
                        <a:pt x="27" y="119"/>
                      </a:lnTo>
                      <a:lnTo>
                        <a:pt x="29" y="117"/>
                      </a:lnTo>
                      <a:lnTo>
                        <a:pt x="35" y="121"/>
                      </a:lnTo>
                      <a:lnTo>
                        <a:pt x="35" y="119"/>
                      </a:lnTo>
                      <a:lnTo>
                        <a:pt x="36" y="115"/>
                      </a:lnTo>
                      <a:lnTo>
                        <a:pt x="37" y="113"/>
                      </a:lnTo>
                      <a:lnTo>
                        <a:pt x="39" y="115"/>
                      </a:lnTo>
                      <a:lnTo>
                        <a:pt x="41" y="115"/>
                      </a:lnTo>
                      <a:lnTo>
                        <a:pt x="47" y="113"/>
                      </a:lnTo>
                      <a:lnTo>
                        <a:pt x="48" y="113"/>
                      </a:lnTo>
                      <a:lnTo>
                        <a:pt x="47" y="114"/>
                      </a:lnTo>
                      <a:lnTo>
                        <a:pt x="48" y="114"/>
                      </a:lnTo>
                      <a:lnTo>
                        <a:pt x="49" y="112"/>
                      </a:lnTo>
                      <a:lnTo>
                        <a:pt x="52" y="112"/>
                      </a:lnTo>
                      <a:lnTo>
                        <a:pt x="54" y="112"/>
                      </a:lnTo>
                      <a:lnTo>
                        <a:pt x="60" y="111"/>
                      </a:lnTo>
                      <a:lnTo>
                        <a:pt x="64" y="107"/>
                      </a:lnTo>
                      <a:lnTo>
                        <a:pt x="69" y="106"/>
                      </a:lnTo>
                      <a:lnTo>
                        <a:pt x="74" y="110"/>
                      </a:lnTo>
                      <a:lnTo>
                        <a:pt x="77" y="108"/>
                      </a:lnTo>
                      <a:lnTo>
                        <a:pt x="79" y="108"/>
                      </a:lnTo>
                      <a:lnTo>
                        <a:pt x="80" y="110"/>
                      </a:lnTo>
                      <a:lnTo>
                        <a:pt x="78" y="113"/>
                      </a:lnTo>
                      <a:lnTo>
                        <a:pt x="74" y="114"/>
                      </a:lnTo>
                      <a:lnTo>
                        <a:pt x="75" y="116"/>
                      </a:lnTo>
                      <a:lnTo>
                        <a:pt x="74" y="119"/>
                      </a:lnTo>
                      <a:lnTo>
                        <a:pt x="75" y="122"/>
                      </a:lnTo>
                      <a:lnTo>
                        <a:pt x="79" y="123"/>
                      </a:lnTo>
                      <a:lnTo>
                        <a:pt x="80" y="125"/>
                      </a:lnTo>
                      <a:lnTo>
                        <a:pt x="82" y="127"/>
                      </a:lnTo>
                      <a:lnTo>
                        <a:pt x="86" y="127"/>
                      </a:lnTo>
                      <a:lnTo>
                        <a:pt x="88" y="121"/>
                      </a:lnTo>
                      <a:lnTo>
                        <a:pt x="91" y="119"/>
                      </a:lnTo>
                      <a:lnTo>
                        <a:pt x="91" y="116"/>
                      </a:lnTo>
                      <a:lnTo>
                        <a:pt x="94" y="115"/>
                      </a:lnTo>
                      <a:lnTo>
                        <a:pt x="99" y="113"/>
                      </a:lnTo>
                      <a:lnTo>
                        <a:pt x="97" y="111"/>
                      </a:lnTo>
                      <a:lnTo>
                        <a:pt x="95" y="110"/>
                      </a:lnTo>
                      <a:lnTo>
                        <a:pt x="95" y="108"/>
                      </a:lnTo>
                      <a:lnTo>
                        <a:pt x="97" y="103"/>
                      </a:lnTo>
                      <a:lnTo>
                        <a:pt x="99" y="102"/>
                      </a:lnTo>
                      <a:lnTo>
                        <a:pt x="98" y="105"/>
                      </a:lnTo>
                      <a:lnTo>
                        <a:pt x="100" y="107"/>
                      </a:lnTo>
                      <a:lnTo>
                        <a:pt x="100" y="105"/>
                      </a:lnTo>
                      <a:lnTo>
                        <a:pt x="104" y="108"/>
                      </a:lnTo>
                      <a:lnTo>
                        <a:pt x="102" y="110"/>
                      </a:lnTo>
                      <a:lnTo>
                        <a:pt x="108" y="108"/>
                      </a:lnTo>
                      <a:lnTo>
                        <a:pt x="116" y="110"/>
                      </a:lnTo>
                      <a:lnTo>
                        <a:pt x="119" y="107"/>
                      </a:lnTo>
                      <a:lnTo>
                        <a:pt x="120" y="104"/>
                      </a:lnTo>
                      <a:lnTo>
                        <a:pt x="122" y="102"/>
                      </a:lnTo>
                      <a:lnTo>
                        <a:pt x="125" y="104"/>
                      </a:lnTo>
                      <a:lnTo>
                        <a:pt x="125" y="106"/>
                      </a:lnTo>
                      <a:lnTo>
                        <a:pt x="126" y="110"/>
                      </a:lnTo>
                      <a:lnTo>
                        <a:pt x="129" y="106"/>
                      </a:lnTo>
                      <a:lnTo>
                        <a:pt x="130" y="102"/>
                      </a:lnTo>
                      <a:lnTo>
                        <a:pt x="132" y="99"/>
                      </a:lnTo>
                      <a:lnTo>
                        <a:pt x="134" y="98"/>
                      </a:lnTo>
                      <a:lnTo>
                        <a:pt x="138" y="100"/>
                      </a:lnTo>
                      <a:lnTo>
                        <a:pt x="137" y="98"/>
                      </a:lnTo>
                      <a:lnTo>
                        <a:pt x="140" y="94"/>
                      </a:lnTo>
                      <a:lnTo>
                        <a:pt x="142" y="94"/>
                      </a:lnTo>
                      <a:lnTo>
                        <a:pt x="142" y="96"/>
                      </a:lnTo>
                      <a:lnTo>
                        <a:pt x="140" y="99"/>
                      </a:lnTo>
                      <a:lnTo>
                        <a:pt x="139" y="104"/>
                      </a:lnTo>
                      <a:lnTo>
                        <a:pt x="147" y="100"/>
                      </a:lnTo>
                      <a:lnTo>
                        <a:pt x="148" y="95"/>
                      </a:lnTo>
                      <a:lnTo>
                        <a:pt x="151" y="93"/>
                      </a:lnTo>
                      <a:lnTo>
                        <a:pt x="154" y="91"/>
                      </a:lnTo>
                      <a:lnTo>
                        <a:pt x="152" y="90"/>
                      </a:lnTo>
                      <a:lnTo>
                        <a:pt x="151" y="88"/>
                      </a:lnTo>
                      <a:lnTo>
                        <a:pt x="150" y="85"/>
                      </a:lnTo>
                      <a:lnTo>
                        <a:pt x="150" y="80"/>
                      </a:lnTo>
                      <a:lnTo>
                        <a:pt x="152" y="74"/>
                      </a:lnTo>
                      <a:lnTo>
                        <a:pt x="155" y="71"/>
                      </a:lnTo>
                      <a:lnTo>
                        <a:pt x="156" y="65"/>
                      </a:lnTo>
                      <a:lnTo>
                        <a:pt x="156" y="61"/>
                      </a:lnTo>
                      <a:lnTo>
                        <a:pt x="155" y="57"/>
                      </a:lnTo>
                      <a:lnTo>
                        <a:pt x="155" y="53"/>
                      </a:lnTo>
                      <a:lnTo>
                        <a:pt x="157" y="51"/>
                      </a:lnTo>
                      <a:lnTo>
                        <a:pt x="160" y="50"/>
                      </a:lnTo>
                      <a:lnTo>
                        <a:pt x="163" y="52"/>
                      </a:lnTo>
                      <a:lnTo>
                        <a:pt x="163" y="48"/>
                      </a:lnTo>
                      <a:lnTo>
                        <a:pt x="164" y="40"/>
                      </a:lnTo>
                      <a:lnTo>
                        <a:pt x="166" y="40"/>
                      </a:lnTo>
                      <a:lnTo>
                        <a:pt x="168" y="37"/>
                      </a:lnTo>
                      <a:lnTo>
                        <a:pt x="168" y="35"/>
                      </a:lnTo>
                      <a:lnTo>
                        <a:pt x="169" y="33"/>
                      </a:lnTo>
                      <a:lnTo>
                        <a:pt x="168" y="25"/>
                      </a:lnTo>
                      <a:lnTo>
                        <a:pt x="166" y="19"/>
                      </a:lnTo>
                      <a:lnTo>
                        <a:pt x="165" y="17"/>
                      </a:lnTo>
                      <a:lnTo>
                        <a:pt x="162" y="14"/>
                      </a:lnTo>
                      <a:lnTo>
                        <a:pt x="162" y="12"/>
                      </a:lnTo>
                      <a:lnTo>
                        <a:pt x="160" y="5"/>
                      </a:lnTo>
                      <a:lnTo>
                        <a:pt x="159" y="2"/>
                      </a:lnTo>
                      <a:lnTo>
                        <a:pt x="157" y="0"/>
                      </a:lnTo>
                      <a:lnTo>
                        <a:pt x="154" y="0"/>
                      </a:lnTo>
                      <a:lnTo>
                        <a:pt x="152" y="3"/>
                      </a:lnTo>
                      <a:lnTo>
                        <a:pt x="154" y="5"/>
                      </a:lnTo>
                      <a:lnTo>
                        <a:pt x="159" y="4"/>
                      </a:lnTo>
                      <a:lnTo>
                        <a:pt x="159" y="6"/>
                      </a:lnTo>
                      <a:lnTo>
                        <a:pt x="156" y="10"/>
                      </a:lnTo>
                      <a:lnTo>
                        <a:pt x="154" y="8"/>
                      </a:lnTo>
                      <a:lnTo>
                        <a:pt x="152" y="11"/>
                      </a:lnTo>
                      <a:lnTo>
                        <a:pt x="151" y="10"/>
                      </a:lnTo>
                      <a:lnTo>
                        <a:pt x="149" y="4"/>
                      </a:lnTo>
                      <a:lnTo>
                        <a:pt x="147" y="4"/>
                      </a:lnTo>
                      <a:lnTo>
                        <a:pt x="146" y="6"/>
                      </a:lnTo>
                      <a:lnTo>
                        <a:pt x="146" y="9"/>
                      </a:lnTo>
                      <a:lnTo>
                        <a:pt x="145" y="12"/>
                      </a:lnTo>
                      <a:lnTo>
                        <a:pt x="142" y="12"/>
                      </a:lnTo>
                      <a:lnTo>
                        <a:pt x="140" y="14"/>
                      </a:lnTo>
                      <a:lnTo>
                        <a:pt x="141" y="18"/>
                      </a:lnTo>
                      <a:lnTo>
                        <a:pt x="142" y="18"/>
                      </a:lnTo>
                      <a:lnTo>
                        <a:pt x="142" y="21"/>
                      </a:lnTo>
                      <a:lnTo>
                        <a:pt x="139" y="27"/>
                      </a:lnTo>
                      <a:lnTo>
                        <a:pt x="142" y="27"/>
                      </a:lnTo>
                      <a:lnTo>
                        <a:pt x="142" y="28"/>
                      </a:lnTo>
                      <a:lnTo>
                        <a:pt x="143" y="31"/>
                      </a:lnTo>
                      <a:lnTo>
                        <a:pt x="142" y="35"/>
                      </a:lnTo>
                      <a:lnTo>
                        <a:pt x="141" y="36"/>
                      </a:lnTo>
                      <a:lnTo>
                        <a:pt x="139" y="42"/>
                      </a:lnTo>
                      <a:lnTo>
                        <a:pt x="136" y="47"/>
                      </a:lnTo>
                      <a:lnTo>
                        <a:pt x="134" y="51"/>
                      </a:lnTo>
                      <a:lnTo>
                        <a:pt x="134" y="53"/>
                      </a:lnTo>
                      <a:lnTo>
                        <a:pt x="132" y="56"/>
                      </a:lnTo>
                      <a:lnTo>
                        <a:pt x="129" y="57"/>
                      </a:lnTo>
                      <a:lnTo>
                        <a:pt x="126" y="59"/>
                      </a:lnTo>
                      <a:lnTo>
                        <a:pt x="125" y="62"/>
                      </a:lnTo>
                      <a:lnTo>
                        <a:pt x="123" y="65"/>
                      </a:lnTo>
                      <a:lnTo>
                        <a:pt x="120" y="68"/>
                      </a:lnTo>
                      <a:lnTo>
                        <a:pt x="117" y="70"/>
                      </a:lnTo>
                      <a:lnTo>
                        <a:pt x="107" y="73"/>
                      </a:lnTo>
                      <a:lnTo>
                        <a:pt x="104" y="76"/>
                      </a:lnTo>
                      <a:lnTo>
                        <a:pt x="102" y="76"/>
                      </a:lnTo>
                      <a:lnTo>
                        <a:pt x="102" y="72"/>
                      </a:lnTo>
                      <a:lnTo>
                        <a:pt x="99" y="70"/>
                      </a:lnTo>
                      <a:lnTo>
                        <a:pt x="102" y="69"/>
                      </a:lnTo>
                      <a:lnTo>
                        <a:pt x="104" y="67"/>
                      </a:lnTo>
                      <a:lnTo>
                        <a:pt x="105" y="64"/>
                      </a:lnTo>
                      <a:lnTo>
                        <a:pt x="103" y="64"/>
                      </a:lnTo>
                      <a:lnTo>
                        <a:pt x="97" y="68"/>
                      </a:lnTo>
                      <a:lnTo>
                        <a:pt x="97" y="73"/>
                      </a:lnTo>
                      <a:lnTo>
                        <a:pt x="97" y="76"/>
                      </a:lnTo>
                      <a:lnTo>
                        <a:pt x="94" y="81"/>
                      </a:lnTo>
                      <a:lnTo>
                        <a:pt x="89" y="85"/>
                      </a:lnTo>
                      <a:lnTo>
                        <a:pt x="87" y="88"/>
                      </a:lnTo>
                      <a:lnTo>
                        <a:pt x="88" y="90"/>
                      </a:lnTo>
                      <a:lnTo>
                        <a:pt x="88" y="93"/>
                      </a:lnTo>
                      <a:lnTo>
                        <a:pt x="82" y="95"/>
                      </a:lnTo>
                      <a:lnTo>
                        <a:pt x="80" y="95"/>
                      </a:lnTo>
                      <a:lnTo>
                        <a:pt x="79" y="96"/>
                      </a:lnTo>
                      <a:lnTo>
                        <a:pt x="77" y="95"/>
                      </a:lnTo>
                      <a:lnTo>
                        <a:pt x="77" y="91"/>
                      </a:lnTo>
                      <a:lnTo>
                        <a:pt x="72" y="93"/>
                      </a:lnTo>
                      <a:lnTo>
                        <a:pt x="64" y="94"/>
                      </a:lnTo>
                      <a:lnTo>
                        <a:pt x="63" y="95"/>
                      </a:lnTo>
                      <a:lnTo>
                        <a:pt x="57" y="96"/>
                      </a:lnTo>
                      <a:lnTo>
                        <a:pt x="52" y="96"/>
                      </a:lnTo>
                      <a:lnTo>
                        <a:pt x="48" y="95"/>
                      </a:lnTo>
                      <a:lnTo>
                        <a:pt x="43" y="96"/>
                      </a:lnTo>
                      <a:lnTo>
                        <a:pt x="40" y="99"/>
                      </a:lnTo>
                      <a:lnTo>
                        <a:pt x="38" y="100"/>
                      </a:lnTo>
                      <a:lnTo>
                        <a:pt x="30" y="107"/>
                      </a:lnTo>
                      <a:lnTo>
                        <a:pt x="28" y="108"/>
                      </a:lnTo>
                      <a:lnTo>
                        <a:pt x="24" y="111"/>
                      </a:lnTo>
                      <a:lnTo>
                        <a:pt x="22" y="112"/>
                      </a:lnTo>
                      <a:lnTo>
                        <a:pt x="20" y="112"/>
                      </a:lnTo>
                      <a:lnTo>
                        <a:pt x="17" y="114"/>
                      </a:lnTo>
                      <a:lnTo>
                        <a:pt x="17" y="117"/>
                      </a:lnTo>
                      <a:lnTo>
                        <a:pt x="18" y="120"/>
                      </a:lnTo>
                      <a:lnTo>
                        <a:pt x="12" y="121"/>
                      </a:lnTo>
                      <a:lnTo>
                        <a:pt x="11" y="123"/>
                      </a:lnTo>
                      <a:lnTo>
                        <a:pt x="9" y="124"/>
                      </a:lnTo>
                      <a:lnTo>
                        <a:pt x="5" y="127"/>
                      </a:lnTo>
                      <a:lnTo>
                        <a:pt x="5" y="128"/>
                      </a:lnTo>
                      <a:lnTo>
                        <a:pt x="3" y="127"/>
                      </a:lnTo>
                      <a:lnTo>
                        <a:pt x="2" y="129"/>
                      </a:lnTo>
                      <a:lnTo>
                        <a:pt x="2" y="129"/>
                      </a:lnTo>
                      <a:lnTo>
                        <a:pt x="0" y="130"/>
                      </a:lnTo>
                      <a:lnTo>
                        <a:pt x="1" y="132"/>
                      </a:lnTo>
                      <a:lnTo>
                        <a:pt x="4" y="133"/>
                      </a:lnTo>
                      <a:lnTo>
                        <a:pt x="5" y="137"/>
                      </a:lnTo>
                      <a:lnTo>
                        <a:pt x="2" y="136"/>
                      </a:lnTo>
                      <a:lnTo>
                        <a:pt x="2" y="133"/>
                      </a:lnTo>
                      <a:lnTo>
                        <a:pt x="1" y="136"/>
                      </a:lnTo>
                      <a:lnTo>
                        <a:pt x="3" y="139"/>
                      </a:lnTo>
                      <a:lnTo>
                        <a:pt x="5" y="138"/>
                      </a:lnTo>
                      <a:lnTo>
                        <a:pt x="8" y="138"/>
                      </a:lnTo>
                      <a:lnTo>
                        <a:pt x="8" y="134"/>
                      </a:lnTo>
                      <a:lnTo>
                        <a:pt x="6" y="132"/>
                      </a:lnTo>
                      <a:lnTo>
                        <a:pt x="10" y="132"/>
                      </a:lnTo>
                      <a:lnTo>
                        <a:pt x="11" y="134"/>
                      </a:lnTo>
                      <a:lnTo>
                        <a:pt x="13" y="137"/>
                      </a:lnTo>
                      <a:lnTo>
                        <a:pt x="11" y="139"/>
                      </a:lnTo>
                      <a:lnTo>
                        <a:pt x="13" y="139"/>
                      </a:lnTo>
                      <a:lnTo>
                        <a:pt x="13" y="141"/>
                      </a:lnTo>
                      <a:lnTo>
                        <a:pt x="10" y="147"/>
                      </a:lnTo>
                      <a:lnTo>
                        <a:pt x="8" y="149"/>
                      </a:lnTo>
                      <a:lnTo>
                        <a:pt x="10" y="155"/>
                      </a:lnTo>
                      <a:lnTo>
                        <a:pt x="9" y="157"/>
                      </a:lnTo>
                      <a:lnTo>
                        <a:pt x="8" y="160"/>
                      </a:lnTo>
                      <a:lnTo>
                        <a:pt x="13" y="162"/>
                      </a:lnTo>
                      <a:lnTo>
                        <a:pt x="12" y="156"/>
                      </a:lnTo>
                      <a:lnTo>
                        <a:pt x="13" y="154"/>
                      </a:lnTo>
                      <a:lnTo>
                        <a:pt x="15" y="154"/>
                      </a:lnTo>
                      <a:lnTo>
                        <a:pt x="13" y="156"/>
                      </a:lnTo>
                      <a:lnTo>
                        <a:pt x="15" y="158"/>
                      </a:lnTo>
                      <a:lnTo>
                        <a:pt x="15" y="160"/>
                      </a:lnTo>
                      <a:lnTo>
                        <a:pt x="14" y="164"/>
                      </a:lnTo>
                      <a:lnTo>
                        <a:pt x="17" y="163"/>
                      </a:lnTo>
                      <a:lnTo>
                        <a:pt x="20" y="160"/>
                      </a:lnTo>
                      <a:lnTo>
                        <a:pt x="19" y="158"/>
                      </a:lnTo>
                      <a:lnTo>
                        <a:pt x="21" y="157"/>
                      </a:lnTo>
                      <a:lnTo>
                        <a:pt x="23" y="158"/>
                      </a:lnTo>
                      <a:lnTo>
                        <a:pt x="23" y="156"/>
                      </a:lnTo>
                      <a:lnTo>
                        <a:pt x="24" y="154"/>
                      </a:lnTo>
                      <a:lnTo>
                        <a:pt x="24" y="150"/>
                      </a:lnTo>
                      <a:lnTo>
                        <a:pt x="26" y="147"/>
                      </a:lnTo>
                      <a:lnTo>
                        <a:pt x="28" y="141"/>
                      </a:lnTo>
                      <a:lnTo>
                        <a:pt x="28" y="140"/>
                      </a:lnTo>
                      <a:lnTo>
                        <a:pt x="30" y="138"/>
                      </a:lnTo>
                      <a:lnTo>
                        <a:pt x="32" y="136"/>
                      </a:lnTo>
                      <a:lnTo>
                        <a:pt x="32" y="132"/>
                      </a:lnTo>
                      <a:lnTo>
                        <a:pt x="31" y="130"/>
                      </a:lnTo>
                      <a:lnTo>
                        <a:pt x="26" y="130"/>
                      </a:lnTo>
                      <a:lnTo>
                        <a:pt x="28" y="128"/>
                      </a:lnTo>
                      <a:lnTo>
                        <a:pt x="28" y="124"/>
                      </a:lnTo>
                      <a:lnTo>
                        <a:pt x="26" y="124"/>
                      </a:lnTo>
                      <a:lnTo>
                        <a:pt x="23" y="125"/>
                      </a:lnTo>
                      <a:lnTo>
                        <a:pt x="21" y="124"/>
                      </a:lnTo>
                      <a:lnTo>
                        <a:pt x="19" y="122"/>
                      </a:lnTo>
                      <a:lnTo>
                        <a:pt x="18" y="121"/>
                      </a:lnTo>
                      <a:lnTo>
                        <a:pt x="18" y="120"/>
                      </a:lnTo>
                      <a:lnTo>
                        <a:pt x="18" y="120"/>
                      </a:lnTo>
                      <a:lnTo>
                        <a:pt x="1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21" name="Freeform 183">
                  <a:extLst>
                    <a:ext uri="{FF2B5EF4-FFF2-40B4-BE49-F238E27FC236}">
                      <a16:creationId xmlns:a16="http://schemas.microsoft.com/office/drawing/2014/main" id="{29E91386-7D28-AF1F-9F89-D7F8BD174E74}"/>
                    </a:ext>
                  </a:extLst>
                </p:cNvPr>
                <p:cNvSpPr>
                  <a:spLocks/>
                </p:cNvSpPr>
                <p:nvPr/>
              </p:nvSpPr>
              <p:spPr bwMode="auto">
                <a:xfrm>
                  <a:off x="5494" y="2316"/>
                  <a:ext cx="35" cy="25"/>
                </a:xfrm>
                <a:custGeom>
                  <a:avLst/>
                  <a:gdLst>
                    <a:gd name="T0" fmla="*/ 20 w 35"/>
                    <a:gd name="T1" fmla="*/ 6 h 25"/>
                    <a:gd name="T2" fmla="*/ 14 w 35"/>
                    <a:gd name="T3" fmla="*/ 7 h 25"/>
                    <a:gd name="T4" fmla="*/ 12 w 35"/>
                    <a:gd name="T5" fmla="*/ 4 h 25"/>
                    <a:gd name="T6" fmla="*/ 9 w 35"/>
                    <a:gd name="T7" fmla="*/ 6 h 25"/>
                    <a:gd name="T8" fmla="*/ 9 w 35"/>
                    <a:gd name="T9" fmla="*/ 8 h 25"/>
                    <a:gd name="T10" fmla="*/ 7 w 35"/>
                    <a:gd name="T11" fmla="*/ 10 h 25"/>
                    <a:gd name="T12" fmla="*/ 3 w 35"/>
                    <a:gd name="T13" fmla="*/ 14 h 25"/>
                    <a:gd name="T14" fmla="*/ 0 w 35"/>
                    <a:gd name="T15" fmla="*/ 15 h 25"/>
                    <a:gd name="T16" fmla="*/ 3 w 35"/>
                    <a:gd name="T17" fmla="*/ 14 h 25"/>
                    <a:gd name="T18" fmla="*/ 5 w 35"/>
                    <a:gd name="T19" fmla="*/ 17 h 25"/>
                    <a:gd name="T20" fmla="*/ 5 w 35"/>
                    <a:gd name="T21" fmla="*/ 21 h 25"/>
                    <a:gd name="T22" fmla="*/ 7 w 35"/>
                    <a:gd name="T23" fmla="*/ 23 h 25"/>
                    <a:gd name="T24" fmla="*/ 10 w 35"/>
                    <a:gd name="T25" fmla="*/ 25 h 25"/>
                    <a:gd name="T26" fmla="*/ 18 w 35"/>
                    <a:gd name="T27" fmla="*/ 15 h 25"/>
                    <a:gd name="T28" fmla="*/ 21 w 35"/>
                    <a:gd name="T29" fmla="*/ 14 h 25"/>
                    <a:gd name="T30" fmla="*/ 23 w 35"/>
                    <a:gd name="T31" fmla="*/ 14 h 25"/>
                    <a:gd name="T32" fmla="*/ 27 w 35"/>
                    <a:gd name="T33" fmla="*/ 16 h 25"/>
                    <a:gd name="T34" fmla="*/ 29 w 35"/>
                    <a:gd name="T35" fmla="*/ 15 h 25"/>
                    <a:gd name="T36" fmla="*/ 31 w 35"/>
                    <a:gd name="T37" fmla="*/ 11 h 25"/>
                    <a:gd name="T38" fmla="*/ 35 w 35"/>
                    <a:gd name="T39" fmla="*/ 9 h 25"/>
                    <a:gd name="T40" fmla="*/ 35 w 35"/>
                    <a:gd name="T41" fmla="*/ 7 h 25"/>
                    <a:gd name="T42" fmla="*/ 35 w 35"/>
                    <a:gd name="T43" fmla="*/ 3 h 25"/>
                    <a:gd name="T44" fmla="*/ 35 w 35"/>
                    <a:gd name="T45" fmla="*/ 2 h 25"/>
                    <a:gd name="T46" fmla="*/ 31 w 35"/>
                    <a:gd name="T47" fmla="*/ 2 h 25"/>
                    <a:gd name="T48" fmla="*/ 29 w 35"/>
                    <a:gd name="T49" fmla="*/ 0 h 25"/>
                    <a:gd name="T50" fmla="*/ 27 w 35"/>
                    <a:gd name="T51" fmla="*/ 0 h 25"/>
                    <a:gd name="T52" fmla="*/ 23 w 35"/>
                    <a:gd name="T53" fmla="*/ 1 h 25"/>
                    <a:gd name="T54" fmla="*/ 21 w 35"/>
                    <a:gd name="T55" fmla="*/ 2 h 25"/>
                    <a:gd name="T56" fmla="*/ 20 w 35"/>
                    <a:gd name="T57" fmla="*/ 6 h 25"/>
                    <a:gd name="T58" fmla="*/ 20 w 35"/>
                    <a:gd name="T5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25">
                      <a:moveTo>
                        <a:pt x="20" y="6"/>
                      </a:moveTo>
                      <a:lnTo>
                        <a:pt x="14" y="7"/>
                      </a:lnTo>
                      <a:lnTo>
                        <a:pt x="12" y="4"/>
                      </a:lnTo>
                      <a:lnTo>
                        <a:pt x="9" y="6"/>
                      </a:lnTo>
                      <a:lnTo>
                        <a:pt x="9" y="8"/>
                      </a:lnTo>
                      <a:lnTo>
                        <a:pt x="7" y="10"/>
                      </a:lnTo>
                      <a:lnTo>
                        <a:pt x="3" y="14"/>
                      </a:lnTo>
                      <a:lnTo>
                        <a:pt x="0" y="15"/>
                      </a:lnTo>
                      <a:lnTo>
                        <a:pt x="3" y="14"/>
                      </a:lnTo>
                      <a:lnTo>
                        <a:pt x="5" y="17"/>
                      </a:lnTo>
                      <a:lnTo>
                        <a:pt x="5" y="21"/>
                      </a:lnTo>
                      <a:lnTo>
                        <a:pt x="7" y="23"/>
                      </a:lnTo>
                      <a:lnTo>
                        <a:pt x="10" y="25"/>
                      </a:lnTo>
                      <a:lnTo>
                        <a:pt x="18" y="15"/>
                      </a:lnTo>
                      <a:lnTo>
                        <a:pt x="21" y="14"/>
                      </a:lnTo>
                      <a:lnTo>
                        <a:pt x="23" y="14"/>
                      </a:lnTo>
                      <a:lnTo>
                        <a:pt x="27" y="16"/>
                      </a:lnTo>
                      <a:lnTo>
                        <a:pt x="29" y="15"/>
                      </a:lnTo>
                      <a:lnTo>
                        <a:pt x="31" y="11"/>
                      </a:lnTo>
                      <a:lnTo>
                        <a:pt x="35" y="9"/>
                      </a:lnTo>
                      <a:lnTo>
                        <a:pt x="35" y="7"/>
                      </a:lnTo>
                      <a:lnTo>
                        <a:pt x="35" y="3"/>
                      </a:lnTo>
                      <a:lnTo>
                        <a:pt x="35" y="2"/>
                      </a:lnTo>
                      <a:lnTo>
                        <a:pt x="31" y="2"/>
                      </a:lnTo>
                      <a:lnTo>
                        <a:pt x="29" y="0"/>
                      </a:lnTo>
                      <a:lnTo>
                        <a:pt x="27" y="0"/>
                      </a:lnTo>
                      <a:lnTo>
                        <a:pt x="23" y="1"/>
                      </a:lnTo>
                      <a:lnTo>
                        <a:pt x="21" y="2"/>
                      </a:lnTo>
                      <a:lnTo>
                        <a:pt x="20" y="6"/>
                      </a:lnTo>
                      <a:lnTo>
                        <a:pt x="2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22" name="Freeform 184">
                  <a:extLst>
                    <a:ext uri="{FF2B5EF4-FFF2-40B4-BE49-F238E27FC236}">
                      <a16:creationId xmlns:a16="http://schemas.microsoft.com/office/drawing/2014/main" id="{A2BFFE35-D8F3-D877-912C-F9B30872D318}"/>
                    </a:ext>
                  </a:extLst>
                </p:cNvPr>
                <p:cNvSpPr>
                  <a:spLocks/>
                </p:cNvSpPr>
                <p:nvPr/>
              </p:nvSpPr>
              <p:spPr bwMode="auto">
                <a:xfrm>
                  <a:off x="5529" y="2313"/>
                  <a:ext cx="4" cy="5"/>
                </a:xfrm>
                <a:custGeom>
                  <a:avLst/>
                  <a:gdLst>
                    <a:gd name="T0" fmla="*/ 4 w 4"/>
                    <a:gd name="T1" fmla="*/ 1 h 5"/>
                    <a:gd name="T2" fmla="*/ 4 w 4"/>
                    <a:gd name="T3" fmla="*/ 0 h 5"/>
                    <a:gd name="T4" fmla="*/ 2 w 4"/>
                    <a:gd name="T5" fmla="*/ 2 h 5"/>
                    <a:gd name="T6" fmla="*/ 0 w 4"/>
                    <a:gd name="T7" fmla="*/ 4 h 5"/>
                    <a:gd name="T8" fmla="*/ 0 w 4"/>
                    <a:gd name="T9" fmla="*/ 5 h 5"/>
                    <a:gd name="T10" fmla="*/ 3 w 4"/>
                    <a:gd name="T11" fmla="*/ 5 h 5"/>
                    <a:gd name="T12" fmla="*/ 3 w 4"/>
                    <a:gd name="T13" fmla="*/ 3 h 5"/>
                    <a:gd name="T14" fmla="*/ 4 w 4"/>
                    <a:gd name="T15" fmla="*/ 1 h 5"/>
                    <a:gd name="T16" fmla="*/ 4 w 4"/>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4" y="1"/>
                      </a:moveTo>
                      <a:lnTo>
                        <a:pt x="4" y="0"/>
                      </a:lnTo>
                      <a:lnTo>
                        <a:pt x="2" y="2"/>
                      </a:lnTo>
                      <a:lnTo>
                        <a:pt x="0" y="4"/>
                      </a:lnTo>
                      <a:lnTo>
                        <a:pt x="0" y="5"/>
                      </a:lnTo>
                      <a:lnTo>
                        <a:pt x="3" y="5"/>
                      </a:lnTo>
                      <a:lnTo>
                        <a:pt x="3" y="3"/>
                      </a:lnTo>
                      <a:lnTo>
                        <a:pt x="4" y="1"/>
                      </a:ln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23" name="Freeform 185">
                  <a:extLst>
                    <a:ext uri="{FF2B5EF4-FFF2-40B4-BE49-F238E27FC236}">
                      <a16:creationId xmlns:a16="http://schemas.microsoft.com/office/drawing/2014/main" id="{4FD7D4CE-E649-D3ED-697D-BAAD81DEA261}"/>
                    </a:ext>
                  </a:extLst>
                </p:cNvPr>
                <p:cNvSpPr>
                  <a:spLocks/>
                </p:cNvSpPr>
                <p:nvPr/>
              </p:nvSpPr>
              <p:spPr bwMode="auto">
                <a:xfrm>
                  <a:off x="5569" y="2907"/>
                  <a:ext cx="20" cy="14"/>
                </a:xfrm>
                <a:custGeom>
                  <a:avLst/>
                  <a:gdLst>
                    <a:gd name="T0" fmla="*/ 13 w 20"/>
                    <a:gd name="T1" fmla="*/ 0 h 14"/>
                    <a:gd name="T2" fmla="*/ 7 w 20"/>
                    <a:gd name="T3" fmla="*/ 1 h 14"/>
                    <a:gd name="T4" fmla="*/ 5 w 20"/>
                    <a:gd name="T5" fmla="*/ 5 h 14"/>
                    <a:gd name="T6" fmla="*/ 4 w 20"/>
                    <a:gd name="T7" fmla="*/ 6 h 14"/>
                    <a:gd name="T8" fmla="*/ 0 w 20"/>
                    <a:gd name="T9" fmla="*/ 14 h 14"/>
                    <a:gd name="T10" fmla="*/ 12 w 20"/>
                    <a:gd name="T11" fmla="*/ 14 h 14"/>
                    <a:gd name="T12" fmla="*/ 14 w 20"/>
                    <a:gd name="T13" fmla="*/ 11 h 14"/>
                    <a:gd name="T14" fmla="*/ 15 w 20"/>
                    <a:gd name="T15" fmla="*/ 14 h 14"/>
                    <a:gd name="T16" fmla="*/ 17 w 20"/>
                    <a:gd name="T17" fmla="*/ 14 h 14"/>
                    <a:gd name="T18" fmla="*/ 16 w 20"/>
                    <a:gd name="T19" fmla="*/ 10 h 14"/>
                    <a:gd name="T20" fmla="*/ 14 w 20"/>
                    <a:gd name="T21" fmla="*/ 11 h 14"/>
                    <a:gd name="T22" fmla="*/ 16 w 20"/>
                    <a:gd name="T23" fmla="*/ 10 h 14"/>
                    <a:gd name="T24" fmla="*/ 17 w 20"/>
                    <a:gd name="T25" fmla="*/ 7 h 14"/>
                    <a:gd name="T26" fmla="*/ 20 w 20"/>
                    <a:gd name="T27" fmla="*/ 5 h 14"/>
                    <a:gd name="T28" fmla="*/ 17 w 20"/>
                    <a:gd name="T29" fmla="*/ 1 h 14"/>
                    <a:gd name="T30" fmla="*/ 15 w 20"/>
                    <a:gd name="T31" fmla="*/ 0 h 14"/>
                    <a:gd name="T32" fmla="*/ 13 w 20"/>
                    <a:gd name="T33" fmla="*/ 0 h 14"/>
                    <a:gd name="T34" fmla="*/ 13 w 20"/>
                    <a:gd name="T3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4">
                      <a:moveTo>
                        <a:pt x="13" y="0"/>
                      </a:moveTo>
                      <a:lnTo>
                        <a:pt x="7" y="1"/>
                      </a:lnTo>
                      <a:lnTo>
                        <a:pt x="5" y="5"/>
                      </a:lnTo>
                      <a:lnTo>
                        <a:pt x="4" y="6"/>
                      </a:lnTo>
                      <a:lnTo>
                        <a:pt x="0" y="14"/>
                      </a:lnTo>
                      <a:lnTo>
                        <a:pt x="12" y="14"/>
                      </a:lnTo>
                      <a:lnTo>
                        <a:pt x="14" y="11"/>
                      </a:lnTo>
                      <a:lnTo>
                        <a:pt x="15" y="14"/>
                      </a:lnTo>
                      <a:lnTo>
                        <a:pt x="17" y="14"/>
                      </a:lnTo>
                      <a:lnTo>
                        <a:pt x="16" y="10"/>
                      </a:lnTo>
                      <a:lnTo>
                        <a:pt x="14" y="11"/>
                      </a:lnTo>
                      <a:lnTo>
                        <a:pt x="16" y="10"/>
                      </a:lnTo>
                      <a:lnTo>
                        <a:pt x="17" y="7"/>
                      </a:lnTo>
                      <a:lnTo>
                        <a:pt x="20" y="5"/>
                      </a:lnTo>
                      <a:lnTo>
                        <a:pt x="17" y="1"/>
                      </a:lnTo>
                      <a:lnTo>
                        <a:pt x="15" y="0"/>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24" name="Freeform 186">
                  <a:extLst>
                    <a:ext uri="{FF2B5EF4-FFF2-40B4-BE49-F238E27FC236}">
                      <a16:creationId xmlns:a16="http://schemas.microsoft.com/office/drawing/2014/main" id="{9B841CC6-5DA7-FF8B-3B13-1DFF423525ED}"/>
                    </a:ext>
                  </a:extLst>
                </p:cNvPr>
                <p:cNvSpPr>
                  <a:spLocks/>
                </p:cNvSpPr>
                <p:nvPr/>
              </p:nvSpPr>
              <p:spPr bwMode="auto">
                <a:xfrm>
                  <a:off x="5599" y="2137"/>
                  <a:ext cx="81" cy="67"/>
                </a:xfrm>
                <a:custGeom>
                  <a:avLst/>
                  <a:gdLst>
                    <a:gd name="T0" fmla="*/ 3 w 81"/>
                    <a:gd name="T1" fmla="*/ 66 h 67"/>
                    <a:gd name="T2" fmla="*/ 6 w 81"/>
                    <a:gd name="T3" fmla="*/ 67 h 67"/>
                    <a:gd name="T4" fmla="*/ 10 w 81"/>
                    <a:gd name="T5" fmla="*/ 62 h 67"/>
                    <a:gd name="T6" fmla="*/ 17 w 81"/>
                    <a:gd name="T7" fmla="*/ 62 h 67"/>
                    <a:gd name="T8" fmla="*/ 12 w 81"/>
                    <a:gd name="T9" fmla="*/ 56 h 67"/>
                    <a:gd name="T10" fmla="*/ 7 w 81"/>
                    <a:gd name="T11" fmla="*/ 52 h 67"/>
                    <a:gd name="T12" fmla="*/ 11 w 81"/>
                    <a:gd name="T13" fmla="*/ 49 h 67"/>
                    <a:gd name="T14" fmla="*/ 16 w 81"/>
                    <a:gd name="T15" fmla="*/ 52 h 67"/>
                    <a:gd name="T16" fmla="*/ 24 w 81"/>
                    <a:gd name="T17" fmla="*/ 48 h 67"/>
                    <a:gd name="T18" fmla="*/ 29 w 81"/>
                    <a:gd name="T19" fmla="*/ 49 h 67"/>
                    <a:gd name="T20" fmla="*/ 40 w 81"/>
                    <a:gd name="T21" fmla="*/ 54 h 67"/>
                    <a:gd name="T22" fmla="*/ 47 w 81"/>
                    <a:gd name="T23" fmla="*/ 58 h 67"/>
                    <a:gd name="T24" fmla="*/ 51 w 81"/>
                    <a:gd name="T25" fmla="*/ 50 h 67"/>
                    <a:gd name="T26" fmla="*/ 57 w 81"/>
                    <a:gd name="T27" fmla="*/ 43 h 67"/>
                    <a:gd name="T28" fmla="*/ 61 w 81"/>
                    <a:gd name="T29" fmla="*/ 41 h 67"/>
                    <a:gd name="T30" fmla="*/ 74 w 81"/>
                    <a:gd name="T31" fmla="*/ 40 h 67"/>
                    <a:gd name="T32" fmla="*/ 78 w 81"/>
                    <a:gd name="T33" fmla="*/ 37 h 67"/>
                    <a:gd name="T34" fmla="*/ 79 w 81"/>
                    <a:gd name="T35" fmla="*/ 36 h 67"/>
                    <a:gd name="T36" fmla="*/ 78 w 81"/>
                    <a:gd name="T37" fmla="*/ 37 h 67"/>
                    <a:gd name="T38" fmla="*/ 75 w 81"/>
                    <a:gd name="T39" fmla="*/ 34 h 67"/>
                    <a:gd name="T40" fmla="*/ 72 w 81"/>
                    <a:gd name="T41" fmla="*/ 29 h 67"/>
                    <a:gd name="T42" fmla="*/ 76 w 81"/>
                    <a:gd name="T43" fmla="*/ 22 h 67"/>
                    <a:gd name="T44" fmla="*/ 74 w 81"/>
                    <a:gd name="T45" fmla="*/ 22 h 67"/>
                    <a:gd name="T46" fmla="*/ 62 w 81"/>
                    <a:gd name="T47" fmla="*/ 25 h 67"/>
                    <a:gd name="T48" fmla="*/ 59 w 81"/>
                    <a:gd name="T49" fmla="*/ 23 h 67"/>
                    <a:gd name="T50" fmla="*/ 53 w 81"/>
                    <a:gd name="T51" fmla="*/ 20 h 67"/>
                    <a:gd name="T52" fmla="*/ 44 w 81"/>
                    <a:gd name="T53" fmla="*/ 15 h 67"/>
                    <a:gd name="T54" fmla="*/ 34 w 81"/>
                    <a:gd name="T55" fmla="*/ 3 h 67"/>
                    <a:gd name="T56" fmla="*/ 28 w 81"/>
                    <a:gd name="T57" fmla="*/ 0 h 67"/>
                    <a:gd name="T58" fmla="*/ 25 w 81"/>
                    <a:gd name="T59" fmla="*/ 6 h 67"/>
                    <a:gd name="T60" fmla="*/ 27 w 81"/>
                    <a:gd name="T61" fmla="*/ 15 h 67"/>
                    <a:gd name="T62" fmla="*/ 26 w 81"/>
                    <a:gd name="T63" fmla="*/ 19 h 67"/>
                    <a:gd name="T64" fmla="*/ 24 w 81"/>
                    <a:gd name="T65" fmla="*/ 27 h 67"/>
                    <a:gd name="T66" fmla="*/ 23 w 81"/>
                    <a:gd name="T67" fmla="*/ 34 h 67"/>
                    <a:gd name="T68" fmla="*/ 20 w 81"/>
                    <a:gd name="T69" fmla="*/ 39 h 67"/>
                    <a:gd name="T70" fmla="*/ 12 w 81"/>
                    <a:gd name="T71" fmla="*/ 37 h 67"/>
                    <a:gd name="T72" fmla="*/ 8 w 81"/>
                    <a:gd name="T73" fmla="*/ 37 h 67"/>
                    <a:gd name="T74" fmla="*/ 8 w 81"/>
                    <a:gd name="T75" fmla="*/ 43 h 67"/>
                    <a:gd name="T76" fmla="*/ 1 w 81"/>
                    <a:gd name="T77" fmla="*/ 49 h 67"/>
                    <a:gd name="T78" fmla="*/ 3 w 81"/>
                    <a:gd name="T79" fmla="*/ 56 h 67"/>
                    <a:gd name="T80" fmla="*/ 3 w 81"/>
                    <a:gd name="T81"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67">
                      <a:moveTo>
                        <a:pt x="3" y="63"/>
                      </a:moveTo>
                      <a:lnTo>
                        <a:pt x="3" y="66"/>
                      </a:lnTo>
                      <a:lnTo>
                        <a:pt x="3" y="67"/>
                      </a:lnTo>
                      <a:lnTo>
                        <a:pt x="6" y="67"/>
                      </a:lnTo>
                      <a:lnTo>
                        <a:pt x="9" y="66"/>
                      </a:lnTo>
                      <a:lnTo>
                        <a:pt x="10" y="62"/>
                      </a:lnTo>
                      <a:lnTo>
                        <a:pt x="12" y="61"/>
                      </a:lnTo>
                      <a:lnTo>
                        <a:pt x="17" y="62"/>
                      </a:lnTo>
                      <a:lnTo>
                        <a:pt x="17" y="59"/>
                      </a:lnTo>
                      <a:lnTo>
                        <a:pt x="12" y="56"/>
                      </a:lnTo>
                      <a:lnTo>
                        <a:pt x="9" y="54"/>
                      </a:lnTo>
                      <a:lnTo>
                        <a:pt x="7" y="52"/>
                      </a:lnTo>
                      <a:lnTo>
                        <a:pt x="8" y="49"/>
                      </a:lnTo>
                      <a:lnTo>
                        <a:pt x="11" y="49"/>
                      </a:lnTo>
                      <a:lnTo>
                        <a:pt x="13" y="49"/>
                      </a:lnTo>
                      <a:lnTo>
                        <a:pt x="16" y="52"/>
                      </a:lnTo>
                      <a:lnTo>
                        <a:pt x="18" y="51"/>
                      </a:lnTo>
                      <a:lnTo>
                        <a:pt x="24" y="48"/>
                      </a:lnTo>
                      <a:lnTo>
                        <a:pt x="26" y="48"/>
                      </a:lnTo>
                      <a:lnTo>
                        <a:pt x="29" y="49"/>
                      </a:lnTo>
                      <a:lnTo>
                        <a:pt x="34" y="52"/>
                      </a:lnTo>
                      <a:lnTo>
                        <a:pt x="40" y="54"/>
                      </a:lnTo>
                      <a:lnTo>
                        <a:pt x="45" y="57"/>
                      </a:lnTo>
                      <a:lnTo>
                        <a:pt x="47" y="58"/>
                      </a:lnTo>
                      <a:lnTo>
                        <a:pt x="49" y="52"/>
                      </a:lnTo>
                      <a:lnTo>
                        <a:pt x="51" y="50"/>
                      </a:lnTo>
                      <a:lnTo>
                        <a:pt x="52" y="46"/>
                      </a:lnTo>
                      <a:lnTo>
                        <a:pt x="57" y="43"/>
                      </a:lnTo>
                      <a:lnTo>
                        <a:pt x="59" y="42"/>
                      </a:lnTo>
                      <a:lnTo>
                        <a:pt x="61" y="41"/>
                      </a:lnTo>
                      <a:lnTo>
                        <a:pt x="68" y="42"/>
                      </a:lnTo>
                      <a:lnTo>
                        <a:pt x="74" y="40"/>
                      </a:lnTo>
                      <a:lnTo>
                        <a:pt x="76" y="39"/>
                      </a:lnTo>
                      <a:lnTo>
                        <a:pt x="78" y="37"/>
                      </a:lnTo>
                      <a:lnTo>
                        <a:pt x="81" y="36"/>
                      </a:lnTo>
                      <a:lnTo>
                        <a:pt x="79" y="36"/>
                      </a:lnTo>
                      <a:lnTo>
                        <a:pt x="78" y="36"/>
                      </a:lnTo>
                      <a:lnTo>
                        <a:pt x="78" y="37"/>
                      </a:lnTo>
                      <a:lnTo>
                        <a:pt x="76" y="36"/>
                      </a:lnTo>
                      <a:lnTo>
                        <a:pt x="75" y="34"/>
                      </a:lnTo>
                      <a:lnTo>
                        <a:pt x="76" y="32"/>
                      </a:lnTo>
                      <a:lnTo>
                        <a:pt x="72" y="29"/>
                      </a:lnTo>
                      <a:lnTo>
                        <a:pt x="72" y="27"/>
                      </a:lnTo>
                      <a:lnTo>
                        <a:pt x="76" y="22"/>
                      </a:lnTo>
                      <a:lnTo>
                        <a:pt x="76" y="18"/>
                      </a:lnTo>
                      <a:lnTo>
                        <a:pt x="74" y="22"/>
                      </a:lnTo>
                      <a:lnTo>
                        <a:pt x="68" y="26"/>
                      </a:lnTo>
                      <a:lnTo>
                        <a:pt x="62" y="25"/>
                      </a:lnTo>
                      <a:lnTo>
                        <a:pt x="61" y="23"/>
                      </a:lnTo>
                      <a:lnTo>
                        <a:pt x="59" y="23"/>
                      </a:lnTo>
                      <a:lnTo>
                        <a:pt x="55" y="23"/>
                      </a:lnTo>
                      <a:lnTo>
                        <a:pt x="53" y="20"/>
                      </a:lnTo>
                      <a:lnTo>
                        <a:pt x="50" y="19"/>
                      </a:lnTo>
                      <a:lnTo>
                        <a:pt x="44" y="15"/>
                      </a:lnTo>
                      <a:lnTo>
                        <a:pt x="41" y="11"/>
                      </a:lnTo>
                      <a:lnTo>
                        <a:pt x="34" y="3"/>
                      </a:lnTo>
                      <a:lnTo>
                        <a:pt x="30" y="1"/>
                      </a:lnTo>
                      <a:lnTo>
                        <a:pt x="28" y="0"/>
                      </a:lnTo>
                      <a:lnTo>
                        <a:pt x="26" y="0"/>
                      </a:lnTo>
                      <a:lnTo>
                        <a:pt x="25" y="6"/>
                      </a:lnTo>
                      <a:lnTo>
                        <a:pt x="27" y="9"/>
                      </a:lnTo>
                      <a:lnTo>
                        <a:pt x="27" y="15"/>
                      </a:lnTo>
                      <a:lnTo>
                        <a:pt x="27" y="17"/>
                      </a:lnTo>
                      <a:lnTo>
                        <a:pt x="26" y="19"/>
                      </a:lnTo>
                      <a:lnTo>
                        <a:pt x="26" y="25"/>
                      </a:lnTo>
                      <a:lnTo>
                        <a:pt x="24" y="27"/>
                      </a:lnTo>
                      <a:lnTo>
                        <a:pt x="21" y="28"/>
                      </a:lnTo>
                      <a:lnTo>
                        <a:pt x="23" y="34"/>
                      </a:lnTo>
                      <a:lnTo>
                        <a:pt x="21" y="37"/>
                      </a:lnTo>
                      <a:lnTo>
                        <a:pt x="20" y="39"/>
                      </a:lnTo>
                      <a:lnTo>
                        <a:pt x="18" y="39"/>
                      </a:lnTo>
                      <a:lnTo>
                        <a:pt x="12" y="37"/>
                      </a:lnTo>
                      <a:lnTo>
                        <a:pt x="10" y="35"/>
                      </a:lnTo>
                      <a:lnTo>
                        <a:pt x="8" y="37"/>
                      </a:lnTo>
                      <a:lnTo>
                        <a:pt x="9" y="40"/>
                      </a:lnTo>
                      <a:lnTo>
                        <a:pt x="8" y="43"/>
                      </a:lnTo>
                      <a:lnTo>
                        <a:pt x="6" y="44"/>
                      </a:lnTo>
                      <a:lnTo>
                        <a:pt x="1" y="49"/>
                      </a:lnTo>
                      <a:lnTo>
                        <a:pt x="0" y="53"/>
                      </a:lnTo>
                      <a:lnTo>
                        <a:pt x="3" y="56"/>
                      </a:lnTo>
                      <a:lnTo>
                        <a:pt x="4" y="58"/>
                      </a:lnTo>
                      <a:lnTo>
                        <a:pt x="3" y="63"/>
                      </a:lnTo>
                      <a:lnTo>
                        <a:pt x="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25" name="Freeform 187">
                  <a:extLst>
                    <a:ext uri="{FF2B5EF4-FFF2-40B4-BE49-F238E27FC236}">
                      <a16:creationId xmlns:a16="http://schemas.microsoft.com/office/drawing/2014/main" id="{B13E6156-0DC3-4470-FC00-27922F9C24FF}"/>
                    </a:ext>
                  </a:extLst>
                </p:cNvPr>
                <p:cNvSpPr>
                  <a:spLocks/>
                </p:cNvSpPr>
                <p:nvPr/>
              </p:nvSpPr>
              <p:spPr bwMode="auto">
                <a:xfrm>
                  <a:off x="5460" y="2323"/>
                  <a:ext cx="32" cy="44"/>
                </a:xfrm>
                <a:custGeom>
                  <a:avLst/>
                  <a:gdLst>
                    <a:gd name="T0" fmla="*/ 18 w 32"/>
                    <a:gd name="T1" fmla="*/ 0 h 44"/>
                    <a:gd name="T2" fmla="*/ 19 w 32"/>
                    <a:gd name="T3" fmla="*/ 2 h 44"/>
                    <a:gd name="T4" fmla="*/ 23 w 32"/>
                    <a:gd name="T5" fmla="*/ 5 h 44"/>
                    <a:gd name="T6" fmla="*/ 28 w 32"/>
                    <a:gd name="T7" fmla="*/ 4 h 44"/>
                    <a:gd name="T8" fmla="*/ 26 w 32"/>
                    <a:gd name="T9" fmla="*/ 10 h 44"/>
                    <a:gd name="T10" fmla="*/ 32 w 32"/>
                    <a:gd name="T11" fmla="*/ 12 h 44"/>
                    <a:gd name="T12" fmla="*/ 30 w 32"/>
                    <a:gd name="T13" fmla="*/ 18 h 44"/>
                    <a:gd name="T14" fmla="*/ 28 w 32"/>
                    <a:gd name="T15" fmla="*/ 21 h 44"/>
                    <a:gd name="T16" fmla="*/ 24 w 32"/>
                    <a:gd name="T17" fmla="*/ 30 h 44"/>
                    <a:gd name="T18" fmla="*/ 23 w 32"/>
                    <a:gd name="T19" fmla="*/ 36 h 44"/>
                    <a:gd name="T20" fmla="*/ 21 w 32"/>
                    <a:gd name="T21" fmla="*/ 37 h 44"/>
                    <a:gd name="T22" fmla="*/ 20 w 32"/>
                    <a:gd name="T23" fmla="*/ 40 h 44"/>
                    <a:gd name="T24" fmla="*/ 14 w 32"/>
                    <a:gd name="T25" fmla="*/ 44 h 44"/>
                    <a:gd name="T26" fmla="*/ 15 w 32"/>
                    <a:gd name="T27" fmla="*/ 38 h 44"/>
                    <a:gd name="T28" fmla="*/ 15 w 32"/>
                    <a:gd name="T29" fmla="*/ 34 h 44"/>
                    <a:gd name="T30" fmla="*/ 12 w 32"/>
                    <a:gd name="T31" fmla="*/ 36 h 44"/>
                    <a:gd name="T32" fmla="*/ 8 w 32"/>
                    <a:gd name="T33" fmla="*/ 40 h 44"/>
                    <a:gd name="T34" fmla="*/ 10 w 32"/>
                    <a:gd name="T35" fmla="*/ 35 h 44"/>
                    <a:gd name="T36" fmla="*/ 10 w 32"/>
                    <a:gd name="T37" fmla="*/ 27 h 44"/>
                    <a:gd name="T38" fmla="*/ 13 w 32"/>
                    <a:gd name="T39" fmla="*/ 19 h 44"/>
                    <a:gd name="T40" fmla="*/ 13 w 32"/>
                    <a:gd name="T41" fmla="*/ 17 h 44"/>
                    <a:gd name="T42" fmla="*/ 10 w 32"/>
                    <a:gd name="T43" fmla="*/ 12 h 44"/>
                    <a:gd name="T44" fmla="*/ 8 w 32"/>
                    <a:gd name="T45" fmla="*/ 14 h 44"/>
                    <a:gd name="T46" fmla="*/ 5 w 32"/>
                    <a:gd name="T47" fmla="*/ 18 h 44"/>
                    <a:gd name="T48" fmla="*/ 1 w 32"/>
                    <a:gd name="T49" fmla="*/ 16 h 44"/>
                    <a:gd name="T50" fmla="*/ 2 w 32"/>
                    <a:gd name="T51" fmla="*/ 16 h 44"/>
                    <a:gd name="T52" fmla="*/ 4 w 32"/>
                    <a:gd name="T53" fmla="*/ 13 h 44"/>
                    <a:gd name="T54" fmla="*/ 0 w 32"/>
                    <a:gd name="T55" fmla="*/ 10 h 44"/>
                    <a:gd name="T56" fmla="*/ 2 w 32"/>
                    <a:gd name="T57" fmla="*/ 9 h 44"/>
                    <a:gd name="T58" fmla="*/ 5 w 32"/>
                    <a:gd name="T59" fmla="*/ 8 h 44"/>
                    <a:gd name="T60" fmla="*/ 9 w 32"/>
                    <a:gd name="T61" fmla="*/ 4 h 44"/>
                    <a:gd name="T62" fmla="*/ 12 w 32"/>
                    <a:gd name="T63" fmla="*/ 1 h 44"/>
                    <a:gd name="T64" fmla="*/ 18 w 32"/>
                    <a:gd name="T6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44">
                      <a:moveTo>
                        <a:pt x="18" y="0"/>
                      </a:moveTo>
                      <a:lnTo>
                        <a:pt x="18" y="0"/>
                      </a:lnTo>
                      <a:lnTo>
                        <a:pt x="18" y="1"/>
                      </a:lnTo>
                      <a:lnTo>
                        <a:pt x="19" y="2"/>
                      </a:lnTo>
                      <a:lnTo>
                        <a:pt x="21" y="4"/>
                      </a:lnTo>
                      <a:lnTo>
                        <a:pt x="23" y="5"/>
                      </a:lnTo>
                      <a:lnTo>
                        <a:pt x="26" y="4"/>
                      </a:lnTo>
                      <a:lnTo>
                        <a:pt x="28" y="4"/>
                      </a:lnTo>
                      <a:lnTo>
                        <a:pt x="28" y="8"/>
                      </a:lnTo>
                      <a:lnTo>
                        <a:pt x="26" y="10"/>
                      </a:lnTo>
                      <a:lnTo>
                        <a:pt x="31" y="10"/>
                      </a:lnTo>
                      <a:lnTo>
                        <a:pt x="32" y="12"/>
                      </a:lnTo>
                      <a:lnTo>
                        <a:pt x="32" y="16"/>
                      </a:lnTo>
                      <a:lnTo>
                        <a:pt x="30" y="18"/>
                      </a:lnTo>
                      <a:lnTo>
                        <a:pt x="28" y="20"/>
                      </a:lnTo>
                      <a:lnTo>
                        <a:pt x="28" y="21"/>
                      </a:lnTo>
                      <a:lnTo>
                        <a:pt x="26" y="27"/>
                      </a:lnTo>
                      <a:lnTo>
                        <a:pt x="24" y="30"/>
                      </a:lnTo>
                      <a:lnTo>
                        <a:pt x="24" y="34"/>
                      </a:lnTo>
                      <a:lnTo>
                        <a:pt x="23" y="36"/>
                      </a:lnTo>
                      <a:lnTo>
                        <a:pt x="23" y="38"/>
                      </a:lnTo>
                      <a:lnTo>
                        <a:pt x="21" y="37"/>
                      </a:lnTo>
                      <a:lnTo>
                        <a:pt x="19" y="38"/>
                      </a:lnTo>
                      <a:lnTo>
                        <a:pt x="20" y="40"/>
                      </a:lnTo>
                      <a:lnTo>
                        <a:pt x="17" y="43"/>
                      </a:lnTo>
                      <a:lnTo>
                        <a:pt x="14" y="44"/>
                      </a:lnTo>
                      <a:lnTo>
                        <a:pt x="15" y="40"/>
                      </a:lnTo>
                      <a:lnTo>
                        <a:pt x="15" y="38"/>
                      </a:lnTo>
                      <a:lnTo>
                        <a:pt x="13" y="36"/>
                      </a:lnTo>
                      <a:lnTo>
                        <a:pt x="15" y="34"/>
                      </a:lnTo>
                      <a:lnTo>
                        <a:pt x="13" y="34"/>
                      </a:lnTo>
                      <a:lnTo>
                        <a:pt x="12" y="36"/>
                      </a:lnTo>
                      <a:lnTo>
                        <a:pt x="13" y="42"/>
                      </a:lnTo>
                      <a:lnTo>
                        <a:pt x="8" y="40"/>
                      </a:lnTo>
                      <a:lnTo>
                        <a:pt x="9" y="37"/>
                      </a:lnTo>
                      <a:lnTo>
                        <a:pt x="10" y="35"/>
                      </a:lnTo>
                      <a:lnTo>
                        <a:pt x="8" y="29"/>
                      </a:lnTo>
                      <a:lnTo>
                        <a:pt x="10" y="27"/>
                      </a:lnTo>
                      <a:lnTo>
                        <a:pt x="13" y="21"/>
                      </a:lnTo>
                      <a:lnTo>
                        <a:pt x="13" y="19"/>
                      </a:lnTo>
                      <a:lnTo>
                        <a:pt x="11" y="19"/>
                      </a:lnTo>
                      <a:lnTo>
                        <a:pt x="13" y="17"/>
                      </a:lnTo>
                      <a:lnTo>
                        <a:pt x="11" y="14"/>
                      </a:lnTo>
                      <a:lnTo>
                        <a:pt x="10" y="12"/>
                      </a:lnTo>
                      <a:lnTo>
                        <a:pt x="6" y="12"/>
                      </a:lnTo>
                      <a:lnTo>
                        <a:pt x="8" y="14"/>
                      </a:lnTo>
                      <a:lnTo>
                        <a:pt x="8" y="18"/>
                      </a:lnTo>
                      <a:lnTo>
                        <a:pt x="5" y="18"/>
                      </a:lnTo>
                      <a:lnTo>
                        <a:pt x="3" y="19"/>
                      </a:lnTo>
                      <a:lnTo>
                        <a:pt x="1" y="16"/>
                      </a:lnTo>
                      <a:lnTo>
                        <a:pt x="2" y="13"/>
                      </a:lnTo>
                      <a:lnTo>
                        <a:pt x="2" y="16"/>
                      </a:lnTo>
                      <a:lnTo>
                        <a:pt x="5" y="17"/>
                      </a:lnTo>
                      <a:lnTo>
                        <a:pt x="4" y="13"/>
                      </a:lnTo>
                      <a:lnTo>
                        <a:pt x="1" y="12"/>
                      </a:lnTo>
                      <a:lnTo>
                        <a:pt x="0" y="10"/>
                      </a:lnTo>
                      <a:lnTo>
                        <a:pt x="2" y="9"/>
                      </a:lnTo>
                      <a:lnTo>
                        <a:pt x="2" y="9"/>
                      </a:lnTo>
                      <a:lnTo>
                        <a:pt x="3" y="7"/>
                      </a:lnTo>
                      <a:lnTo>
                        <a:pt x="5" y="8"/>
                      </a:lnTo>
                      <a:lnTo>
                        <a:pt x="5" y="7"/>
                      </a:lnTo>
                      <a:lnTo>
                        <a:pt x="9" y="4"/>
                      </a:lnTo>
                      <a:lnTo>
                        <a:pt x="11" y="3"/>
                      </a:lnTo>
                      <a:lnTo>
                        <a:pt x="12" y="1"/>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26" name="Freeform 188">
                  <a:extLst>
                    <a:ext uri="{FF2B5EF4-FFF2-40B4-BE49-F238E27FC236}">
                      <a16:creationId xmlns:a16="http://schemas.microsoft.com/office/drawing/2014/main" id="{850F70E9-E776-C909-7445-E171444195B2}"/>
                    </a:ext>
                  </a:extLst>
                </p:cNvPr>
                <p:cNvSpPr>
                  <a:spLocks/>
                </p:cNvSpPr>
                <p:nvPr/>
              </p:nvSpPr>
              <p:spPr bwMode="auto">
                <a:xfrm>
                  <a:off x="5559" y="1480"/>
                  <a:ext cx="116" cy="44"/>
                </a:xfrm>
                <a:custGeom>
                  <a:avLst/>
                  <a:gdLst>
                    <a:gd name="T0" fmla="*/ 27 w 116"/>
                    <a:gd name="T1" fmla="*/ 0 h 44"/>
                    <a:gd name="T2" fmla="*/ 22 w 116"/>
                    <a:gd name="T3" fmla="*/ 2 h 44"/>
                    <a:gd name="T4" fmla="*/ 18 w 116"/>
                    <a:gd name="T5" fmla="*/ 2 h 44"/>
                    <a:gd name="T6" fmla="*/ 10 w 116"/>
                    <a:gd name="T7" fmla="*/ 7 h 44"/>
                    <a:gd name="T8" fmla="*/ 12 w 116"/>
                    <a:gd name="T9" fmla="*/ 14 h 44"/>
                    <a:gd name="T10" fmla="*/ 3 w 116"/>
                    <a:gd name="T11" fmla="*/ 14 h 44"/>
                    <a:gd name="T12" fmla="*/ 5 w 116"/>
                    <a:gd name="T13" fmla="*/ 17 h 44"/>
                    <a:gd name="T14" fmla="*/ 4 w 116"/>
                    <a:gd name="T15" fmla="*/ 23 h 44"/>
                    <a:gd name="T16" fmla="*/ 0 w 116"/>
                    <a:gd name="T17" fmla="*/ 25 h 44"/>
                    <a:gd name="T18" fmla="*/ 5 w 116"/>
                    <a:gd name="T19" fmla="*/ 31 h 44"/>
                    <a:gd name="T20" fmla="*/ 13 w 116"/>
                    <a:gd name="T21" fmla="*/ 35 h 44"/>
                    <a:gd name="T22" fmla="*/ 16 w 116"/>
                    <a:gd name="T23" fmla="*/ 40 h 44"/>
                    <a:gd name="T24" fmla="*/ 27 w 116"/>
                    <a:gd name="T25" fmla="*/ 43 h 44"/>
                    <a:gd name="T26" fmla="*/ 33 w 116"/>
                    <a:gd name="T27" fmla="*/ 43 h 44"/>
                    <a:gd name="T28" fmla="*/ 35 w 116"/>
                    <a:gd name="T29" fmla="*/ 38 h 44"/>
                    <a:gd name="T30" fmla="*/ 41 w 116"/>
                    <a:gd name="T31" fmla="*/ 35 h 44"/>
                    <a:gd name="T32" fmla="*/ 43 w 116"/>
                    <a:gd name="T33" fmla="*/ 40 h 44"/>
                    <a:gd name="T34" fmla="*/ 63 w 116"/>
                    <a:gd name="T35" fmla="*/ 36 h 44"/>
                    <a:gd name="T36" fmla="*/ 72 w 116"/>
                    <a:gd name="T37" fmla="*/ 34 h 44"/>
                    <a:gd name="T38" fmla="*/ 72 w 116"/>
                    <a:gd name="T39" fmla="*/ 38 h 44"/>
                    <a:gd name="T40" fmla="*/ 80 w 116"/>
                    <a:gd name="T41" fmla="*/ 38 h 44"/>
                    <a:gd name="T42" fmla="*/ 91 w 116"/>
                    <a:gd name="T43" fmla="*/ 36 h 44"/>
                    <a:gd name="T44" fmla="*/ 90 w 116"/>
                    <a:gd name="T45" fmla="*/ 34 h 44"/>
                    <a:gd name="T46" fmla="*/ 81 w 116"/>
                    <a:gd name="T47" fmla="*/ 32 h 44"/>
                    <a:gd name="T48" fmla="*/ 74 w 116"/>
                    <a:gd name="T49" fmla="*/ 25 h 44"/>
                    <a:gd name="T50" fmla="*/ 73 w 116"/>
                    <a:gd name="T51" fmla="*/ 17 h 44"/>
                    <a:gd name="T52" fmla="*/ 73 w 116"/>
                    <a:gd name="T53" fmla="*/ 16 h 44"/>
                    <a:gd name="T54" fmla="*/ 82 w 116"/>
                    <a:gd name="T55" fmla="*/ 15 h 44"/>
                    <a:gd name="T56" fmla="*/ 83 w 116"/>
                    <a:gd name="T57" fmla="*/ 18 h 44"/>
                    <a:gd name="T58" fmla="*/ 77 w 116"/>
                    <a:gd name="T59" fmla="*/ 22 h 44"/>
                    <a:gd name="T60" fmla="*/ 84 w 116"/>
                    <a:gd name="T61" fmla="*/ 31 h 44"/>
                    <a:gd name="T62" fmla="*/ 93 w 116"/>
                    <a:gd name="T63" fmla="*/ 32 h 44"/>
                    <a:gd name="T64" fmla="*/ 104 w 116"/>
                    <a:gd name="T65" fmla="*/ 32 h 44"/>
                    <a:gd name="T66" fmla="*/ 108 w 116"/>
                    <a:gd name="T67" fmla="*/ 27 h 44"/>
                    <a:gd name="T68" fmla="*/ 108 w 116"/>
                    <a:gd name="T69" fmla="*/ 26 h 44"/>
                    <a:gd name="T70" fmla="*/ 112 w 116"/>
                    <a:gd name="T71" fmla="*/ 21 h 44"/>
                    <a:gd name="T72" fmla="*/ 112 w 116"/>
                    <a:gd name="T73" fmla="*/ 17 h 44"/>
                    <a:gd name="T74" fmla="*/ 107 w 116"/>
                    <a:gd name="T75" fmla="*/ 15 h 44"/>
                    <a:gd name="T76" fmla="*/ 92 w 116"/>
                    <a:gd name="T77" fmla="*/ 10 h 44"/>
                    <a:gd name="T78" fmla="*/ 82 w 116"/>
                    <a:gd name="T79" fmla="*/ 12 h 44"/>
                    <a:gd name="T80" fmla="*/ 76 w 116"/>
                    <a:gd name="T81" fmla="*/ 9 h 44"/>
                    <a:gd name="T82" fmla="*/ 65 w 116"/>
                    <a:gd name="T83" fmla="*/ 4 h 44"/>
                    <a:gd name="T84" fmla="*/ 64 w 116"/>
                    <a:gd name="T85" fmla="*/ 6 h 44"/>
                    <a:gd name="T86" fmla="*/ 56 w 116"/>
                    <a:gd name="T87" fmla="*/ 7 h 44"/>
                    <a:gd name="T88" fmla="*/ 55 w 116"/>
                    <a:gd name="T89" fmla="*/ 14 h 44"/>
                    <a:gd name="T90" fmla="*/ 55 w 116"/>
                    <a:gd name="T91" fmla="*/ 17 h 44"/>
                    <a:gd name="T92" fmla="*/ 49 w 116"/>
                    <a:gd name="T93" fmla="*/ 15 h 44"/>
                    <a:gd name="T94" fmla="*/ 43 w 116"/>
                    <a:gd name="T95" fmla="*/ 12 h 44"/>
                    <a:gd name="T96" fmla="*/ 41 w 116"/>
                    <a:gd name="T97" fmla="*/ 8 h 44"/>
                    <a:gd name="T98" fmla="*/ 30 w 116"/>
                    <a:gd name="T99"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6" h="44">
                      <a:moveTo>
                        <a:pt x="30" y="4"/>
                      </a:moveTo>
                      <a:lnTo>
                        <a:pt x="27" y="0"/>
                      </a:lnTo>
                      <a:lnTo>
                        <a:pt x="25" y="0"/>
                      </a:lnTo>
                      <a:lnTo>
                        <a:pt x="22" y="2"/>
                      </a:lnTo>
                      <a:lnTo>
                        <a:pt x="21" y="5"/>
                      </a:lnTo>
                      <a:lnTo>
                        <a:pt x="18" y="2"/>
                      </a:lnTo>
                      <a:lnTo>
                        <a:pt x="16" y="6"/>
                      </a:lnTo>
                      <a:lnTo>
                        <a:pt x="10" y="7"/>
                      </a:lnTo>
                      <a:lnTo>
                        <a:pt x="7" y="8"/>
                      </a:lnTo>
                      <a:lnTo>
                        <a:pt x="12" y="14"/>
                      </a:lnTo>
                      <a:lnTo>
                        <a:pt x="6" y="13"/>
                      </a:lnTo>
                      <a:lnTo>
                        <a:pt x="3" y="14"/>
                      </a:lnTo>
                      <a:lnTo>
                        <a:pt x="3" y="17"/>
                      </a:lnTo>
                      <a:lnTo>
                        <a:pt x="5" y="17"/>
                      </a:lnTo>
                      <a:lnTo>
                        <a:pt x="5" y="21"/>
                      </a:lnTo>
                      <a:lnTo>
                        <a:pt x="4" y="23"/>
                      </a:lnTo>
                      <a:lnTo>
                        <a:pt x="6" y="25"/>
                      </a:lnTo>
                      <a:lnTo>
                        <a:pt x="0" y="25"/>
                      </a:lnTo>
                      <a:lnTo>
                        <a:pt x="1" y="29"/>
                      </a:lnTo>
                      <a:lnTo>
                        <a:pt x="5" y="31"/>
                      </a:lnTo>
                      <a:lnTo>
                        <a:pt x="9" y="34"/>
                      </a:lnTo>
                      <a:lnTo>
                        <a:pt x="13" y="35"/>
                      </a:lnTo>
                      <a:lnTo>
                        <a:pt x="14" y="39"/>
                      </a:lnTo>
                      <a:lnTo>
                        <a:pt x="16" y="40"/>
                      </a:lnTo>
                      <a:lnTo>
                        <a:pt x="25" y="42"/>
                      </a:lnTo>
                      <a:lnTo>
                        <a:pt x="27" y="43"/>
                      </a:lnTo>
                      <a:lnTo>
                        <a:pt x="31" y="44"/>
                      </a:lnTo>
                      <a:lnTo>
                        <a:pt x="33" y="43"/>
                      </a:lnTo>
                      <a:lnTo>
                        <a:pt x="37" y="40"/>
                      </a:lnTo>
                      <a:lnTo>
                        <a:pt x="35" y="38"/>
                      </a:lnTo>
                      <a:lnTo>
                        <a:pt x="38" y="35"/>
                      </a:lnTo>
                      <a:lnTo>
                        <a:pt x="41" y="35"/>
                      </a:lnTo>
                      <a:lnTo>
                        <a:pt x="43" y="39"/>
                      </a:lnTo>
                      <a:lnTo>
                        <a:pt x="43" y="40"/>
                      </a:lnTo>
                      <a:lnTo>
                        <a:pt x="57" y="36"/>
                      </a:lnTo>
                      <a:lnTo>
                        <a:pt x="63" y="36"/>
                      </a:lnTo>
                      <a:lnTo>
                        <a:pt x="68" y="34"/>
                      </a:lnTo>
                      <a:lnTo>
                        <a:pt x="72" y="34"/>
                      </a:lnTo>
                      <a:lnTo>
                        <a:pt x="74" y="36"/>
                      </a:lnTo>
                      <a:lnTo>
                        <a:pt x="72" y="38"/>
                      </a:lnTo>
                      <a:lnTo>
                        <a:pt x="76" y="40"/>
                      </a:lnTo>
                      <a:lnTo>
                        <a:pt x="80" y="38"/>
                      </a:lnTo>
                      <a:lnTo>
                        <a:pt x="85" y="38"/>
                      </a:lnTo>
                      <a:lnTo>
                        <a:pt x="91" y="36"/>
                      </a:lnTo>
                      <a:lnTo>
                        <a:pt x="92" y="34"/>
                      </a:lnTo>
                      <a:lnTo>
                        <a:pt x="90" y="34"/>
                      </a:lnTo>
                      <a:lnTo>
                        <a:pt x="84" y="32"/>
                      </a:lnTo>
                      <a:lnTo>
                        <a:pt x="81" y="32"/>
                      </a:lnTo>
                      <a:lnTo>
                        <a:pt x="78" y="31"/>
                      </a:lnTo>
                      <a:lnTo>
                        <a:pt x="74" y="25"/>
                      </a:lnTo>
                      <a:lnTo>
                        <a:pt x="70" y="17"/>
                      </a:lnTo>
                      <a:lnTo>
                        <a:pt x="73" y="17"/>
                      </a:lnTo>
                      <a:lnTo>
                        <a:pt x="70" y="16"/>
                      </a:lnTo>
                      <a:lnTo>
                        <a:pt x="73" y="16"/>
                      </a:lnTo>
                      <a:lnTo>
                        <a:pt x="76" y="15"/>
                      </a:lnTo>
                      <a:lnTo>
                        <a:pt x="82" y="15"/>
                      </a:lnTo>
                      <a:lnTo>
                        <a:pt x="84" y="16"/>
                      </a:lnTo>
                      <a:lnTo>
                        <a:pt x="83" y="18"/>
                      </a:lnTo>
                      <a:lnTo>
                        <a:pt x="80" y="19"/>
                      </a:lnTo>
                      <a:lnTo>
                        <a:pt x="77" y="22"/>
                      </a:lnTo>
                      <a:lnTo>
                        <a:pt x="78" y="25"/>
                      </a:lnTo>
                      <a:lnTo>
                        <a:pt x="84" y="31"/>
                      </a:lnTo>
                      <a:lnTo>
                        <a:pt x="90" y="32"/>
                      </a:lnTo>
                      <a:lnTo>
                        <a:pt x="93" y="32"/>
                      </a:lnTo>
                      <a:lnTo>
                        <a:pt x="98" y="33"/>
                      </a:lnTo>
                      <a:lnTo>
                        <a:pt x="104" y="32"/>
                      </a:lnTo>
                      <a:lnTo>
                        <a:pt x="107" y="31"/>
                      </a:lnTo>
                      <a:lnTo>
                        <a:pt x="108" y="27"/>
                      </a:lnTo>
                      <a:lnTo>
                        <a:pt x="110" y="26"/>
                      </a:lnTo>
                      <a:lnTo>
                        <a:pt x="108" y="26"/>
                      </a:lnTo>
                      <a:lnTo>
                        <a:pt x="107" y="23"/>
                      </a:lnTo>
                      <a:lnTo>
                        <a:pt x="112" y="21"/>
                      </a:lnTo>
                      <a:lnTo>
                        <a:pt x="116" y="18"/>
                      </a:lnTo>
                      <a:lnTo>
                        <a:pt x="112" y="17"/>
                      </a:lnTo>
                      <a:lnTo>
                        <a:pt x="110" y="17"/>
                      </a:lnTo>
                      <a:lnTo>
                        <a:pt x="107" y="15"/>
                      </a:lnTo>
                      <a:lnTo>
                        <a:pt x="104" y="15"/>
                      </a:lnTo>
                      <a:lnTo>
                        <a:pt x="92" y="10"/>
                      </a:lnTo>
                      <a:lnTo>
                        <a:pt x="84" y="12"/>
                      </a:lnTo>
                      <a:lnTo>
                        <a:pt x="82" y="12"/>
                      </a:lnTo>
                      <a:lnTo>
                        <a:pt x="78" y="10"/>
                      </a:lnTo>
                      <a:lnTo>
                        <a:pt x="76" y="9"/>
                      </a:lnTo>
                      <a:lnTo>
                        <a:pt x="70" y="6"/>
                      </a:lnTo>
                      <a:lnTo>
                        <a:pt x="65" y="4"/>
                      </a:lnTo>
                      <a:lnTo>
                        <a:pt x="61" y="4"/>
                      </a:lnTo>
                      <a:lnTo>
                        <a:pt x="64" y="6"/>
                      </a:lnTo>
                      <a:lnTo>
                        <a:pt x="58" y="5"/>
                      </a:lnTo>
                      <a:lnTo>
                        <a:pt x="56" y="7"/>
                      </a:lnTo>
                      <a:lnTo>
                        <a:pt x="56" y="12"/>
                      </a:lnTo>
                      <a:lnTo>
                        <a:pt x="55" y="14"/>
                      </a:lnTo>
                      <a:lnTo>
                        <a:pt x="57" y="16"/>
                      </a:lnTo>
                      <a:lnTo>
                        <a:pt x="55" y="17"/>
                      </a:lnTo>
                      <a:lnTo>
                        <a:pt x="52" y="17"/>
                      </a:lnTo>
                      <a:lnTo>
                        <a:pt x="49" y="15"/>
                      </a:lnTo>
                      <a:lnTo>
                        <a:pt x="49" y="12"/>
                      </a:lnTo>
                      <a:lnTo>
                        <a:pt x="43" y="12"/>
                      </a:lnTo>
                      <a:lnTo>
                        <a:pt x="42" y="10"/>
                      </a:lnTo>
                      <a:lnTo>
                        <a:pt x="41" y="8"/>
                      </a:lnTo>
                      <a:lnTo>
                        <a:pt x="30" y="4"/>
                      </a:lnTo>
                      <a:lnTo>
                        <a:pt x="3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27" name="Freeform 189">
                  <a:extLst>
                    <a:ext uri="{FF2B5EF4-FFF2-40B4-BE49-F238E27FC236}">
                      <a16:creationId xmlns:a16="http://schemas.microsoft.com/office/drawing/2014/main" id="{7709EBCE-B717-938E-EC3F-6011C37A4F74}"/>
                    </a:ext>
                  </a:extLst>
                </p:cNvPr>
                <p:cNvSpPr>
                  <a:spLocks/>
                </p:cNvSpPr>
                <p:nvPr/>
              </p:nvSpPr>
              <p:spPr bwMode="auto">
                <a:xfrm>
                  <a:off x="5599" y="1544"/>
                  <a:ext cx="51" cy="19"/>
                </a:xfrm>
                <a:custGeom>
                  <a:avLst/>
                  <a:gdLst>
                    <a:gd name="T0" fmla="*/ 3 w 51"/>
                    <a:gd name="T1" fmla="*/ 12 h 19"/>
                    <a:gd name="T2" fmla="*/ 0 w 51"/>
                    <a:gd name="T3" fmla="*/ 12 h 19"/>
                    <a:gd name="T4" fmla="*/ 2 w 51"/>
                    <a:gd name="T5" fmla="*/ 14 h 19"/>
                    <a:gd name="T6" fmla="*/ 6 w 51"/>
                    <a:gd name="T7" fmla="*/ 13 h 19"/>
                    <a:gd name="T8" fmla="*/ 11 w 51"/>
                    <a:gd name="T9" fmla="*/ 12 h 19"/>
                    <a:gd name="T10" fmla="*/ 17 w 51"/>
                    <a:gd name="T11" fmla="*/ 13 h 19"/>
                    <a:gd name="T12" fmla="*/ 26 w 51"/>
                    <a:gd name="T13" fmla="*/ 15 h 19"/>
                    <a:gd name="T14" fmla="*/ 41 w 51"/>
                    <a:gd name="T15" fmla="*/ 18 h 19"/>
                    <a:gd name="T16" fmla="*/ 46 w 51"/>
                    <a:gd name="T17" fmla="*/ 19 h 19"/>
                    <a:gd name="T18" fmla="*/ 49 w 51"/>
                    <a:gd name="T19" fmla="*/ 18 h 19"/>
                    <a:gd name="T20" fmla="*/ 51 w 51"/>
                    <a:gd name="T21" fmla="*/ 15 h 19"/>
                    <a:gd name="T22" fmla="*/ 51 w 51"/>
                    <a:gd name="T23" fmla="*/ 12 h 19"/>
                    <a:gd name="T24" fmla="*/ 50 w 51"/>
                    <a:gd name="T25" fmla="*/ 10 h 19"/>
                    <a:gd name="T26" fmla="*/ 46 w 51"/>
                    <a:gd name="T27" fmla="*/ 8 h 19"/>
                    <a:gd name="T28" fmla="*/ 38 w 51"/>
                    <a:gd name="T29" fmla="*/ 2 h 19"/>
                    <a:gd name="T30" fmla="*/ 30 w 51"/>
                    <a:gd name="T31" fmla="*/ 0 h 19"/>
                    <a:gd name="T32" fmla="*/ 25 w 51"/>
                    <a:gd name="T33" fmla="*/ 0 h 19"/>
                    <a:gd name="T34" fmla="*/ 21 w 51"/>
                    <a:gd name="T35" fmla="*/ 1 h 19"/>
                    <a:gd name="T36" fmla="*/ 19 w 51"/>
                    <a:gd name="T37" fmla="*/ 1 h 19"/>
                    <a:gd name="T38" fmla="*/ 16 w 51"/>
                    <a:gd name="T39" fmla="*/ 2 h 19"/>
                    <a:gd name="T40" fmla="*/ 13 w 51"/>
                    <a:gd name="T41" fmla="*/ 4 h 19"/>
                    <a:gd name="T42" fmla="*/ 12 w 51"/>
                    <a:gd name="T43" fmla="*/ 8 h 19"/>
                    <a:gd name="T44" fmla="*/ 10 w 51"/>
                    <a:gd name="T45" fmla="*/ 10 h 19"/>
                    <a:gd name="T46" fmla="*/ 7 w 51"/>
                    <a:gd name="T47" fmla="*/ 12 h 19"/>
                    <a:gd name="T48" fmla="*/ 3 w 51"/>
                    <a:gd name="T49" fmla="*/ 12 h 19"/>
                    <a:gd name="T50" fmla="*/ 3 w 51"/>
                    <a:gd name="T51"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19">
                      <a:moveTo>
                        <a:pt x="3" y="12"/>
                      </a:moveTo>
                      <a:lnTo>
                        <a:pt x="0" y="12"/>
                      </a:lnTo>
                      <a:lnTo>
                        <a:pt x="2" y="14"/>
                      </a:lnTo>
                      <a:lnTo>
                        <a:pt x="6" y="13"/>
                      </a:lnTo>
                      <a:lnTo>
                        <a:pt x="11" y="12"/>
                      </a:lnTo>
                      <a:lnTo>
                        <a:pt x="17" y="13"/>
                      </a:lnTo>
                      <a:lnTo>
                        <a:pt x="26" y="15"/>
                      </a:lnTo>
                      <a:lnTo>
                        <a:pt x="41" y="18"/>
                      </a:lnTo>
                      <a:lnTo>
                        <a:pt x="46" y="19"/>
                      </a:lnTo>
                      <a:lnTo>
                        <a:pt x="49" y="18"/>
                      </a:lnTo>
                      <a:lnTo>
                        <a:pt x="51" y="15"/>
                      </a:lnTo>
                      <a:lnTo>
                        <a:pt x="51" y="12"/>
                      </a:lnTo>
                      <a:lnTo>
                        <a:pt x="50" y="10"/>
                      </a:lnTo>
                      <a:lnTo>
                        <a:pt x="46" y="8"/>
                      </a:lnTo>
                      <a:lnTo>
                        <a:pt x="38" y="2"/>
                      </a:lnTo>
                      <a:lnTo>
                        <a:pt x="30" y="0"/>
                      </a:lnTo>
                      <a:lnTo>
                        <a:pt x="25" y="0"/>
                      </a:lnTo>
                      <a:lnTo>
                        <a:pt x="21" y="1"/>
                      </a:lnTo>
                      <a:lnTo>
                        <a:pt x="19" y="1"/>
                      </a:lnTo>
                      <a:lnTo>
                        <a:pt x="16" y="2"/>
                      </a:lnTo>
                      <a:lnTo>
                        <a:pt x="13" y="4"/>
                      </a:lnTo>
                      <a:lnTo>
                        <a:pt x="12" y="8"/>
                      </a:lnTo>
                      <a:lnTo>
                        <a:pt x="10" y="10"/>
                      </a:lnTo>
                      <a:lnTo>
                        <a:pt x="7" y="12"/>
                      </a:lnTo>
                      <a:lnTo>
                        <a:pt x="3" y="12"/>
                      </a:lnTo>
                      <a:lnTo>
                        <a:pt x="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28" name="Freeform 190">
                  <a:extLst>
                    <a:ext uri="{FF2B5EF4-FFF2-40B4-BE49-F238E27FC236}">
                      <a16:creationId xmlns:a16="http://schemas.microsoft.com/office/drawing/2014/main" id="{FD2AAB16-2BED-3577-8A43-9D74B6E41053}"/>
                    </a:ext>
                  </a:extLst>
                </p:cNvPr>
                <p:cNvSpPr>
                  <a:spLocks/>
                </p:cNvSpPr>
                <p:nvPr/>
              </p:nvSpPr>
              <p:spPr bwMode="auto">
                <a:xfrm>
                  <a:off x="5603" y="1533"/>
                  <a:ext cx="14" cy="11"/>
                </a:xfrm>
                <a:custGeom>
                  <a:avLst/>
                  <a:gdLst>
                    <a:gd name="T0" fmla="*/ 5 w 14"/>
                    <a:gd name="T1" fmla="*/ 11 h 11"/>
                    <a:gd name="T2" fmla="*/ 9 w 14"/>
                    <a:gd name="T3" fmla="*/ 9 h 11"/>
                    <a:gd name="T4" fmla="*/ 13 w 14"/>
                    <a:gd name="T5" fmla="*/ 8 h 11"/>
                    <a:gd name="T6" fmla="*/ 14 w 14"/>
                    <a:gd name="T7" fmla="*/ 3 h 11"/>
                    <a:gd name="T8" fmla="*/ 11 w 14"/>
                    <a:gd name="T9" fmla="*/ 2 h 11"/>
                    <a:gd name="T10" fmla="*/ 8 w 14"/>
                    <a:gd name="T11" fmla="*/ 0 h 11"/>
                    <a:gd name="T12" fmla="*/ 3 w 14"/>
                    <a:gd name="T13" fmla="*/ 2 h 11"/>
                    <a:gd name="T14" fmla="*/ 0 w 14"/>
                    <a:gd name="T15" fmla="*/ 4 h 11"/>
                    <a:gd name="T16" fmla="*/ 0 w 14"/>
                    <a:gd name="T17" fmla="*/ 7 h 11"/>
                    <a:gd name="T18" fmla="*/ 3 w 14"/>
                    <a:gd name="T19" fmla="*/ 9 h 11"/>
                    <a:gd name="T20" fmla="*/ 5 w 14"/>
                    <a:gd name="T21" fmla="*/ 11 h 11"/>
                    <a:gd name="T22" fmla="*/ 5 w 14"/>
                    <a:gd name="T2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1">
                      <a:moveTo>
                        <a:pt x="5" y="11"/>
                      </a:moveTo>
                      <a:lnTo>
                        <a:pt x="9" y="9"/>
                      </a:lnTo>
                      <a:lnTo>
                        <a:pt x="13" y="8"/>
                      </a:lnTo>
                      <a:lnTo>
                        <a:pt x="14" y="3"/>
                      </a:lnTo>
                      <a:lnTo>
                        <a:pt x="11" y="2"/>
                      </a:lnTo>
                      <a:lnTo>
                        <a:pt x="8" y="0"/>
                      </a:lnTo>
                      <a:lnTo>
                        <a:pt x="3" y="2"/>
                      </a:lnTo>
                      <a:lnTo>
                        <a:pt x="0" y="4"/>
                      </a:lnTo>
                      <a:lnTo>
                        <a:pt x="0" y="7"/>
                      </a:lnTo>
                      <a:lnTo>
                        <a:pt x="3" y="9"/>
                      </a:lnTo>
                      <a:lnTo>
                        <a:pt x="5" y="11"/>
                      </a:lnTo>
                      <a:lnTo>
                        <a:pt x="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29" name="Freeform 191">
                  <a:extLst>
                    <a:ext uri="{FF2B5EF4-FFF2-40B4-BE49-F238E27FC236}">
                      <a16:creationId xmlns:a16="http://schemas.microsoft.com/office/drawing/2014/main" id="{92524607-9E82-5D16-66AE-0621185B350F}"/>
                    </a:ext>
                  </a:extLst>
                </p:cNvPr>
                <p:cNvSpPr>
                  <a:spLocks/>
                </p:cNvSpPr>
                <p:nvPr/>
              </p:nvSpPr>
              <p:spPr bwMode="auto">
                <a:xfrm>
                  <a:off x="5685" y="1498"/>
                  <a:ext cx="66" cy="23"/>
                </a:xfrm>
                <a:custGeom>
                  <a:avLst/>
                  <a:gdLst>
                    <a:gd name="T0" fmla="*/ 42 w 66"/>
                    <a:gd name="T1" fmla="*/ 23 h 23"/>
                    <a:gd name="T2" fmla="*/ 49 w 66"/>
                    <a:gd name="T3" fmla="*/ 23 h 23"/>
                    <a:gd name="T4" fmla="*/ 55 w 66"/>
                    <a:gd name="T5" fmla="*/ 21 h 23"/>
                    <a:gd name="T6" fmla="*/ 60 w 66"/>
                    <a:gd name="T7" fmla="*/ 20 h 23"/>
                    <a:gd name="T8" fmla="*/ 63 w 66"/>
                    <a:gd name="T9" fmla="*/ 17 h 23"/>
                    <a:gd name="T10" fmla="*/ 65 w 66"/>
                    <a:gd name="T11" fmla="*/ 15 h 23"/>
                    <a:gd name="T12" fmla="*/ 66 w 66"/>
                    <a:gd name="T13" fmla="*/ 13 h 23"/>
                    <a:gd name="T14" fmla="*/ 63 w 66"/>
                    <a:gd name="T15" fmla="*/ 12 h 23"/>
                    <a:gd name="T16" fmla="*/ 61 w 66"/>
                    <a:gd name="T17" fmla="*/ 13 h 23"/>
                    <a:gd name="T18" fmla="*/ 58 w 66"/>
                    <a:gd name="T19" fmla="*/ 12 h 23"/>
                    <a:gd name="T20" fmla="*/ 55 w 66"/>
                    <a:gd name="T21" fmla="*/ 11 h 23"/>
                    <a:gd name="T22" fmla="*/ 44 w 66"/>
                    <a:gd name="T23" fmla="*/ 8 h 23"/>
                    <a:gd name="T24" fmla="*/ 41 w 66"/>
                    <a:gd name="T25" fmla="*/ 9 h 23"/>
                    <a:gd name="T26" fmla="*/ 39 w 66"/>
                    <a:gd name="T27" fmla="*/ 11 h 23"/>
                    <a:gd name="T28" fmla="*/ 35 w 66"/>
                    <a:gd name="T29" fmla="*/ 11 h 23"/>
                    <a:gd name="T30" fmla="*/ 33 w 66"/>
                    <a:gd name="T31" fmla="*/ 8 h 23"/>
                    <a:gd name="T32" fmla="*/ 34 w 66"/>
                    <a:gd name="T33" fmla="*/ 6 h 23"/>
                    <a:gd name="T34" fmla="*/ 31 w 66"/>
                    <a:gd name="T35" fmla="*/ 5 h 23"/>
                    <a:gd name="T36" fmla="*/ 28 w 66"/>
                    <a:gd name="T37" fmla="*/ 5 h 23"/>
                    <a:gd name="T38" fmla="*/ 19 w 66"/>
                    <a:gd name="T39" fmla="*/ 4 h 23"/>
                    <a:gd name="T40" fmla="*/ 17 w 66"/>
                    <a:gd name="T41" fmla="*/ 7 h 23"/>
                    <a:gd name="T42" fmla="*/ 14 w 66"/>
                    <a:gd name="T43" fmla="*/ 7 h 23"/>
                    <a:gd name="T44" fmla="*/ 11 w 66"/>
                    <a:gd name="T45" fmla="*/ 7 h 23"/>
                    <a:gd name="T46" fmla="*/ 8 w 66"/>
                    <a:gd name="T47" fmla="*/ 5 h 23"/>
                    <a:gd name="T48" fmla="*/ 9 w 66"/>
                    <a:gd name="T49" fmla="*/ 3 h 23"/>
                    <a:gd name="T50" fmla="*/ 7 w 66"/>
                    <a:gd name="T51" fmla="*/ 0 h 23"/>
                    <a:gd name="T52" fmla="*/ 3 w 66"/>
                    <a:gd name="T53" fmla="*/ 3 h 23"/>
                    <a:gd name="T54" fmla="*/ 0 w 66"/>
                    <a:gd name="T55" fmla="*/ 11 h 23"/>
                    <a:gd name="T56" fmla="*/ 3 w 66"/>
                    <a:gd name="T57" fmla="*/ 12 h 23"/>
                    <a:gd name="T58" fmla="*/ 9 w 66"/>
                    <a:gd name="T59" fmla="*/ 13 h 23"/>
                    <a:gd name="T60" fmla="*/ 15 w 66"/>
                    <a:gd name="T61" fmla="*/ 16 h 23"/>
                    <a:gd name="T62" fmla="*/ 17 w 66"/>
                    <a:gd name="T63" fmla="*/ 17 h 23"/>
                    <a:gd name="T64" fmla="*/ 20 w 66"/>
                    <a:gd name="T65" fmla="*/ 17 h 23"/>
                    <a:gd name="T66" fmla="*/ 28 w 66"/>
                    <a:gd name="T67" fmla="*/ 22 h 23"/>
                    <a:gd name="T68" fmla="*/ 34 w 66"/>
                    <a:gd name="T69" fmla="*/ 23 h 23"/>
                    <a:gd name="T70" fmla="*/ 42 w 66"/>
                    <a:gd name="T71" fmla="*/ 23 h 23"/>
                    <a:gd name="T72" fmla="*/ 42 w 66"/>
                    <a:gd name="T7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23">
                      <a:moveTo>
                        <a:pt x="42" y="23"/>
                      </a:moveTo>
                      <a:lnTo>
                        <a:pt x="49" y="23"/>
                      </a:lnTo>
                      <a:lnTo>
                        <a:pt x="55" y="21"/>
                      </a:lnTo>
                      <a:lnTo>
                        <a:pt x="60" y="20"/>
                      </a:lnTo>
                      <a:lnTo>
                        <a:pt x="63" y="17"/>
                      </a:lnTo>
                      <a:lnTo>
                        <a:pt x="65" y="15"/>
                      </a:lnTo>
                      <a:lnTo>
                        <a:pt x="66" y="13"/>
                      </a:lnTo>
                      <a:lnTo>
                        <a:pt x="63" y="12"/>
                      </a:lnTo>
                      <a:lnTo>
                        <a:pt x="61" y="13"/>
                      </a:lnTo>
                      <a:lnTo>
                        <a:pt x="58" y="12"/>
                      </a:lnTo>
                      <a:lnTo>
                        <a:pt x="55" y="11"/>
                      </a:lnTo>
                      <a:lnTo>
                        <a:pt x="44" y="8"/>
                      </a:lnTo>
                      <a:lnTo>
                        <a:pt x="41" y="9"/>
                      </a:lnTo>
                      <a:lnTo>
                        <a:pt x="39" y="11"/>
                      </a:lnTo>
                      <a:lnTo>
                        <a:pt x="35" y="11"/>
                      </a:lnTo>
                      <a:lnTo>
                        <a:pt x="33" y="8"/>
                      </a:lnTo>
                      <a:lnTo>
                        <a:pt x="34" y="6"/>
                      </a:lnTo>
                      <a:lnTo>
                        <a:pt x="31" y="5"/>
                      </a:lnTo>
                      <a:lnTo>
                        <a:pt x="28" y="5"/>
                      </a:lnTo>
                      <a:lnTo>
                        <a:pt x="19" y="4"/>
                      </a:lnTo>
                      <a:lnTo>
                        <a:pt x="17" y="7"/>
                      </a:lnTo>
                      <a:lnTo>
                        <a:pt x="14" y="7"/>
                      </a:lnTo>
                      <a:lnTo>
                        <a:pt x="11" y="7"/>
                      </a:lnTo>
                      <a:lnTo>
                        <a:pt x="8" y="5"/>
                      </a:lnTo>
                      <a:lnTo>
                        <a:pt x="9" y="3"/>
                      </a:lnTo>
                      <a:lnTo>
                        <a:pt x="7" y="0"/>
                      </a:lnTo>
                      <a:lnTo>
                        <a:pt x="3" y="3"/>
                      </a:lnTo>
                      <a:lnTo>
                        <a:pt x="0" y="11"/>
                      </a:lnTo>
                      <a:lnTo>
                        <a:pt x="3" y="12"/>
                      </a:lnTo>
                      <a:lnTo>
                        <a:pt x="9" y="13"/>
                      </a:lnTo>
                      <a:lnTo>
                        <a:pt x="15" y="16"/>
                      </a:lnTo>
                      <a:lnTo>
                        <a:pt x="17" y="17"/>
                      </a:lnTo>
                      <a:lnTo>
                        <a:pt x="20" y="17"/>
                      </a:lnTo>
                      <a:lnTo>
                        <a:pt x="28" y="22"/>
                      </a:lnTo>
                      <a:lnTo>
                        <a:pt x="34" y="23"/>
                      </a:lnTo>
                      <a:lnTo>
                        <a:pt x="42" y="23"/>
                      </a:lnTo>
                      <a:lnTo>
                        <a:pt x="42"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30" name="Freeform 192">
                  <a:extLst>
                    <a:ext uri="{FF2B5EF4-FFF2-40B4-BE49-F238E27FC236}">
                      <a16:creationId xmlns:a16="http://schemas.microsoft.com/office/drawing/2014/main" id="{B1639342-8ADB-BC34-1B37-AB9F7D28CC08}"/>
                    </a:ext>
                  </a:extLst>
                </p:cNvPr>
                <p:cNvSpPr>
                  <a:spLocks/>
                </p:cNvSpPr>
                <p:nvPr/>
              </p:nvSpPr>
              <p:spPr bwMode="auto">
                <a:xfrm>
                  <a:off x="5716" y="2863"/>
                  <a:ext cx="56" cy="28"/>
                </a:xfrm>
                <a:custGeom>
                  <a:avLst/>
                  <a:gdLst>
                    <a:gd name="T0" fmla="*/ 34 w 56"/>
                    <a:gd name="T1" fmla="*/ 27 h 28"/>
                    <a:gd name="T2" fmla="*/ 35 w 56"/>
                    <a:gd name="T3" fmla="*/ 26 h 28"/>
                    <a:gd name="T4" fmla="*/ 38 w 56"/>
                    <a:gd name="T5" fmla="*/ 25 h 28"/>
                    <a:gd name="T6" fmla="*/ 40 w 56"/>
                    <a:gd name="T7" fmla="*/ 23 h 28"/>
                    <a:gd name="T8" fmla="*/ 43 w 56"/>
                    <a:gd name="T9" fmla="*/ 21 h 28"/>
                    <a:gd name="T10" fmla="*/ 44 w 56"/>
                    <a:gd name="T11" fmla="*/ 19 h 28"/>
                    <a:gd name="T12" fmla="*/ 49 w 56"/>
                    <a:gd name="T13" fmla="*/ 19 h 28"/>
                    <a:gd name="T14" fmla="*/ 52 w 56"/>
                    <a:gd name="T15" fmla="*/ 17 h 28"/>
                    <a:gd name="T16" fmla="*/ 51 w 56"/>
                    <a:gd name="T17" fmla="*/ 13 h 28"/>
                    <a:gd name="T18" fmla="*/ 52 w 56"/>
                    <a:gd name="T19" fmla="*/ 11 h 28"/>
                    <a:gd name="T20" fmla="*/ 54 w 56"/>
                    <a:gd name="T21" fmla="*/ 10 h 28"/>
                    <a:gd name="T22" fmla="*/ 56 w 56"/>
                    <a:gd name="T23" fmla="*/ 7 h 28"/>
                    <a:gd name="T24" fmla="*/ 55 w 56"/>
                    <a:gd name="T25" fmla="*/ 4 h 28"/>
                    <a:gd name="T26" fmla="*/ 55 w 56"/>
                    <a:gd name="T27" fmla="*/ 2 h 28"/>
                    <a:gd name="T28" fmla="*/ 52 w 56"/>
                    <a:gd name="T29" fmla="*/ 0 h 28"/>
                    <a:gd name="T30" fmla="*/ 49 w 56"/>
                    <a:gd name="T31" fmla="*/ 2 h 28"/>
                    <a:gd name="T32" fmla="*/ 47 w 56"/>
                    <a:gd name="T33" fmla="*/ 0 h 28"/>
                    <a:gd name="T34" fmla="*/ 44 w 56"/>
                    <a:gd name="T35" fmla="*/ 2 h 28"/>
                    <a:gd name="T36" fmla="*/ 46 w 56"/>
                    <a:gd name="T37" fmla="*/ 8 h 28"/>
                    <a:gd name="T38" fmla="*/ 45 w 56"/>
                    <a:gd name="T39" fmla="*/ 10 h 28"/>
                    <a:gd name="T40" fmla="*/ 41 w 56"/>
                    <a:gd name="T41" fmla="*/ 10 h 28"/>
                    <a:gd name="T42" fmla="*/ 39 w 56"/>
                    <a:gd name="T43" fmla="*/ 12 h 28"/>
                    <a:gd name="T44" fmla="*/ 35 w 56"/>
                    <a:gd name="T45" fmla="*/ 18 h 28"/>
                    <a:gd name="T46" fmla="*/ 32 w 56"/>
                    <a:gd name="T47" fmla="*/ 19 h 28"/>
                    <a:gd name="T48" fmla="*/ 30 w 56"/>
                    <a:gd name="T49" fmla="*/ 17 h 28"/>
                    <a:gd name="T50" fmla="*/ 27 w 56"/>
                    <a:gd name="T51" fmla="*/ 19 h 28"/>
                    <a:gd name="T52" fmla="*/ 24 w 56"/>
                    <a:gd name="T53" fmla="*/ 17 h 28"/>
                    <a:gd name="T54" fmla="*/ 23 w 56"/>
                    <a:gd name="T55" fmla="*/ 12 h 28"/>
                    <a:gd name="T56" fmla="*/ 22 w 56"/>
                    <a:gd name="T57" fmla="*/ 15 h 28"/>
                    <a:gd name="T58" fmla="*/ 22 w 56"/>
                    <a:gd name="T59" fmla="*/ 16 h 28"/>
                    <a:gd name="T60" fmla="*/ 21 w 56"/>
                    <a:gd name="T61" fmla="*/ 18 h 28"/>
                    <a:gd name="T62" fmla="*/ 19 w 56"/>
                    <a:gd name="T63" fmla="*/ 19 h 28"/>
                    <a:gd name="T64" fmla="*/ 17 w 56"/>
                    <a:gd name="T65" fmla="*/ 19 h 28"/>
                    <a:gd name="T66" fmla="*/ 17 w 56"/>
                    <a:gd name="T67" fmla="*/ 19 h 28"/>
                    <a:gd name="T68" fmla="*/ 13 w 56"/>
                    <a:gd name="T69" fmla="*/ 19 h 28"/>
                    <a:gd name="T70" fmla="*/ 11 w 56"/>
                    <a:gd name="T71" fmla="*/ 18 h 28"/>
                    <a:gd name="T72" fmla="*/ 5 w 56"/>
                    <a:gd name="T73" fmla="*/ 18 h 28"/>
                    <a:gd name="T74" fmla="*/ 0 w 56"/>
                    <a:gd name="T75" fmla="*/ 19 h 28"/>
                    <a:gd name="T76" fmla="*/ 2 w 56"/>
                    <a:gd name="T77" fmla="*/ 23 h 28"/>
                    <a:gd name="T78" fmla="*/ 5 w 56"/>
                    <a:gd name="T79" fmla="*/ 23 h 28"/>
                    <a:gd name="T80" fmla="*/ 10 w 56"/>
                    <a:gd name="T81" fmla="*/ 26 h 28"/>
                    <a:gd name="T82" fmla="*/ 12 w 56"/>
                    <a:gd name="T83" fmla="*/ 26 h 28"/>
                    <a:gd name="T84" fmla="*/ 15 w 56"/>
                    <a:gd name="T85" fmla="*/ 26 h 28"/>
                    <a:gd name="T86" fmla="*/ 18 w 56"/>
                    <a:gd name="T87" fmla="*/ 28 h 28"/>
                    <a:gd name="T88" fmla="*/ 28 w 56"/>
                    <a:gd name="T89" fmla="*/ 28 h 28"/>
                    <a:gd name="T90" fmla="*/ 30 w 56"/>
                    <a:gd name="T91" fmla="*/ 27 h 28"/>
                    <a:gd name="T92" fmla="*/ 34 w 56"/>
                    <a:gd name="T93" fmla="*/ 27 h 28"/>
                    <a:gd name="T94" fmla="*/ 34 w 56"/>
                    <a:gd name="T95"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28">
                      <a:moveTo>
                        <a:pt x="34" y="27"/>
                      </a:moveTo>
                      <a:lnTo>
                        <a:pt x="35" y="26"/>
                      </a:lnTo>
                      <a:lnTo>
                        <a:pt x="38" y="25"/>
                      </a:lnTo>
                      <a:lnTo>
                        <a:pt x="40" y="23"/>
                      </a:lnTo>
                      <a:lnTo>
                        <a:pt x="43" y="21"/>
                      </a:lnTo>
                      <a:lnTo>
                        <a:pt x="44" y="19"/>
                      </a:lnTo>
                      <a:lnTo>
                        <a:pt x="49" y="19"/>
                      </a:lnTo>
                      <a:lnTo>
                        <a:pt x="52" y="17"/>
                      </a:lnTo>
                      <a:lnTo>
                        <a:pt x="51" y="13"/>
                      </a:lnTo>
                      <a:lnTo>
                        <a:pt x="52" y="11"/>
                      </a:lnTo>
                      <a:lnTo>
                        <a:pt x="54" y="10"/>
                      </a:lnTo>
                      <a:lnTo>
                        <a:pt x="56" y="7"/>
                      </a:lnTo>
                      <a:lnTo>
                        <a:pt x="55" y="4"/>
                      </a:lnTo>
                      <a:lnTo>
                        <a:pt x="55" y="2"/>
                      </a:lnTo>
                      <a:lnTo>
                        <a:pt x="52" y="0"/>
                      </a:lnTo>
                      <a:lnTo>
                        <a:pt x="49" y="2"/>
                      </a:lnTo>
                      <a:lnTo>
                        <a:pt x="47" y="0"/>
                      </a:lnTo>
                      <a:lnTo>
                        <a:pt x="44" y="2"/>
                      </a:lnTo>
                      <a:lnTo>
                        <a:pt x="46" y="8"/>
                      </a:lnTo>
                      <a:lnTo>
                        <a:pt x="45" y="10"/>
                      </a:lnTo>
                      <a:lnTo>
                        <a:pt x="41" y="10"/>
                      </a:lnTo>
                      <a:lnTo>
                        <a:pt x="39" y="12"/>
                      </a:lnTo>
                      <a:lnTo>
                        <a:pt x="35" y="18"/>
                      </a:lnTo>
                      <a:lnTo>
                        <a:pt x="32" y="19"/>
                      </a:lnTo>
                      <a:lnTo>
                        <a:pt x="30" y="17"/>
                      </a:lnTo>
                      <a:lnTo>
                        <a:pt x="27" y="19"/>
                      </a:lnTo>
                      <a:lnTo>
                        <a:pt x="24" y="17"/>
                      </a:lnTo>
                      <a:lnTo>
                        <a:pt x="23" y="12"/>
                      </a:lnTo>
                      <a:lnTo>
                        <a:pt x="22" y="15"/>
                      </a:lnTo>
                      <a:lnTo>
                        <a:pt x="22" y="16"/>
                      </a:lnTo>
                      <a:lnTo>
                        <a:pt x="21" y="18"/>
                      </a:lnTo>
                      <a:lnTo>
                        <a:pt x="19" y="19"/>
                      </a:lnTo>
                      <a:lnTo>
                        <a:pt x="17" y="19"/>
                      </a:lnTo>
                      <a:lnTo>
                        <a:pt x="17" y="19"/>
                      </a:lnTo>
                      <a:lnTo>
                        <a:pt x="13" y="19"/>
                      </a:lnTo>
                      <a:lnTo>
                        <a:pt x="11" y="18"/>
                      </a:lnTo>
                      <a:lnTo>
                        <a:pt x="5" y="18"/>
                      </a:lnTo>
                      <a:lnTo>
                        <a:pt x="0" y="19"/>
                      </a:lnTo>
                      <a:lnTo>
                        <a:pt x="2" y="23"/>
                      </a:lnTo>
                      <a:lnTo>
                        <a:pt x="5" y="23"/>
                      </a:lnTo>
                      <a:lnTo>
                        <a:pt x="10" y="26"/>
                      </a:lnTo>
                      <a:lnTo>
                        <a:pt x="12" y="26"/>
                      </a:lnTo>
                      <a:lnTo>
                        <a:pt x="15" y="26"/>
                      </a:lnTo>
                      <a:lnTo>
                        <a:pt x="18" y="28"/>
                      </a:lnTo>
                      <a:lnTo>
                        <a:pt x="28" y="28"/>
                      </a:lnTo>
                      <a:lnTo>
                        <a:pt x="30" y="27"/>
                      </a:lnTo>
                      <a:lnTo>
                        <a:pt x="34" y="27"/>
                      </a:ln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31" name="Freeform 193">
                  <a:extLst>
                    <a:ext uri="{FF2B5EF4-FFF2-40B4-BE49-F238E27FC236}">
                      <a16:creationId xmlns:a16="http://schemas.microsoft.com/office/drawing/2014/main" id="{93BD11E6-8A21-E193-FAC2-8259286B3CE8}"/>
                    </a:ext>
                  </a:extLst>
                </p:cNvPr>
                <p:cNvSpPr>
                  <a:spLocks/>
                </p:cNvSpPr>
                <p:nvPr/>
              </p:nvSpPr>
              <p:spPr bwMode="auto">
                <a:xfrm>
                  <a:off x="5748" y="2843"/>
                  <a:ext cx="33" cy="28"/>
                </a:xfrm>
                <a:custGeom>
                  <a:avLst/>
                  <a:gdLst>
                    <a:gd name="T0" fmla="*/ 28 w 33"/>
                    <a:gd name="T1" fmla="*/ 15 h 28"/>
                    <a:gd name="T2" fmla="*/ 25 w 33"/>
                    <a:gd name="T3" fmla="*/ 13 h 28"/>
                    <a:gd name="T4" fmla="*/ 20 w 33"/>
                    <a:gd name="T5" fmla="*/ 9 h 28"/>
                    <a:gd name="T6" fmla="*/ 17 w 33"/>
                    <a:gd name="T7" fmla="*/ 6 h 28"/>
                    <a:gd name="T8" fmla="*/ 14 w 33"/>
                    <a:gd name="T9" fmla="*/ 5 h 28"/>
                    <a:gd name="T10" fmla="*/ 12 w 33"/>
                    <a:gd name="T11" fmla="*/ 3 h 28"/>
                    <a:gd name="T12" fmla="*/ 4 w 33"/>
                    <a:gd name="T13" fmla="*/ 0 h 28"/>
                    <a:gd name="T14" fmla="*/ 0 w 33"/>
                    <a:gd name="T15" fmla="*/ 0 h 28"/>
                    <a:gd name="T16" fmla="*/ 4 w 33"/>
                    <a:gd name="T17" fmla="*/ 1 h 28"/>
                    <a:gd name="T18" fmla="*/ 6 w 33"/>
                    <a:gd name="T19" fmla="*/ 2 h 28"/>
                    <a:gd name="T20" fmla="*/ 17 w 33"/>
                    <a:gd name="T21" fmla="*/ 10 h 28"/>
                    <a:gd name="T22" fmla="*/ 20 w 33"/>
                    <a:gd name="T23" fmla="*/ 11 h 28"/>
                    <a:gd name="T24" fmla="*/ 22 w 33"/>
                    <a:gd name="T25" fmla="*/ 12 h 28"/>
                    <a:gd name="T26" fmla="*/ 26 w 33"/>
                    <a:gd name="T27" fmla="*/ 18 h 28"/>
                    <a:gd name="T28" fmla="*/ 28 w 33"/>
                    <a:gd name="T29" fmla="*/ 20 h 28"/>
                    <a:gd name="T30" fmla="*/ 28 w 33"/>
                    <a:gd name="T31" fmla="*/ 26 h 28"/>
                    <a:gd name="T32" fmla="*/ 30 w 33"/>
                    <a:gd name="T33" fmla="*/ 28 h 28"/>
                    <a:gd name="T34" fmla="*/ 32 w 33"/>
                    <a:gd name="T35" fmla="*/ 27 h 28"/>
                    <a:gd name="T36" fmla="*/ 33 w 33"/>
                    <a:gd name="T37" fmla="*/ 21 h 28"/>
                    <a:gd name="T38" fmla="*/ 31 w 33"/>
                    <a:gd name="T39" fmla="*/ 18 h 28"/>
                    <a:gd name="T40" fmla="*/ 29 w 33"/>
                    <a:gd name="T41" fmla="*/ 16 h 28"/>
                    <a:gd name="T42" fmla="*/ 28 w 33"/>
                    <a:gd name="T43" fmla="*/ 15 h 28"/>
                    <a:gd name="T44" fmla="*/ 28 w 33"/>
                    <a:gd name="T4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28">
                      <a:moveTo>
                        <a:pt x="28" y="15"/>
                      </a:moveTo>
                      <a:lnTo>
                        <a:pt x="25" y="13"/>
                      </a:lnTo>
                      <a:lnTo>
                        <a:pt x="20" y="9"/>
                      </a:lnTo>
                      <a:lnTo>
                        <a:pt x="17" y="6"/>
                      </a:lnTo>
                      <a:lnTo>
                        <a:pt x="14" y="5"/>
                      </a:lnTo>
                      <a:lnTo>
                        <a:pt x="12" y="3"/>
                      </a:lnTo>
                      <a:lnTo>
                        <a:pt x="4" y="0"/>
                      </a:lnTo>
                      <a:lnTo>
                        <a:pt x="0" y="0"/>
                      </a:lnTo>
                      <a:lnTo>
                        <a:pt x="4" y="1"/>
                      </a:lnTo>
                      <a:lnTo>
                        <a:pt x="6" y="2"/>
                      </a:lnTo>
                      <a:lnTo>
                        <a:pt x="17" y="10"/>
                      </a:lnTo>
                      <a:lnTo>
                        <a:pt x="20" y="11"/>
                      </a:lnTo>
                      <a:lnTo>
                        <a:pt x="22" y="12"/>
                      </a:lnTo>
                      <a:lnTo>
                        <a:pt x="26" y="18"/>
                      </a:lnTo>
                      <a:lnTo>
                        <a:pt x="28" y="20"/>
                      </a:lnTo>
                      <a:lnTo>
                        <a:pt x="28" y="26"/>
                      </a:lnTo>
                      <a:lnTo>
                        <a:pt x="30" y="28"/>
                      </a:lnTo>
                      <a:lnTo>
                        <a:pt x="32" y="27"/>
                      </a:lnTo>
                      <a:lnTo>
                        <a:pt x="33" y="21"/>
                      </a:lnTo>
                      <a:lnTo>
                        <a:pt x="31" y="18"/>
                      </a:lnTo>
                      <a:lnTo>
                        <a:pt x="29" y="16"/>
                      </a:lnTo>
                      <a:lnTo>
                        <a:pt x="28" y="15"/>
                      </a:lnTo>
                      <a:lnTo>
                        <a:pt x="2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32" name="Freeform 194">
                  <a:extLst>
                    <a:ext uri="{FF2B5EF4-FFF2-40B4-BE49-F238E27FC236}">
                      <a16:creationId xmlns:a16="http://schemas.microsoft.com/office/drawing/2014/main" id="{8901EB65-AD8C-552D-FB31-A942EEE6272C}"/>
                    </a:ext>
                  </a:extLst>
                </p:cNvPr>
                <p:cNvSpPr>
                  <a:spLocks/>
                </p:cNvSpPr>
                <p:nvPr/>
              </p:nvSpPr>
              <p:spPr bwMode="auto">
                <a:xfrm>
                  <a:off x="5753" y="3135"/>
                  <a:ext cx="3" cy="2"/>
                </a:xfrm>
                <a:custGeom>
                  <a:avLst/>
                  <a:gdLst>
                    <a:gd name="T0" fmla="*/ 2 w 3"/>
                    <a:gd name="T1" fmla="*/ 2 h 2"/>
                    <a:gd name="T2" fmla="*/ 3 w 3"/>
                    <a:gd name="T3" fmla="*/ 1 h 2"/>
                    <a:gd name="T4" fmla="*/ 0 w 3"/>
                    <a:gd name="T5" fmla="*/ 0 h 2"/>
                    <a:gd name="T6" fmla="*/ 2 w 3"/>
                    <a:gd name="T7" fmla="*/ 2 h 2"/>
                    <a:gd name="T8" fmla="*/ 2 w 3"/>
                    <a:gd name="T9" fmla="*/ 2 h 2"/>
                  </a:gdLst>
                  <a:ahLst/>
                  <a:cxnLst>
                    <a:cxn ang="0">
                      <a:pos x="T0" y="T1"/>
                    </a:cxn>
                    <a:cxn ang="0">
                      <a:pos x="T2" y="T3"/>
                    </a:cxn>
                    <a:cxn ang="0">
                      <a:pos x="T4" y="T5"/>
                    </a:cxn>
                    <a:cxn ang="0">
                      <a:pos x="T6" y="T7"/>
                    </a:cxn>
                    <a:cxn ang="0">
                      <a:pos x="T8" y="T9"/>
                    </a:cxn>
                  </a:cxnLst>
                  <a:rect l="0" t="0" r="r" b="b"/>
                  <a:pathLst>
                    <a:path w="3" h="2">
                      <a:moveTo>
                        <a:pt x="2" y="2"/>
                      </a:moveTo>
                      <a:lnTo>
                        <a:pt x="3" y="1"/>
                      </a:lnTo>
                      <a:lnTo>
                        <a:pt x="0" y="0"/>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33" name="Freeform 195">
                  <a:extLst>
                    <a:ext uri="{FF2B5EF4-FFF2-40B4-BE49-F238E27FC236}">
                      <a16:creationId xmlns:a16="http://schemas.microsoft.com/office/drawing/2014/main" id="{BD8A3657-BB26-F5EA-5CD8-C66C33D2E0BF}"/>
                    </a:ext>
                  </a:extLst>
                </p:cNvPr>
                <p:cNvSpPr>
                  <a:spLocks/>
                </p:cNvSpPr>
                <p:nvPr/>
              </p:nvSpPr>
              <p:spPr bwMode="auto">
                <a:xfrm>
                  <a:off x="5779" y="3153"/>
                  <a:ext cx="6" cy="13"/>
                </a:xfrm>
                <a:custGeom>
                  <a:avLst/>
                  <a:gdLst>
                    <a:gd name="T0" fmla="*/ 2 w 6"/>
                    <a:gd name="T1" fmla="*/ 13 h 13"/>
                    <a:gd name="T2" fmla="*/ 2 w 6"/>
                    <a:gd name="T3" fmla="*/ 11 h 13"/>
                    <a:gd name="T4" fmla="*/ 6 w 6"/>
                    <a:gd name="T5" fmla="*/ 3 h 13"/>
                    <a:gd name="T6" fmla="*/ 5 w 6"/>
                    <a:gd name="T7" fmla="*/ 0 h 13"/>
                    <a:gd name="T8" fmla="*/ 3 w 6"/>
                    <a:gd name="T9" fmla="*/ 3 h 13"/>
                    <a:gd name="T10" fmla="*/ 1 w 6"/>
                    <a:gd name="T11" fmla="*/ 5 h 13"/>
                    <a:gd name="T12" fmla="*/ 1 w 6"/>
                    <a:gd name="T13" fmla="*/ 8 h 13"/>
                    <a:gd name="T14" fmla="*/ 0 w 6"/>
                    <a:gd name="T15" fmla="*/ 10 h 13"/>
                    <a:gd name="T16" fmla="*/ 1 w 6"/>
                    <a:gd name="T17" fmla="*/ 13 h 13"/>
                    <a:gd name="T18" fmla="*/ 2 w 6"/>
                    <a:gd name="T19" fmla="*/ 13 h 13"/>
                    <a:gd name="T20" fmla="*/ 2 w 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3">
                      <a:moveTo>
                        <a:pt x="2" y="13"/>
                      </a:moveTo>
                      <a:lnTo>
                        <a:pt x="2" y="11"/>
                      </a:lnTo>
                      <a:lnTo>
                        <a:pt x="6" y="3"/>
                      </a:lnTo>
                      <a:lnTo>
                        <a:pt x="5" y="0"/>
                      </a:lnTo>
                      <a:lnTo>
                        <a:pt x="3" y="3"/>
                      </a:lnTo>
                      <a:lnTo>
                        <a:pt x="1" y="5"/>
                      </a:lnTo>
                      <a:lnTo>
                        <a:pt x="1" y="8"/>
                      </a:lnTo>
                      <a:lnTo>
                        <a:pt x="0" y="10"/>
                      </a:lnTo>
                      <a:lnTo>
                        <a:pt x="1" y="13"/>
                      </a:lnTo>
                      <a:lnTo>
                        <a:pt x="2" y="13"/>
                      </a:ln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34" name="Freeform 196">
                  <a:extLst>
                    <a:ext uri="{FF2B5EF4-FFF2-40B4-BE49-F238E27FC236}">
                      <a16:creationId xmlns:a16="http://schemas.microsoft.com/office/drawing/2014/main" id="{49038F53-D16F-38E1-70C2-48E9306E8D09}"/>
                    </a:ext>
                  </a:extLst>
                </p:cNvPr>
                <p:cNvSpPr>
                  <a:spLocks/>
                </p:cNvSpPr>
                <p:nvPr/>
              </p:nvSpPr>
              <p:spPr bwMode="auto">
                <a:xfrm>
                  <a:off x="5786" y="3192"/>
                  <a:ext cx="0" cy="3"/>
                </a:xfrm>
                <a:custGeom>
                  <a:avLst/>
                  <a:gdLst>
                    <a:gd name="T0" fmla="*/ 3 h 3"/>
                    <a:gd name="T1" fmla="*/ 3 h 3"/>
                    <a:gd name="T2" fmla="*/ 0 h 3"/>
                    <a:gd name="T3" fmla="*/ 3 h 3"/>
                    <a:gd name="T4" fmla="*/ 3 h 3"/>
                  </a:gdLst>
                  <a:ahLst/>
                  <a:cxnLst>
                    <a:cxn ang="0">
                      <a:pos x="0" y="T0"/>
                    </a:cxn>
                    <a:cxn ang="0">
                      <a:pos x="0" y="T1"/>
                    </a:cxn>
                    <a:cxn ang="0">
                      <a:pos x="0" y="T2"/>
                    </a:cxn>
                    <a:cxn ang="0">
                      <a:pos x="0" y="T3"/>
                    </a:cxn>
                    <a:cxn ang="0">
                      <a:pos x="0" y="T4"/>
                    </a:cxn>
                  </a:cxnLst>
                  <a:rect l="0" t="0" r="r" b="b"/>
                  <a:pathLst>
                    <a:path h="3">
                      <a:moveTo>
                        <a:pt x="0" y="3"/>
                      </a:moveTo>
                      <a:lnTo>
                        <a:pt x="0" y="3"/>
                      </a:lnTo>
                      <a:lnTo>
                        <a:pt x="0" y="0"/>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35" name="Freeform 197">
                  <a:extLst>
                    <a:ext uri="{FF2B5EF4-FFF2-40B4-BE49-F238E27FC236}">
                      <a16:creationId xmlns:a16="http://schemas.microsoft.com/office/drawing/2014/main" id="{2493595C-E5D6-5CAA-E570-FDD44E936AE5}"/>
                    </a:ext>
                  </a:extLst>
                </p:cNvPr>
                <p:cNvSpPr>
                  <a:spLocks/>
                </p:cNvSpPr>
                <p:nvPr/>
              </p:nvSpPr>
              <p:spPr bwMode="auto">
                <a:xfrm>
                  <a:off x="5583" y="2917"/>
                  <a:ext cx="3" cy="4"/>
                </a:xfrm>
                <a:custGeom>
                  <a:avLst/>
                  <a:gdLst>
                    <a:gd name="T0" fmla="*/ 0 w 3"/>
                    <a:gd name="T1" fmla="*/ 1 h 4"/>
                    <a:gd name="T2" fmla="*/ 2 w 3"/>
                    <a:gd name="T3" fmla="*/ 0 h 4"/>
                    <a:gd name="T4" fmla="*/ 3 w 3"/>
                    <a:gd name="T5" fmla="*/ 4 h 4"/>
                    <a:gd name="T6" fmla="*/ 1 w 3"/>
                    <a:gd name="T7" fmla="*/ 4 h 4"/>
                    <a:gd name="T8" fmla="*/ 0 w 3"/>
                    <a:gd name="T9" fmla="*/ 1 h 4"/>
                    <a:gd name="T10" fmla="*/ 0 w 3"/>
                    <a:gd name="T11" fmla="*/ 1 h 4"/>
                  </a:gdLst>
                  <a:ahLst/>
                  <a:cxnLst>
                    <a:cxn ang="0">
                      <a:pos x="T0" y="T1"/>
                    </a:cxn>
                    <a:cxn ang="0">
                      <a:pos x="T2" y="T3"/>
                    </a:cxn>
                    <a:cxn ang="0">
                      <a:pos x="T4" y="T5"/>
                    </a:cxn>
                    <a:cxn ang="0">
                      <a:pos x="T6" y="T7"/>
                    </a:cxn>
                    <a:cxn ang="0">
                      <a:pos x="T8" y="T9"/>
                    </a:cxn>
                    <a:cxn ang="0">
                      <a:pos x="T10" y="T11"/>
                    </a:cxn>
                  </a:cxnLst>
                  <a:rect l="0" t="0" r="r" b="b"/>
                  <a:pathLst>
                    <a:path w="3" h="4">
                      <a:moveTo>
                        <a:pt x="0" y="1"/>
                      </a:moveTo>
                      <a:lnTo>
                        <a:pt x="2" y="0"/>
                      </a:lnTo>
                      <a:lnTo>
                        <a:pt x="3" y="4"/>
                      </a:lnTo>
                      <a:lnTo>
                        <a:pt x="1" y="4"/>
                      </a:lnTo>
                      <a:lnTo>
                        <a:pt x="0" y="1"/>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36" name="Freeform 198">
                  <a:extLst>
                    <a:ext uri="{FF2B5EF4-FFF2-40B4-BE49-F238E27FC236}">
                      <a16:creationId xmlns:a16="http://schemas.microsoft.com/office/drawing/2014/main" id="{5B5EC120-1FE7-93FE-C5A3-FAFCA18E0FE6}"/>
                    </a:ext>
                  </a:extLst>
                </p:cNvPr>
                <p:cNvSpPr>
                  <a:spLocks/>
                </p:cNvSpPr>
                <p:nvPr/>
              </p:nvSpPr>
              <p:spPr bwMode="auto">
                <a:xfrm>
                  <a:off x="5625" y="1978"/>
                  <a:ext cx="41" cy="151"/>
                </a:xfrm>
                <a:custGeom>
                  <a:avLst/>
                  <a:gdLst>
                    <a:gd name="T0" fmla="*/ 0 w 41"/>
                    <a:gd name="T1" fmla="*/ 36 h 151"/>
                    <a:gd name="T2" fmla="*/ 0 w 41"/>
                    <a:gd name="T3" fmla="*/ 45 h 151"/>
                    <a:gd name="T4" fmla="*/ 2 w 41"/>
                    <a:gd name="T5" fmla="*/ 50 h 151"/>
                    <a:gd name="T6" fmla="*/ 8 w 41"/>
                    <a:gd name="T7" fmla="*/ 58 h 151"/>
                    <a:gd name="T8" fmla="*/ 6 w 41"/>
                    <a:gd name="T9" fmla="*/ 64 h 151"/>
                    <a:gd name="T10" fmla="*/ 7 w 41"/>
                    <a:gd name="T11" fmla="*/ 77 h 151"/>
                    <a:gd name="T12" fmla="*/ 4 w 41"/>
                    <a:gd name="T13" fmla="*/ 97 h 151"/>
                    <a:gd name="T14" fmla="*/ 3 w 41"/>
                    <a:gd name="T15" fmla="*/ 106 h 151"/>
                    <a:gd name="T16" fmla="*/ 7 w 41"/>
                    <a:gd name="T17" fmla="*/ 114 h 151"/>
                    <a:gd name="T18" fmla="*/ 4 w 41"/>
                    <a:gd name="T19" fmla="*/ 122 h 151"/>
                    <a:gd name="T20" fmla="*/ 4 w 41"/>
                    <a:gd name="T21" fmla="*/ 127 h 151"/>
                    <a:gd name="T22" fmla="*/ 4 w 41"/>
                    <a:gd name="T23" fmla="*/ 132 h 151"/>
                    <a:gd name="T24" fmla="*/ 2 w 41"/>
                    <a:gd name="T25" fmla="*/ 141 h 151"/>
                    <a:gd name="T26" fmla="*/ 4 w 41"/>
                    <a:gd name="T27" fmla="*/ 151 h 151"/>
                    <a:gd name="T28" fmla="*/ 8 w 41"/>
                    <a:gd name="T29" fmla="*/ 145 h 151"/>
                    <a:gd name="T30" fmla="*/ 12 w 41"/>
                    <a:gd name="T31" fmla="*/ 137 h 151"/>
                    <a:gd name="T32" fmla="*/ 20 w 41"/>
                    <a:gd name="T33" fmla="*/ 140 h 151"/>
                    <a:gd name="T34" fmla="*/ 24 w 41"/>
                    <a:gd name="T35" fmla="*/ 148 h 151"/>
                    <a:gd name="T36" fmla="*/ 26 w 41"/>
                    <a:gd name="T37" fmla="*/ 142 h 151"/>
                    <a:gd name="T38" fmla="*/ 23 w 41"/>
                    <a:gd name="T39" fmla="*/ 136 h 151"/>
                    <a:gd name="T40" fmla="*/ 18 w 41"/>
                    <a:gd name="T41" fmla="*/ 128 h 151"/>
                    <a:gd name="T42" fmla="*/ 11 w 41"/>
                    <a:gd name="T43" fmla="*/ 119 h 151"/>
                    <a:gd name="T44" fmla="*/ 17 w 41"/>
                    <a:gd name="T45" fmla="*/ 100 h 151"/>
                    <a:gd name="T46" fmla="*/ 19 w 41"/>
                    <a:gd name="T47" fmla="*/ 93 h 151"/>
                    <a:gd name="T48" fmla="*/ 23 w 41"/>
                    <a:gd name="T49" fmla="*/ 92 h 151"/>
                    <a:gd name="T50" fmla="*/ 32 w 41"/>
                    <a:gd name="T51" fmla="*/ 92 h 151"/>
                    <a:gd name="T52" fmla="*/ 40 w 41"/>
                    <a:gd name="T53" fmla="*/ 99 h 151"/>
                    <a:gd name="T54" fmla="*/ 41 w 41"/>
                    <a:gd name="T55" fmla="*/ 99 h 151"/>
                    <a:gd name="T56" fmla="*/ 36 w 41"/>
                    <a:gd name="T57" fmla="*/ 94 h 151"/>
                    <a:gd name="T58" fmla="*/ 28 w 41"/>
                    <a:gd name="T59" fmla="*/ 74 h 151"/>
                    <a:gd name="T60" fmla="*/ 23 w 41"/>
                    <a:gd name="T61" fmla="*/ 56 h 151"/>
                    <a:gd name="T62" fmla="*/ 21 w 41"/>
                    <a:gd name="T63" fmla="*/ 47 h 151"/>
                    <a:gd name="T64" fmla="*/ 19 w 41"/>
                    <a:gd name="T65" fmla="*/ 41 h 151"/>
                    <a:gd name="T66" fmla="*/ 20 w 41"/>
                    <a:gd name="T67" fmla="*/ 36 h 151"/>
                    <a:gd name="T68" fmla="*/ 21 w 41"/>
                    <a:gd name="T69" fmla="*/ 36 h 151"/>
                    <a:gd name="T70" fmla="*/ 21 w 41"/>
                    <a:gd name="T71" fmla="*/ 28 h 151"/>
                    <a:gd name="T72" fmla="*/ 19 w 41"/>
                    <a:gd name="T73" fmla="*/ 19 h 151"/>
                    <a:gd name="T74" fmla="*/ 23 w 41"/>
                    <a:gd name="T75" fmla="*/ 28 h 151"/>
                    <a:gd name="T76" fmla="*/ 21 w 41"/>
                    <a:gd name="T77" fmla="*/ 20 h 151"/>
                    <a:gd name="T78" fmla="*/ 17 w 41"/>
                    <a:gd name="T79" fmla="*/ 8 h 151"/>
                    <a:gd name="T80" fmla="*/ 16 w 41"/>
                    <a:gd name="T81" fmla="*/ 0 h 151"/>
                    <a:gd name="T82" fmla="*/ 10 w 41"/>
                    <a:gd name="T83" fmla="*/ 2 h 151"/>
                    <a:gd name="T84" fmla="*/ 12 w 41"/>
                    <a:gd name="T85" fmla="*/ 6 h 151"/>
                    <a:gd name="T86" fmla="*/ 11 w 41"/>
                    <a:gd name="T87" fmla="*/ 14 h 151"/>
                    <a:gd name="T88" fmla="*/ 9 w 41"/>
                    <a:gd name="T89" fmla="*/ 19 h 151"/>
                    <a:gd name="T90" fmla="*/ 2 w 41"/>
                    <a:gd name="T91" fmla="*/ 17 h 151"/>
                    <a:gd name="T92" fmla="*/ 3 w 41"/>
                    <a:gd name="T93" fmla="*/ 25 h 151"/>
                    <a:gd name="T94" fmla="*/ 2 w 41"/>
                    <a:gd name="T95" fmla="*/ 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151">
                      <a:moveTo>
                        <a:pt x="2" y="33"/>
                      </a:moveTo>
                      <a:lnTo>
                        <a:pt x="0" y="36"/>
                      </a:lnTo>
                      <a:lnTo>
                        <a:pt x="0" y="39"/>
                      </a:lnTo>
                      <a:lnTo>
                        <a:pt x="0" y="45"/>
                      </a:lnTo>
                      <a:lnTo>
                        <a:pt x="2" y="48"/>
                      </a:lnTo>
                      <a:lnTo>
                        <a:pt x="2" y="50"/>
                      </a:lnTo>
                      <a:lnTo>
                        <a:pt x="4" y="53"/>
                      </a:lnTo>
                      <a:lnTo>
                        <a:pt x="8" y="58"/>
                      </a:lnTo>
                      <a:lnTo>
                        <a:pt x="8" y="60"/>
                      </a:lnTo>
                      <a:lnTo>
                        <a:pt x="6" y="64"/>
                      </a:lnTo>
                      <a:lnTo>
                        <a:pt x="4" y="68"/>
                      </a:lnTo>
                      <a:lnTo>
                        <a:pt x="7" y="77"/>
                      </a:lnTo>
                      <a:lnTo>
                        <a:pt x="6" y="88"/>
                      </a:lnTo>
                      <a:lnTo>
                        <a:pt x="4" y="97"/>
                      </a:lnTo>
                      <a:lnTo>
                        <a:pt x="2" y="102"/>
                      </a:lnTo>
                      <a:lnTo>
                        <a:pt x="3" y="106"/>
                      </a:lnTo>
                      <a:lnTo>
                        <a:pt x="6" y="108"/>
                      </a:lnTo>
                      <a:lnTo>
                        <a:pt x="7" y="114"/>
                      </a:lnTo>
                      <a:lnTo>
                        <a:pt x="7" y="116"/>
                      </a:lnTo>
                      <a:lnTo>
                        <a:pt x="4" y="122"/>
                      </a:lnTo>
                      <a:lnTo>
                        <a:pt x="3" y="124"/>
                      </a:lnTo>
                      <a:lnTo>
                        <a:pt x="4" y="127"/>
                      </a:lnTo>
                      <a:lnTo>
                        <a:pt x="4" y="130"/>
                      </a:lnTo>
                      <a:lnTo>
                        <a:pt x="4" y="132"/>
                      </a:lnTo>
                      <a:lnTo>
                        <a:pt x="2" y="137"/>
                      </a:lnTo>
                      <a:lnTo>
                        <a:pt x="2" y="141"/>
                      </a:lnTo>
                      <a:lnTo>
                        <a:pt x="3" y="149"/>
                      </a:lnTo>
                      <a:lnTo>
                        <a:pt x="4" y="151"/>
                      </a:lnTo>
                      <a:lnTo>
                        <a:pt x="7" y="148"/>
                      </a:lnTo>
                      <a:lnTo>
                        <a:pt x="8" y="145"/>
                      </a:lnTo>
                      <a:lnTo>
                        <a:pt x="10" y="140"/>
                      </a:lnTo>
                      <a:lnTo>
                        <a:pt x="12" y="137"/>
                      </a:lnTo>
                      <a:lnTo>
                        <a:pt x="16" y="139"/>
                      </a:lnTo>
                      <a:lnTo>
                        <a:pt x="20" y="140"/>
                      </a:lnTo>
                      <a:lnTo>
                        <a:pt x="23" y="142"/>
                      </a:lnTo>
                      <a:lnTo>
                        <a:pt x="24" y="148"/>
                      </a:lnTo>
                      <a:lnTo>
                        <a:pt x="25" y="145"/>
                      </a:lnTo>
                      <a:lnTo>
                        <a:pt x="26" y="142"/>
                      </a:lnTo>
                      <a:lnTo>
                        <a:pt x="25" y="136"/>
                      </a:lnTo>
                      <a:lnTo>
                        <a:pt x="23" y="136"/>
                      </a:lnTo>
                      <a:lnTo>
                        <a:pt x="19" y="136"/>
                      </a:lnTo>
                      <a:lnTo>
                        <a:pt x="18" y="128"/>
                      </a:lnTo>
                      <a:lnTo>
                        <a:pt x="12" y="123"/>
                      </a:lnTo>
                      <a:lnTo>
                        <a:pt x="11" y="119"/>
                      </a:lnTo>
                      <a:lnTo>
                        <a:pt x="12" y="114"/>
                      </a:lnTo>
                      <a:lnTo>
                        <a:pt x="17" y="100"/>
                      </a:lnTo>
                      <a:lnTo>
                        <a:pt x="18" y="94"/>
                      </a:lnTo>
                      <a:lnTo>
                        <a:pt x="19" y="93"/>
                      </a:lnTo>
                      <a:lnTo>
                        <a:pt x="26" y="91"/>
                      </a:lnTo>
                      <a:lnTo>
                        <a:pt x="23" y="92"/>
                      </a:lnTo>
                      <a:lnTo>
                        <a:pt x="26" y="91"/>
                      </a:lnTo>
                      <a:lnTo>
                        <a:pt x="32" y="92"/>
                      </a:lnTo>
                      <a:lnTo>
                        <a:pt x="34" y="94"/>
                      </a:lnTo>
                      <a:lnTo>
                        <a:pt x="40" y="99"/>
                      </a:lnTo>
                      <a:lnTo>
                        <a:pt x="41" y="102"/>
                      </a:lnTo>
                      <a:lnTo>
                        <a:pt x="41" y="99"/>
                      </a:lnTo>
                      <a:lnTo>
                        <a:pt x="38" y="98"/>
                      </a:lnTo>
                      <a:lnTo>
                        <a:pt x="36" y="94"/>
                      </a:lnTo>
                      <a:lnTo>
                        <a:pt x="32" y="80"/>
                      </a:lnTo>
                      <a:lnTo>
                        <a:pt x="28" y="74"/>
                      </a:lnTo>
                      <a:lnTo>
                        <a:pt x="26" y="58"/>
                      </a:lnTo>
                      <a:lnTo>
                        <a:pt x="23" y="56"/>
                      </a:lnTo>
                      <a:lnTo>
                        <a:pt x="24" y="53"/>
                      </a:lnTo>
                      <a:lnTo>
                        <a:pt x="21" y="47"/>
                      </a:lnTo>
                      <a:lnTo>
                        <a:pt x="20" y="46"/>
                      </a:lnTo>
                      <a:lnTo>
                        <a:pt x="19" y="41"/>
                      </a:lnTo>
                      <a:lnTo>
                        <a:pt x="20" y="38"/>
                      </a:lnTo>
                      <a:lnTo>
                        <a:pt x="20" y="36"/>
                      </a:lnTo>
                      <a:lnTo>
                        <a:pt x="21" y="32"/>
                      </a:lnTo>
                      <a:lnTo>
                        <a:pt x="21" y="36"/>
                      </a:lnTo>
                      <a:lnTo>
                        <a:pt x="23" y="30"/>
                      </a:lnTo>
                      <a:lnTo>
                        <a:pt x="21" y="28"/>
                      </a:lnTo>
                      <a:lnTo>
                        <a:pt x="19" y="24"/>
                      </a:lnTo>
                      <a:lnTo>
                        <a:pt x="19" y="19"/>
                      </a:lnTo>
                      <a:lnTo>
                        <a:pt x="21" y="22"/>
                      </a:lnTo>
                      <a:lnTo>
                        <a:pt x="23" y="28"/>
                      </a:lnTo>
                      <a:lnTo>
                        <a:pt x="21" y="22"/>
                      </a:lnTo>
                      <a:lnTo>
                        <a:pt x="21" y="20"/>
                      </a:lnTo>
                      <a:lnTo>
                        <a:pt x="18" y="14"/>
                      </a:lnTo>
                      <a:lnTo>
                        <a:pt x="17" y="8"/>
                      </a:lnTo>
                      <a:lnTo>
                        <a:pt x="17" y="3"/>
                      </a:lnTo>
                      <a:lnTo>
                        <a:pt x="16" y="0"/>
                      </a:lnTo>
                      <a:lnTo>
                        <a:pt x="12" y="0"/>
                      </a:lnTo>
                      <a:lnTo>
                        <a:pt x="10" y="2"/>
                      </a:lnTo>
                      <a:lnTo>
                        <a:pt x="11" y="4"/>
                      </a:lnTo>
                      <a:lnTo>
                        <a:pt x="12" y="6"/>
                      </a:lnTo>
                      <a:lnTo>
                        <a:pt x="14" y="10"/>
                      </a:lnTo>
                      <a:lnTo>
                        <a:pt x="11" y="14"/>
                      </a:lnTo>
                      <a:lnTo>
                        <a:pt x="11" y="17"/>
                      </a:lnTo>
                      <a:lnTo>
                        <a:pt x="9" y="19"/>
                      </a:lnTo>
                      <a:lnTo>
                        <a:pt x="8" y="15"/>
                      </a:lnTo>
                      <a:lnTo>
                        <a:pt x="2" y="17"/>
                      </a:lnTo>
                      <a:lnTo>
                        <a:pt x="2" y="22"/>
                      </a:lnTo>
                      <a:lnTo>
                        <a:pt x="3" y="25"/>
                      </a:lnTo>
                      <a:lnTo>
                        <a:pt x="2" y="28"/>
                      </a:lnTo>
                      <a:lnTo>
                        <a:pt x="2" y="33"/>
                      </a:lnTo>
                      <a:lnTo>
                        <a:pt x="2"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37" name="Freeform 199">
                  <a:extLst>
                    <a:ext uri="{FF2B5EF4-FFF2-40B4-BE49-F238E27FC236}">
                      <a16:creationId xmlns:a16="http://schemas.microsoft.com/office/drawing/2014/main" id="{15FE282C-947D-6213-8EAB-5BFAC1DFB3F8}"/>
                    </a:ext>
                  </a:extLst>
                </p:cNvPr>
                <p:cNvSpPr>
                  <a:spLocks/>
                </p:cNvSpPr>
                <p:nvPr/>
              </p:nvSpPr>
              <p:spPr bwMode="auto">
                <a:xfrm>
                  <a:off x="5982" y="1643"/>
                  <a:ext cx="22" cy="12"/>
                </a:xfrm>
                <a:custGeom>
                  <a:avLst/>
                  <a:gdLst>
                    <a:gd name="T0" fmla="*/ 9 w 22"/>
                    <a:gd name="T1" fmla="*/ 0 h 12"/>
                    <a:gd name="T2" fmla="*/ 7 w 22"/>
                    <a:gd name="T3" fmla="*/ 0 h 12"/>
                    <a:gd name="T4" fmla="*/ 5 w 22"/>
                    <a:gd name="T5" fmla="*/ 0 h 12"/>
                    <a:gd name="T6" fmla="*/ 2 w 22"/>
                    <a:gd name="T7" fmla="*/ 3 h 12"/>
                    <a:gd name="T8" fmla="*/ 0 w 22"/>
                    <a:gd name="T9" fmla="*/ 5 h 12"/>
                    <a:gd name="T10" fmla="*/ 5 w 22"/>
                    <a:gd name="T11" fmla="*/ 8 h 12"/>
                    <a:gd name="T12" fmla="*/ 8 w 22"/>
                    <a:gd name="T13" fmla="*/ 9 h 12"/>
                    <a:gd name="T14" fmla="*/ 13 w 22"/>
                    <a:gd name="T15" fmla="*/ 10 h 12"/>
                    <a:gd name="T16" fmla="*/ 19 w 22"/>
                    <a:gd name="T17" fmla="*/ 12 h 12"/>
                    <a:gd name="T18" fmla="*/ 22 w 22"/>
                    <a:gd name="T19" fmla="*/ 6 h 12"/>
                    <a:gd name="T20" fmla="*/ 20 w 22"/>
                    <a:gd name="T21" fmla="*/ 3 h 12"/>
                    <a:gd name="T22" fmla="*/ 17 w 22"/>
                    <a:gd name="T23" fmla="*/ 3 h 12"/>
                    <a:gd name="T24" fmla="*/ 9 w 22"/>
                    <a:gd name="T25" fmla="*/ 0 h 12"/>
                    <a:gd name="T26" fmla="*/ 9 w 22"/>
                    <a:gd name="T2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2">
                      <a:moveTo>
                        <a:pt x="9" y="0"/>
                      </a:moveTo>
                      <a:lnTo>
                        <a:pt x="7" y="0"/>
                      </a:lnTo>
                      <a:lnTo>
                        <a:pt x="5" y="0"/>
                      </a:lnTo>
                      <a:lnTo>
                        <a:pt x="2" y="3"/>
                      </a:lnTo>
                      <a:lnTo>
                        <a:pt x="0" y="5"/>
                      </a:lnTo>
                      <a:lnTo>
                        <a:pt x="5" y="8"/>
                      </a:lnTo>
                      <a:lnTo>
                        <a:pt x="8" y="9"/>
                      </a:lnTo>
                      <a:lnTo>
                        <a:pt x="13" y="10"/>
                      </a:lnTo>
                      <a:lnTo>
                        <a:pt x="19" y="12"/>
                      </a:lnTo>
                      <a:lnTo>
                        <a:pt x="22" y="6"/>
                      </a:lnTo>
                      <a:lnTo>
                        <a:pt x="20" y="3"/>
                      </a:lnTo>
                      <a:lnTo>
                        <a:pt x="17" y="3"/>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38" name="Freeform 200">
                  <a:extLst>
                    <a:ext uri="{FF2B5EF4-FFF2-40B4-BE49-F238E27FC236}">
                      <a16:creationId xmlns:a16="http://schemas.microsoft.com/office/drawing/2014/main" id="{B23BB05F-1373-49EE-0CE5-94DEB47ED285}"/>
                    </a:ext>
                  </a:extLst>
                </p:cNvPr>
                <p:cNvSpPr>
                  <a:spLocks/>
                </p:cNvSpPr>
                <p:nvPr/>
              </p:nvSpPr>
              <p:spPr bwMode="auto">
                <a:xfrm>
                  <a:off x="6130" y="1604"/>
                  <a:ext cx="53" cy="19"/>
                </a:xfrm>
                <a:custGeom>
                  <a:avLst/>
                  <a:gdLst>
                    <a:gd name="T0" fmla="*/ 19 w 53"/>
                    <a:gd name="T1" fmla="*/ 15 h 19"/>
                    <a:gd name="T2" fmla="*/ 24 w 53"/>
                    <a:gd name="T3" fmla="*/ 15 h 19"/>
                    <a:gd name="T4" fmla="*/ 26 w 53"/>
                    <a:gd name="T5" fmla="*/ 18 h 19"/>
                    <a:gd name="T6" fmla="*/ 30 w 53"/>
                    <a:gd name="T7" fmla="*/ 17 h 19"/>
                    <a:gd name="T8" fmla="*/ 39 w 53"/>
                    <a:gd name="T9" fmla="*/ 15 h 19"/>
                    <a:gd name="T10" fmla="*/ 42 w 53"/>
                    <a:gd name="T11" fmla="*/ 14 h 19"/>
                    <a:gd name="T12" fmla="*/ 48 w 53"/>
                    <a:gd name="T13" fmla="*/ 13 h 19"/>
                    <a:gd name="T14" fmla="*/ 51 w 53"/>
                    <a:gd name="T15" fmla="*/ 13 h 19"/>
                    <a:gd name="T16" fmla="*/ 53 w 53"/>
                    <a:gd name="T17" fmla="*/ 11 h 19"/>
                    <a:gd name="T18" fmla="*/ 53 w 53"/>
                    <a:gd name="T19" fmla="*/ 8 h 19"/>
                    <a:gd name="T20" fmla="*/ 51 w 53"/>
                    <a:gd name="T21" fmla="*/ 6 h 19"/>
                    <a:gd name="T22" fmla="*/ 45 w 53"/>
                    <a:gd name="T23" fmla="*/ 3 h 19"/>
                    <a:gd name="T24" fmla="*/ 42 w 53"/>
                    <a:gd name="T25" fmla="*/ 1 h 19"/>
                    <a:gd name="T26" fmla="*/ 34 w 53"/>
                    <a:gd name="T27" fmla="*/ 0 h 19"/>
                    <a:gd name="T28" fmla="*/ 27 w 53"/>
                    <a:gd name="T29" fmla="*/ 1 h 19"/>
                    <a:gd name="T30" fmla="*/ 23 w 53"/>
                    <a:gd name="T31" fmla="*/ 1 h 19"/>
                    <a:gd name="T32" fmla="*/ 14 w 53"/>
                    <a:gd name="T33" fmla="*/ 3 h 19"/>
                    <a:gd name="T34" fmla="*/ 9 w 53"/>
                    <a:gd name="T35" fmla="*/ 8 h 19"/>
                    <a:gd name="T36" fmla="*/ 6 w 53"/>
                    <a:gd name="T37" fmla="*/ 9 h 19"/>
                    <a:gd name="T38" fmla="*/ 0 w 53"/>
                    <a:gd name="T39" fmla="*/ 13 h 19"/>
                    <a:gd name="T40" fmla="*/ 4 w 53"/>
                    <a:gd name="T41" fmla="*/ 19 h 19"/>
                    <a:gd name="T42" fmla="*/ 8 w 53"/>
                    <a:gd name="T43" fmla="*/ 18 h 19"/>
                    <a:gd name="T44" fmla="*/ 14 w 53"/>
                    <a:gd name="T45" fmla="*/ 18 h 19"/>
                    <a:gd name="T46" fmla="*/ 19 w 53"/>
                    <a:gd name="T47" fmla="*/ 15 h 19"/>
                    <a:gd name="T48" fmla="*/ 19 w 53"/>
                    <a:gd name="T49"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19">
                      <a:moveTo>
                        <a:pt x="19" y="15"/>
                      </a:moveTo>
                      <a:lnTo>
                        <a:pt x="24" y="15"/>
                      </a:lnTo>
                      <a:lnTo>
                        <a:pt x="26" y="18"/>
                      </a:lnTo>
                      <a:lnTo>
                        <a:pt x="30" y="17"/>
                      </a:lnTo>
                      <a:lnTo>
                        <a:pt x="39" y="15"/>
                      </a:lnTo>
                      <a:lnTo>
                        <a:pt x="42" y="14"/>
                      </a:lnTo>
                      <a:lnTo>
                        <a:pt x="48" y="13"/>
                      </a:lnTo>
                      <a:lnTo>
                        <a:pt x="51" y="13"/>
                      </a:lnTo>
                      <a:lnTo>
                        <a:pt x="53" y="11"/>
                      </a:lnTo>
                      <a:lnTo>
                        <a:pt x="53" y="8"/>
                      </a:lnTo>
                      <a:lnTo>
                        <a:pt x="51" y="6"/>
                      </a:lnTo>
                      <a:lnTo>
                        <a:pt x="45" y="3"/>
                      </a:lnTo>
                      <a:lnTo>
                        <a:pt x="42" y="1"/>
                      </a:lnTo>
                      <a:lnTo>
                        <a:pt x="34" y="0"/>
                      </a:lnTo>
                      <a:lnTo>
                        <a:pt x="27" y="1"/>
                      </a:lnTo>
                      <a:lnTo>
                        <a:pt x="23" y="1"/>
                      </a:lnTo>
                      <a:lnTo>
                        <a:pt x="14" y="3"/>
                      </a:lnTo>
                      <a:lnTo>
                        <a:pt x="9" y="8"/>
                      </a:lnTo>
                      <a:lnTo>
                        <a:pt x="6" y="9"/>
                      </a:lnTo>
                      <a:lnTo>
                        <a:pt x="0" y="13"/>
                      </a:lnTo>
                      <a:lnTo>
                        <a:pt x="4" y="19"/>
                      </a:lnTo>
                      <a:lnTo>
                        <a:pt x="8" y="18"/>
                      </a:lnTo>
                      <a:lnTo>
                        <a:pt x="14" y="18"/>
                      </a:lnTo>
                      <a:lnTo>
                        <a:pt x="19" y="15"/>
                      </a:lnTo>
                      <a:lnTo>
                        <a:pt x="19"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39" name="Freeform 201">
                  <a:extLst>
                    <a:ext uri="{FF2B5EF4-FFF2-40B4-BE49-F238E27FC236}">
                      <a16:creationId xmlns:a16="http://schemas.microsoft.com/office/drawing/2014/main" id="{6ACAAAD3-A69D-DBF0-9624-F12F27AC6A7A}"/>
                    </a:ext>
                  </a:extLst>
                </p:cNvPr>
                <p:cNvSpPr>
                  <a:spLocks/>
                </p:cNvSpPr>
                <p:nvPr/>
              </p:nvSpPr>
              <p:spPr bwMode="auto">
                <a:xfrm>
                  <a:off x="5965" y="3392"/>
                  <a:ext cx="106" cy="103"/>
                </a:xfrm>
                <a:custGeom>
                  <a:avLst/>
                  <a:gdLst>
                    <a:gd name="T0" fmla="*/ 18 w 106"/>
                    <a:gd name="T1" fmla="*/ 68 h 103"/>
                    <a:gd name="T2" fmla="*/ 12 w 106"/>
                    <a:gd name="T3" fmla="*/ 74 h 103"/>
                    <a:gd name="T4" fmla="*/ 8 w 106"/>
                    <a:gd name="T5" fmla="*/ 77 h 103"/>
                    <a:gd name="T6" fmla="*/ 9 w 106"/>
                    <a:gd name="T7" fmla="*/ 82 h 103"/>
                    <a:gd name="T8" fmla="*/ 3 w 106"/>
                    <a:gd name="T9" fmla="*/ 82 h 103"/>
                    <a:gd name="T10" fmla="*/ 3 w 106"/>
                    <a:gd name="T11" fmla="*/ 85 h 103"/>
                    <a:gd name="T12" fmla="*/ 3 w 106"/>
                    <a:gd name="T13" fmla="*/ 87 h 103"/>
                    <a:gd name="T14" fmla="*/ 1 w 106"/>
                    <a:gd name="T15" fmla="*/ 88 h 103"/>
                    <a:gd name="T16" fmla="*/ 0 w 106"/>
                    <a:gd name="T17" fmla="*/ 91 h 103"/>
                    <a:gd name="T18" fmla="*/ 1 w 106"/>
                    <a:gd name="T19" fmla="*/ 93 h 103"/>
                    <a:gd name="T20" fmla="*/ 2 w 106"/>
                    <a:gd name="T21" fmla="*/ 95 h 103"/>
                    <a:gd name="T22" fmla="*/ 12 w 106"/>
                    <a:gd name="T23" fmla="*/ 95 h 103"/>
                    <a:gd name="T24" fmla="*/ 17 w 106"/>
                    <a:gd name="T25" fmla="*/ 98 h 103"/>
                    <a:gd name="T26" fmla="*/ 25 w 106"/>
                    <a:gd name="T27" fmla="*/ 99 h 103"/>
                    <a:gd name="T28" fmla="*/ 28 w 106"/>
                    <a:gd name="T29" fmla="*/ 102 h 103"/>
                    <a:gd name="T30" fmla="*/ 33 w 106"/>
                    <a:gd name="T31" fmla="*/ 103 h 103"/>
                    <a:gd name="T32" fmla="*/ 43 w 106"/>
                    <a:gd name="T33" fmla="*/ 101 h 103"/>
                    <a:gd name="T34" fmla="*/ 47 w 106"/>
                    <a:gd name="T35" fmla="*/ 96 h 103"/>
                    <a:gd name="T36" fmla="*/ 55 w 106"/>
                    <a:gd name="T37" fmla="*/ 90 h 103"/>
                    <a:gd name="T38" fmla="*/ 59 w 106"/>
                    <a:gd name="T39" fmla="*/ 82 h 103"/>
                    <a:gd name="T40" fmla="*/ 63 w 106"/>
                    <a:gd name="T41" fmla="*/ 73 h 103"/>
                    <a:gd name="T42" fmla="*/ 63 w 106"/>
                    <a:gd name="T43" fmla="*/ 68 h 103"/>
                    <a:gd name="T44" fmla="*/ 70 w 106"/>
                    <a:gd name="T45" fmla="*/ 60 h 103"/>
                    <a:gd name="T46" fmla="*/ 90 w 106"/>
                    <a:gd name="T47" fmla="*/ 54 h 103"/>
                    <a:gd name="T48" fmla="*/ 86 w 106"/>
                    <a:gd name="T49" fmla="*/ 51 h 103"/>
                    <a:gd name="T50" fmla="*/ 85 w 106"/>
                    <a:gd name="T51" fmla="*/ 46 h 103"/>
                    <a:gd name="T52" fmla="*/ 89 w 106"/>
                    <a:gd name="T53" fmla="*/ 42 h 103"/>
                    <a:gd name="T54" fmla="*/ 96 w 106"/>
                    <a:gd name="T55" fmla="*/ 33 h 103"/>
                    <a:gd name="T56" fmla="*/ 102 w 106"/>
                    <a:gd name="T57" fmla="*/ 27 h 103"/>
                    <a:gd name="T58" fmla="*/ 106 w 106"/>
                    <a:gd name="T59" fmla="*/ 21 h 103"/>
                    <a:gd name="T60" fmla="*/ 103 w 106"/>
                    <a:gd name="T61" fmla="*/ 16 h 103"/>
                    <a:gd name="T62" fmla="*/ 103 w 106"/>
                    <a:gd name="T63" fmla="*/ 13 h 103"/>
                    <a:gd name="T64" fmla="*/ 105 w 106"/>
                    <a:gd name="T65" fmla="*/ 11 h 103"/>
                    <a:gd name="T66" fmla="*/ 103 w 106"/>
                    <a:gd name="T67" fmla="*/ 9 h 103"/>
                    <a:gd name="T68" fmla="*/ 99 w 106"/>
                    <a:gd name="T69" fmla="*/ 12 h 103"/>
                    <a:gd name="T70" fmla="*/ 99 w 106"/>
                    <a:gd name="T71" fmla="*/ 9 h 103"/>
                    <a:gd name="T72" fmla="*/ 97 w 106"/>
                    <a:gd name="T73" fmla="*/ 9 h 103"/>
                    <a:gd name="T74" fmla="*/ 90 w 106"/>
                    <a:gd name="T75" fmla="*/ 12 h 103"/>
                    <a:gd name="T76" fmla="*/ 89 w 106"/>
                    <a:gd name="T77" fmla="*/ 8 h 103"/>
                    <a:gd name="T78" fmla="*/ 86 w 106"/>
                    <a:gd name="T79" fmla="*/ 5 h 103"/>
                    <a:gd name="T80" fmla="*/ 86 w 106"/>
                    <a:gd name="T81" fmla="*/ 0 h 103"/>
                    <a:gd name="T82" fmla="*/ 81 w 106"/>
                    <a:gd name="T83" fmla="*/ 2 h 103"/>
                    <a:gd name="T84" fmla="*/ 77 w 106"/>
                    <a:gd name="T85" fmla="*/ 7 h 103"/>
                    <a:gd name="T86" fmla="*/ 75 w 106"/>
                    <a:gd name="T87" fmla="*/ 17 h 103"/>
                    <a:gd name="T88" fmla="*/ 68 w 106"/>
                    <a:gd name="T89" fmla="*/ 21 h 103"/>
                    <a:gd name="T90" fmla="*/ 64 w 106"/>
                    <a:gd name="T91" fmla="*/ 33 h 103"/>
                    <a:gd name="T92" fmla="*/ 61 w 106"/>
                    <a:gd name="T93" fmla="*/ 36 h 103"/>
                    <a:gd name="T94" fmla="*/ 56 w 106"/>
                    <a:gd name="T95" fmla="*/ 41 h 103"/>
                    <a:gd name="T96" fmla="*/ 51 w 106"/>
                    <a:gd name="T97" fmla="*/ 45 h 103"/>
                    <a:gd name="T98" fmla="*/ 43 w 106"/>
                    <a:gd name="T99" fmla="*/ 51 h 103"/>
                    <a:gd name="T100" fmla="*/ 31 w 106"/>
                    <a:gd name="T101" fmla="*/ 56 h 103"/>
                    <a:gd name="T102" fmla="*/ 24 w 106"/>
                    <a:gd name="T103" fmla="*/ 61 h 103"/>
                    <a:gd name="T104" fmla="*/ 19 w 106"/>
                    <a:gd name="T105" fmla="*/ 6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103">
                      <a:moveTo>
                        <a:pt x="19" y="65"/>
                      </a:moveTo>
                      <a:lnTo>
                        <a:pt x="18" y="68"/>
                      </a:lnTo>
                      <a:lnTo>
                        <a:pt x="16" y="69"/>
                      </a:lnTo>
                      <a:lnTo>
                        <a:pt x="12" y="74"/>
                      </a:lnTo>
                      <a:lnTo>
                        <a:pt x="9" y="73"/>
                      </a:lnTo>
                      <a:lnTo>
                        <a:pt x="8" y="77"/>
                      </a:lnTo>
                      <a:lnTo>
                        <a:pt x="7" y="79"/>
                      </a:lnTo>
                      <a:lnTo>
                        <a:pt x="9" y="82"/>
                      </a:lnTo>
                      <a:lnTo>
                        <a:pt x="5" y="80"/>
                      </a:lnTo>
                      <a:lnTo>
                        <a:pt x="3" y="82"/>
                      </a:lnTo>
                      <a:lnTo>
                        <a:pt x="5" y="84"/>
                      </a:lnTo>
                      <a:lnTo>
                        <a:pt x="3" y="85"/>
                      </a:lnTo>
                      <a:lnTo>
                        <a:pt x="5" y="85"/>
                      </a:lnTo>
                      <a:lnTo>
                        <a:pt x="3" y="87"/>
                      </a:lnTo>
                      <a:lnTo>
                        <a:pt x="5" y="87"/>
                      </a:lnTo>
                      <a:lnTo>
                        <a:pt x="1" y="88"/>
                      </a:lnTo>
                      <a:lnTo>
                        <a:pt x="0" y="91"/>
                      </a:lnTo>
                      <a:lnTo>
                        <a:pt x="0" y="91"/>
                      </a:lnTo>
                      <a:lnTo>
                        <a:pt x="2" y="90"/>
                      </a:lnTo>
                      <a:lnTo>
                        <a:pt x="1" y="93"/>
                      </a:lnTo>
                      <a:lnTo>
                        <a:pt x="3" y="93"/>
                      </a:lnTo>
                      <a:lnTo>
                        <a:pt x="2" y="95"/>
                      </a:lnTo>
                      <a:lnTo>
                        <a:pt x="10" y="96"/>
                      </a:lnTo>
                      <a:lnTo>
                        <a:pt x="12" y="95"/>
                      </a:lnTo>
                      <a:lnTo>
                        <a:pt x="16" y="95"/>
                      </a:lnTo>
                      <a:lnTo>
                        <a:pt x="17" y="98"/>
                      </a:lnTo>
                      <a:lnTo>
                        <a:pt x="21" y="97"/>
                      </a:lnTo>
                      <a:lnTo>
                        <a:pt x="25" y="99"/>
                      </a:lnTo>
                      <a:lnTo>
                        <a:pt x="25" y="102"/>
                      </a:lnTo>
                      <a:lnTo>
                        <a:pt x="28" y="102"/>
                      </a:lnTo>
                      <a:lnTo>
                        <a:pt x="30" y="102"/>
                      </a:lnTo>
                      <a:lnTo>
                        <a:pt x="33" y="103"/>
                      </a:lnTo>
                      <a:lnTo>
                        <a:pt x="38" y="103"/>
                      </a:lnTo>
                      <a:lnTo>
                        <a:pt x="43" y="101"/>
                      </a:lnTo>
                      <a:lnTo>
                        <a:pt x="45" y="98"/>
                      </a:lnTo>
                      <a:lnTo>
                        <a:pt x="47" y="96"/>
                      </a:lnTo>
                      <a:lnTo>
                        <a:pt x="52" y="90"/>
                      </a:lnTo>
                      <a:lnTo>
                        <a:pt x="55" y="90"/>
                      </a:lnTo>
                      <a:lnTo>
                        <a:pt x="56" y="87"/>
                      </a:lnTo>
                      <a:lnTo>
                        <a:pt x="59" y="82"/>
                      </a:lnTo>
                      <a:lnTo>
                        <a:pt x="60" y="79"/>
                      </a:lnTo>
                      <a:lnTo>
                        <a:pt x="63" y="73"/>
                      </a:lnTo>
                      <a:lnTo>
                        <a:pt x="64" y="71"/>
                      </a:lnTo>
                      <a:lnTo>
                        <a:pt x="63" y="68"/>
                      </a:lnTo>
                      <a:lnTo>
                        <a:pt x="65" y="63"/>
                      </a:lnTo>
                      <a:lnTo>
                        <a:pt x="70" y="60"/>
                      </a:lnTo>
                      <a:lnTo>
                        <a:pt x="80" y="55"/>
                      </a:lnTo>
                      <a:lnTo>
                        <a:pt x="90" y="54"/>
                      </a:lnTo>
                      <a:lnTo>
                        <a:pt x="88" y="52"/>
                      </a:lnTo>
                      <a:lnTo>
                        <a:pt x="86" y="51"/>
                      </a:lnTo>
                      <a:lnTo>
                        <a:pt x="85" y="47"/>
                      </a:lnTo>
                      <a:lnTo>
                        <a:pt x="85" y="46"/>
                      </a:lnTo>
                      <a:lnTo>
                        <a:pt x="87" y="44"/>
                      </a:lnTo>
                      <a:lnTo>
                        <a:pt x="89" y="42"/>
                      </a:lnTo>
                      <a:lnTo>
                        <a:pt x="93" y="39"/>
                      </a:lnTo>
                      <a:lnTo>
                        <a:pt x="96" y="33"/>
                      </a:lnTo>
                      <a:lnTo>
                        <a:pt x="102" y="27"/>
                      </a:lnTo>
                      <a:lnTo>
                        <a:pt x="102" y="27"/>
                      </a:lnTo>
                      <a:lnTo>
                        <a:pt x="104" y="24"/>
                      </a:lnTo>
                      <a:lnTo>
                        <a:pt x="106" y="21"/>
                      </a:lnTo>
                      <a:lnTo>
                        <a:pt x="105" y="18"/>
                      </a:lnTo>
                      <a:lnTo>
                        <a:pt x="103" y="16"/>
                      </a:lnTo>
                      <a:lnTo>
                        <a:pt x="105" y="12"/>
                      </a:lnTo>
                      <a:lnTo>
                        <a:pt x="103" y="13"/>
                      </a:lnTo>
                      <a:lnTo>
                        <a:pt x="103" y="12"/>
                      </a:lnTo>
                      <a:lnTo>
                        <a:pt x="105" y="11"/>
                      </a:lnTo>
                      <a:lnTo>
                        <a:pt x="106" y="9"/>
                      </a:lnTo>
                      <a:lnTo>
                        <a:pt x="103" y="9"/>
                      </a:lnTo>
                      <a:lnTo>
                        <a:pt x="103" y="11"/>
                      </a:lnTo>
                      <a:lnTo>
                        <a:pt x="99" y="12"/>
                      </a:lnTo>
                      <a:lnTo>
                        <a:pt x="101" y="12"/>
                      </a:lnTo>
                      <a:lnTo>
                        <a:pt x="99" y="9"/>
                      </a:lnTo>
                      <a:lnTo>
                        <a:pt x="103" y="7"/>
                      </a:lnTo>
                      <a:lnTo>
                        <a:pt x="97" y="9"/>
                      </a:lnTo>
                      <a:lnTo>
                        <a:pt x="93" y="12"/>
                      </a:lnTo>
                      <a:lnTo>
                        <a:pt x="90" y="12"/>
                      </a:lnTo>
                      <a:lnTo>
                        <a:pt x="89" y="10"/>
                      </a:lnTo>
                      <a:lnTo>
                        <a:pt x="89" y="8"/>
                      </a:lnTo>
                      <a:lnTo>
                        <a:pt x="89" y="4"/>
                      </a:lnTo>
                      <a:lnTo>
                        <a:pt x="86" y="5"/>
                      </a:lnTo>
                      <a:lnTo>
                        <a:pt x="85" y="3"/>
                      </a:lnTo>
                      <a:lnTo>
                        <a:pt x="86" y="0"/>
                      </a:lnTo>
                      <a:lnTo>
                        <a:pt x="84" y="2"/>
                      </a:lnTo>
                      <a:lnTo>
                        <a:pt x="81" y="2"/>
                      </a:lnTo>
                      <a:lnTo>
                        <a:pt x="78" y="4"/>
                      </a:lnTo>
                      <a:lnTo>
                        <a:pt x="77" y="7"/>
                      </a:lnTo>
                      <a:lnTo>
                        <a:pt x="77" y="12"/>
                      </a:lnTo>
                      <a:lnTo>
                        <a:pt x="75" y="17"/>
                      </a:lnTo>
                      <a:lnTo>
                        <a:pt x="72" y="19"/>
                      </a:lnTo>
                      <a:lnTo>
                        <a:pt x="68" y="21"/>
                      </a:lnTo>
                      <a:lnTo>
                        <a:pt x="65" y="29"/>
                      </a:lnTo>
                      <a:lnTo>
                        <a:pt x="64" y="33"/>
                      </a:lnTo>
                      <a:lnTo>
                        <a:pt x="63" y="34"/>
                      </a:lnTo>
                      <a:lnTo>
                        <a:pt x="61" y="36"/>
                      </a:lnTo>
                      <a:lnTo>
                        <a:pt x="59" y="39"/>
                      </a:lnTo>
                      <a:lnTo>
                        <a:pt x="56" y="41"/>
                      </a:lnTo>
                      <a:lnTo>
                        <a:pt x="53" y="42"/>
                      </a:lnTo>
                      <a:lnTo>
                        <a:pt x="51" y="45"/>
                      </a:lnTo>
                      <a:lnTo>
                        <a:pt x="45" y="48"/>
                      </a:lnTo>
                      <a:lnTo>
                        <a:pt x="43" y="51"/>
                      </a:lnTo>
                      <a:lnTo>
                        <a:pt x="39" y="52"/>
                      </a:lnTo>
                      <a:lnTo>
                        <a:pt x="31" y="56"/>
                      </a:lnTo>
                      <a:lnTo>
                        <a:pt x="26" y="57"/>
                      </a:lnTo>
                      <a:lnTo>
                        <a:pt x="24" y="61"/>
                      </a:lnTo>
                      <a:lnTo>
                        <a:pt x="21" y="63"/>
                      </a:lnTo>
                      <a:lnTo>
                        <a:pt x="19" y="65"/>
                      </a:lnTo>
                      <a:lnTo>
                        <a:pt x="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40" name="Freeform 202">
                  <a:extLst>
                    <a:ext uri="{FF2B5EF4-FFF2-40B4-BE49-F238E27FC236}">
                      <a16:creationId xmlns:a16="http://schemas.microsoft.com/office/drawing/2014/main" id="{499048BA-9B7C-70EE-C1B9-3ED07AE1771B}"/>
                    </a:ext>
                  </a:extLst>
                </p:cNvPr>
                <p:cNvSpPr>
                  <a:spLocks/>
                </p:cNvSpPr>
                <p:nvPr/>
              </p:nvSpPr>
              <p:spPr bwMode="auto">
                <a:xfrm>
                  <a:off x="6050" y="3297"/>
                  <a:ext cx="80" cy="113"/>
                </a:xfrm>
                <a:custGeom>
                  <a:avLst/>
                  <a:gdLst>
                    <a:gd name="T0" fmla="*/ 27 w 80"/>
                    <a:gd name="T1" fmla="*/ 37 h 113"/>
                    <a:gd name="T2" fmla="*/ 28 w 80"/>
                    <a:gd name="T3" fmla="*/ 34 h 113"/>
                    <a:gd name="T4" fmla="*/ 28 w 80"/>
                    <a:gd name="T5" fmla="*/ 30 h 113"/>
                    <a:gd name="T6" fmla="*/ 26 w 80"/>
                    <a:gd name="T7" fmla="*/ 26 h 113"/>
                    <a:gd name="T8" fmla="*/ 25 w 80"/>
                    <a:gd name="T9" fmla="*/ 21 h 113"/>
                    <a:gd name="T10" fmla="*/ 22 w 80"/>
                    <a:gd name="T11" fmla="*/ 13 h 113"/>
                    <a:gd name="T12" fmla="*/ 17 w 80"/>
                    <a:gd name="T13" fmla="*/ 10 h 113"/>
                    <a:gd name="T14" fmla="*/ 11 w 80"/>
                    <a:gd name="T15" fmla="*/ 8 h 113"/>
                    <a:gd name="T16" fmla="*/ 3 w 80"/>
                    <a:gd name="T17" fmla="*/ 1 h 113"/>
                    <a:gd name="T18" fmla="*/ 5 w 80"/>
                    <a:gd name="T19" fmla="*/ 8 h 113"/>
                    <a:gd name="T20" fmla="*/ 9 w 80"/>
                    <a:gd name="T21" fmla="*/ 17 h 113"/>
                    <a:gd name="T22" fmla="*/ 9 w 80"/>
                    <a:gd name="T23" fmla="*/ 17 h 113"/>
                    <a:gd name="T24" fmla="*/ 17 w 80"/>
                    <a:gd name="T25" fmla="*/ 26 h 113"/>
                    <a:gd name="T26" fmla="*/ 22 w 80"/>
                    <a:gd name="T27" fmla="*/ 26 h 113"/>
                    <a:gd name="T28" fmla="*/ 21 w 80"/>
                    <a:gd name="T29" fmla="*/ 29 h 113"/>
                    <a:gd name="T30" fmla="*/ 20 w 80"/>
                    <a:gd name="T31" fmla="*/ 30 h 113"/>
                    <a:gd name="T32" fmla="*/ 24 w 80"/>
                    <a:gd name="T33" fmla="*/ 37 h 113"/>
                    <a:gd name="T34" fmla="*/ 27 w 80"/>
                    <a:gd name="T35" fmla="*/ 43 h 113"/>
                    <a:gd name="T36" fmla="*/ 28 w 80"/>
                    <a:gd name="T37" fmla="*/ 47 h 113"/>
                    <a:gd name="T38" fmla="*/ 28 w 80"/>
                    <a:gd name="T39" fmla="*/ 53 h 113"/>
                    <a:gd name="T40" fmla="*/ 26 w 80"/>
                    <a:gd name="T41" fmla="*/ 62 h 113"/>
                    <a:gd name="T42" fmla="*/ 25 w 80"/>
                    <a:gd name="T43" fmla="*/ 69 h 113"/>
                    <a:gd name="T44" fmla="*/ 18 w 80"/>
                    <a:gd name="T45" fmla="*/ 72 h 113"/>
                    <a:gd name="T46" fmla="*/ 14 w 80"/>
                    <a:gd name="T47" fmla="*/ 77 h 113"/>
                    <a:gd name="T48" fmla="*/ 18 w 80"/>
                    <a:gd name="T49" fmla="*/ 80 h 113"/>
                    <a:gd name="T50" fmla="*/ 24 w 80"/>
                    <a:gd name="T51" fmla="*/ 83 h 113"/>
                    <a:gd name="T52" fmla="*/ 29 w 80"/>
                    <a:gd name="T53" fmla="*/ 86 h 113"/>
                    <a:gd name="T54" fmla="*/ 34 w 80"/>
                    <a:gd name="T55" fmla="*/ 90 h 113"/>
                    <a:gd name="T56" fmla="*/ 34 w 80"/>
                    <a:gd name="T57" fmla="*/ 98 h 113"/>
                    <a:gd name="T58" fmla="*/ 29 w 80"/>
                    <a:gd name="T59" fmla="*/ 104 h 113"/>
                    <a:gd name="T60" fmla="*/ 27 w 80"/>
                    <a:gd name="T61" fmla="*/ 107 h 113"/>
                    <a:gd name="T62" fmla="*/ 29 w 80"/>
                    <a:gd name="T63" fmla="*/ 111 h 113"/>
                    <a:gd name="T64" fmla="*/ 34 w 80"/>
                    <a:gd name="T65" fmla="*/ 112 h 113"/>
                    <a:gd name="T66" fmla="*/ 43 w 80"/>
                    <a:gd name="T67" fmla="*/ 109 h 113"/>
                    <a:gd name="T68" fmla="*/ 48 w 80"/>
                    <a:gd name="T69" fmla="*/ 100 h 113"/>
                    <a:gd name="T70" fmla="*/ 52 w 80"/>
                    <a:gd name="T71" fmla="*/ 96 h 113"/>
                    <a:gd name="T72" fmla="*/ 56 w 80"/>
                    <a:gd name="T73" fmla="*/ 90 h 113"/>
                    <a:gd name="T74" fmla="*/ 56 w 80"/>
                    <a:gd name="T75" fmla="*/ 78 h 113"/>
                    <a:gd name="T76" fmla="*/ 61 w 80"/>
                    <a:gd name="T77" fmla="*/ 73 h 113"/>
                    <a:gd name="T78" fmla="*/ 69 w 80"/>
                    <a:gd name="T79" fmla="*/ 72 h 113"/>
                    <a:gd name="T80" fmla="*/ 71 w 80"/>
                    <a:gd name="T81" fmla="*/ 71 h 113"/>
                    <a:gd name="T82" fmla="*/ 73 w 80"/>
                    <a:gd name="T83" fmla="*/ 66 h 113"/>
                    <a:gd name="T84" fmla="*/ 77 w 80"/>
                    <a:gd name="T85" fmla="*/ 61 h 113"/>
                    <a:gd name="T86" fmla="*/ 78 w 80"/>
                    <a:gd name="T87" fmla="*/ 52 h 113"/>
                    <a:gd name="T88" fmla="*/ 74 w 80"/>
                    <a:gd name="T89" fmla="*/ 48 h 113"/>
                    <a:gd name="T90" fmla="*/ 67 w 80"/>
                    <a:gd name="T91" fmla="*/ 54 h 113"/>
                    <a:gd name="T92" fmla="*/ 60 w 80"/>
                    <a:gd name="T93" fmla="*/ 55 h 113"/>
                    <a:gd name="T94" fmla="*/ 47 w 80"/>
                    <a:gd name="T95" fmla="*/ 51 h 113"/>
                    <a:gd name="T96" fmla="*/ 44 w 80"/>
                    <a:gd name="T97" fmla="*/ 46 h 113"/>
                    <a:gd name="T98" fmla="*/ 44 w 80"/>
                    <a:gd name="T99" fmla="*/ 40 h 113"/>
                    <a:gd name="T100" fmla="*/ 41 w 80"/>
                    <a:gd name="T101" fmla="*/ 35 h 113"/>
                    <a:gd name="T102" fmla="*/ 37 w 80"/>
                    <a:gd name="T103" fmla="*/ 36 h 113"/>
                    <a:gd name="T104" fmla="*/ 36 w 80"/>
                    <a:gd name="T105" fmla="*/ 43 h 113"/>
                    <a:gd name="T106" fmla="*/ 30 w 80"/>
                    <a:gd name="T107" fmla="*/ 3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 h="113">
                      <a:moveTo>
                        <a:pt x="30" y="38"/>
                      </a:moveTo>
                      <a:lnTo>
                        <a:pt x="27" y="37"/>
                      </a:lnTo>
                      <a:lnTo>
                        <a:pt x="28" y="36"/>
                      </a:lnTo>
                      <a:lnTo>
                        <a:pt x="28" y="34"/>
                      </a:lnTo>
                      <a:lnTo>
                        <a:pt x="28" y="34"/>
                      </a:lnTo>
                      <a:lnTo>
                        <a:pt x="28" y="30"/>
                      </a:lnTo>
                      <a:lnTo>
                        <a:pt x="28" y="28"/>
                      </a:lnTo>
                      <a:lnTo>
                        <a:pt x="26" y="26"/>
                      </a:lnTo>
                      <a:lnTo>
                        <a:pt x="22" y="20"/>
                      </a:lnTo>
                      <a:lnTo>
                        <a:pt x="25" y="21"/>
                      </a:lnTo>
                      <a:lnTo>
                        <a:pt x="24" y="17"/>
                      </a:lnTo>
                      <a:lnTo>
                        <a:pt x="22" y="13"/>
                      </a:lnTo>
                      <a:lnTo>
                        <a:pt x="20" y="12"/>
                      </a:lnTo>
                      <a:lnTo>
                        <a:pt x="17" y="10"/>
                      </a:lnTo>
                      <a:lnTo>
                        <a:pt x="14" y="9"/>
                      </a:lnTo>
                      <a:lnTo>
                        <a:pt x="11" y="8"/>
                      </a:lnTo>
                      <a:lnTo>
                        <a:pt x="7" y="5"/>
                      </a:lnTo>
                      <a:lnTo>
                        <a:pt x="3" y="1"/>
                      </a:lnTo>
                      <a:lnTo>
                        <a:pt x="0" y="0"/>
                      </a:lnTo>
                      <a:lnTo>
                        <a:pt x="5" y="8"/>
                      </a:lnTo>
                      <a:lnTo>
                        <a:pt x="7" y="13"/>
                      </a:lnTo>
                      <a:lnTo>
                        <a:pt x="9" y="17"/>
                      </a:lnTo>
                      <a:lnTo>
                        <a:pt x="11" y="13"/>
                      </a:lnTo>
                      <a:lnTo>
                        <a:pt x="9" y="17"/>
                      </a:lnTo>
                      <a:lnTo>
                        <a:pt x="17" y="28"/>
                      </a:lnTo>
                      <a:lnTo>
                        <a:pt x="17" y="26"/>
                      </a:lnTo>
                      <a:lnTo>
                        <a:pt x="20" y="27"/>
                      </a:lnTo>
                      <a:lnTo>
                        <a:pt x="22" y="26"/>
                      </a:lnTo>
                      <a:lnTo>
                        <a:pt x="24" y="28"/>
                      </a:lnTo>
                      <a:lnTo>
                        <a:pt x="21" y="29"/>
                      </a:lnTo>
                      <a:lnTo>
                        <a:pt x="24" y="31"/>
                      </a:lnTo>
                      <a:lnTo>
                        <a:pt x="20" y="30"/>
                      </a:lnTo>
                      <a:lnTo>
                        <a:pt x="20" y="31"/>
                      </a:lnTo>
                      <a:lnTo>
                        <a:pt x="24" y="37"/>
                      </a:lnTo>
                      <a:lnTo>
                        <a:pt x="29" y="39"/>
                      </a:lnTo>
                      <a:lnTo>
                        <a:pt x="27" y="43"/>
                      </a:lnTo>
                      <a:lnTo>
                        <a:pt x="28" y="45"/>
                      </a:lnTo>
                      <a:lnTo>
                        <a:pt x="28" y="47"/>
                      </a:lnTo>
                      <a:lnTo>
                        <a:pt x="28" y="51"/>
                      </a:lnTo>
                      <a:lnTo>
                        <a:pt x="28" y="53"/>
                      </a:lnTo>
                      <a:lnTo>
                        <a:pt x="28" y="55"/>
                      </a:lnTo>
                      <a:lnTo>
                        <a:pt x="26" y="62"/>
                      </a:lnTo>
                      <a:lnTo>
                        <a:pt x="26" y="66"/>
                      </a:lnTo>
                      <a:lnTo>
                        <a:pt x="25" y="69"/>
                      </a:lnTo>
                      <a:lnTo>
                        <a:pt x="22" y="71"/>
                      </a:lnTo>
                      <a:lnTo>
                        <a:pt x="18" y="72"/>
                      </a:lnTo>
                      <a:lnTo>
                        <a:pt x="14" y="73"/>
                      </a:lnTo>
                      <a:lnTo>
                        <a:pt x="14" y="77"/>
                      </a:lnTo>
                      <a:lnTo>
                        <a:pt x="16" y="79"/>
                      </a:lnTo>
                      <a:lnTo>
                        <a:pt x="18" y="80"/>
                      </a:lnTo>
                      <a:lnTo>
                        <a:pt x="21" y="81"/>
                      </a:lnTo>
                      <a:lnTo>
                        <a:pt x="24" y="83"/>
                      </a:lnTo>
                      <a:lnTo>
                        <a:pt x="26" y="85"/>
                      </a:lnTo>
                      <a:lnTo>
                        <a:pt x="29" y="86"/>
                      </a:lnTo>
                      <a:lnTo>
                        <a:pt x="31" y="87"/>
                      </a:lnTo>
                      <a:lnTo>
                        <a:pt x="34" y="90"/>
                      </a:lnTo>
                      <a:lnTo>
                        <a:pt x="35" y="91"/>
                      </a:lnTo>
                      <a:lnTo>
                        <a:pt x="34" y="98"/>
                      </a:lnTo>
                      <a:lnTo>
                        <a:pt x="31" y="102"/>
                      </a:lnTo>
                      <a:lnTo>
                        <a:pt x="29" y="104"/>
                      </a:lnTo>
                      <a:lnTo>
                        <a:pt x="29" y="105"/>
                      </a:lnTo>
                      <a:lnTo>
                        <a:pt x="27" y="107"/>
                      </a:lnTo>
                      <a:lnTo>
                        <a:pt x="28" y="107"/>
                      </a:lnTo>
                      <a:lnTo>
                        <a:pt x="29" y="111"/>
                      </a:lnTo>
                      <a:lnTo>
                        <a:pt x="33" y="109"/>
                      </a:lnTo>
                      <a:lnTo>
                        <a:pt x="34" y="112"/>
                      </a:lnTo>
                      <a:lnTo>
                        <a:pt x="36" y="113"/>
                      </a:lnTo>
                      <a:lnTo>
                        <a:pt x="43" y="109"/>
                      </a:lnTo>
                      <a:lnTo>
                        <a:pt x="45" y="106"/>
                      </a:lnTo>
                      <a:lnTo>
                        <a:pt x="48" y="100"/>
                      </a:lnTo>
                      <a:lnTo>
                        <a:pt x="48" y="99"/>
                      </a:lnTo>
                      <a:lnTo>
                        <a:pt x="52" y="96"/>
                      </a:lnTo>
                      <a:lnTo>
                        <a:pt x="54" y="92"/>
                      </a:lnTo>
                      <a:lnTo>
                        <a:pt x="56" y="90"/>
                      </a:lnTo>
                      <a:lnTo>
                        <a:pt x="59" y="83"/>
                      </a:lnTo>
                      <a:lnTo>
                        <a:pt x="56" y="78"/>
                      </a:lnTo>
                      <a:lnTo>
                        <a:pt x="59" y="75"/>
                      </a:lnTo>
                      <a:lnTo>
                        <a:pt x="61" y="73"/>
                      </a:lnTo>
                      <a:lnTo>
                        <a:pt x="64" y="72"/>
                      </a:lnTo>
                      <a:lnTo>
                        <a:pt x="69" y="72"/>
                      </a:lnTo>
                      <a:lnTo>
                        <a:pt x="71" y="74"/>
                      </a:lnTo>
                      <a:lnTo>
                        <a:pt x="71" y="71"/>
                      </a:lnTo>
                      <a:lnTo>
                        <a:pt x="71" y="66"/>
                      </a:lnTo>
                      <a:lnTo>
                        <a:pt x="73" y="66"/>
                      </a:lnTo>
                      <a:lnTo>
                        <a:pt x="76" y="63"/>
                      </a:lnTo>
                      <a:lnTo>
                        <a:pt x="77" y="61"/>
                      </a:lnTo>
                      <a:lnTo>
                        <a:pt x="77" y="55"/>
                      </a:lnTo>
                      <a:lnTo>
                        <a:pt x="78" y="52"/>
                      </a:lnTo>
                      <a:lnTo>
                        <a:pt x="80" y="49"/>
                      </a:lnTo>
                      <a:lnTo>
                        <a:pt x="74" y="48"/>
                      </a:lnTo>
                      <a:lnTo>
                        <a:pt x="69" y="51"/>
                      </a:lnTo>
                      <a:lnTo>
                        <a:pt x="67" y="54"/>
                      </a:lnTo>
                      <a:lnTo>
                        <a:pt x="63" y="55"/>
                      </a:lnTo>
                      <a:lnTo>
                        <a:pt x="60" y="55"/>
                      </a:lnTo>
                      <a:lnTo>
                        <a:pt x="50" y="51"/>
                      </a:lnTo>
                      <a:lnTo>
                        <a:pt x="47" y="51"/>
                      </a:lnTo>
                      <a:lnTo>
                        <a:pt x="45" y="48"/>
                      </a:lnTo>
                      <a:lnTo>
                        <a:pt x="44" y="46"/>
                      </a:lnTo>
                      <a:lnTo>
                        <a:pt x="43" y="43"/>
                      </a:lnTo>
                      <a:lnTo>
                        <a:pt x="44" y="40"/>
                      </a:lnTo>
                      <a:lnTo>
                        <a:pt x="43" y="38"/>
                      </a:lnTo>
                      <a:lnTo>
                        <a:pt x="41" y="35"/>
                      </a:lnTo>
                      <a:lnTo>
                        <a:pt x="37" y="34"/>
                      </a:lnTo>
                      <a:lnTo>
                        <a:pt x="37" y="36"/>
                      </a:lnTo>
                      <a:lnTo>
                        <a:pt x="38" y="42"/>
                      </a:lnTo>
                      <a:lnTo>
                        <a:pt x="36" y="43"/>
                      </a:lnTo>
                      <a:lnTo>
                        <a:pt x="33" y="38"/>
                      </a:lnTo>
                      <a:lnTo>
                        <a:pt x="30" y="38"/>
                      </a:lnTo>
                      <a:lnTo>
                        <a:pt x="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41" name="Freeform 203">
                  <a:extLst>
                    <a:ext uri="{FF2B5EF4-FFF2-40B4-BE49-F238E27FC236}">
                      <a16:creationId xmlns:a16="http://schemas.microsoft.com/office/drawing/2014/main" id="{1DEAB019-594A-3B69-59BF-962E4403EF5A}"/>
                    </a:ext>
                  </a:extLst>
                </p:cNvPr>
                <p:cNvSpPr>
                  <a:spLocks/>
                </p:cNvSpPr>
                <p:nvPr/>
              </p:nvSpPr>
              <p:spPr bwMode="auto">
                <a:xfrm>
                  <a:off x="2491" y="1740"/>
                  <a:ext cx="94" cy="62"/>
                </a:xfrm>
                <a:custGeom>
                  <a:avLst/>
                  <a:gdLst>
                    <a:gd name="T0" fmla="*/ 52 w 94"/>
                    <a:gd name="T1" fmla="*/ 19 h 62"/>
                    <a:gd name="T2" fmla="*/ 56 w 94"/>
                    <a:gd name="T3" fmla="*/ 22 h 62"/>
                    <a:gd name="T4" fmla="*/ 63 w 94"/>
                    <a:gd name="T5" fmla="*/ 26 h 62"/>
                    <a:gd name="T6" fmla="*/ 69 w 94"/>
                    <a:gd name="T7" fmla="*/ 27 h 62"/>
                    <a:gd name="T8" fmla="*/ 74 w 94"/>
                    <a:gd name="T9" fmla="*/ 35 h 62"/>
                    <a:gd name="T10" fmla="*/ 73 w 94"/>
                    <a:gd name="T11" fmla="*/ 43 h 62"/>
                    <a:gd name="T12" fmla="*/ 79 w 94"/>
                    <a:gd name="T13" fmla="*/ 40 h 62"/>
                    <a:gd name="T14" fmla="*/ 87 w 94"/>
                    <a:gd name="T15" fmla="*/ 40 h 62"/>
                    <a:gd name="T16" fmla="*/ 89 w 94"/>
                    <a:gd name="T17" fmla="*/ 45 h 62"/>
                    <a:gd name="T18" fmla="*/ 94 w 94"/>
                    <a:gd name="T19" fmla="*/ 48 h 62"/>
                    <a:gd name="T20" fmla="*/ 84 w 94"/>
                    <a:gd name="T21" fmla="*/ 54 h 62"/>
                    <a:gd name="T22" fmla="*/ 72 w 94"/>
                    <a:gd name="T23" fmla="*/ 50 h 62"/>
                    <a:gd name="T24" fmla="*/ 67 w 94"/>
                    <a:gd name="T25" fmla="*/ 49 h 62"/>
                    <a:gd name="T26" fmla="*/ 65 w 94"/>
                    <a:gd name="T27" fmla="*/ 44 h 62"/>
                    <a:gd name="T28" fmla="*/ 56 w 94"/>
                    <a:gd name="T29" fmla="*/ 41 h 62"/>
                    <a:gd name="T30" fmla="*/ 54 w 94"/>
                    <a:gd name="T31" fmla="*/ 39 h 62"/>
                    <a:gd name="T32" fmla="*/ 48 w 94"/>
                    <a:gd name="T33" fmla="*/ 41 h 62"/>
                    <a:gd name="T34" fmla="*/ 47 w 94"/>
                    <a:gd name="T35" fmla="*/ 47 h 62"/>
                    <a:gd name="T36" fmla="*/ 42 w 94"/>
                    <a:gd name="T37" fmla="*/ 52 h 62"/>
                    <a:gd name="T38" fmla="*/ 37 w 94"/>
                    <a:gd name="T39" fmla="*/ 54 h 62"/>
                    <a:gd name="T40" fmla="*/ 30 w 94"/>
                    <a:gd name="T41" fmla="*/ 60 h 62"/>
                    <a:gd name="T42" fmla="*/ 25 w 94"/>
                    <a:gd name="T43" fmla="*/ 62 h 62"/>
                    <a:gd name="T44" fmla="*/ 21 w 94"/>
                    <a:gd name="T45" fmla="*/ 58 h 62"/>
                    <a:gd name="T46" fmla="*/ 21 w 94"/>
                    <a:gd name="T47" fmla="*/ 50 h 62"/>
                    <a:gd name="T48" fmla="*/ 19 w 94"/>
                    <a:gd name="T49" fmla="*/ 48 h 62"/>
                    <a:gd name="T50" fmla="*/ 13 w 94"/>
                    <a:gd name="T51" fmla="*/ 50 h 62"/>
                    <a:gd name="T52" fmla="*/ 5 w 94"/>
                    <a:gd name="T53" fmla="*/ 52 h 62"/>
                    <a:gd name="T54" fmla="*/ 0 w 94"/>
                    <a:gd name="T55" fmla="*/ 52 h 62"/>
                    <a:gd name="T56" fmla="*/ 3 w 94"/>
                    <a:gd name="T57" fmla="*/ 46 h 62"/>
                    <a:gd name="T58" fmla="*/ 11 w 94"/>
                    <a:gd name="T59" fmla="*/ 41 h 62"/>
                    <a:gd name="T60" fmla="*/ 11 w 94"/>
                    <a:gd name="T61" fmla="*/ 36 h 62"/>
                    <a:gd name="T62" fmla="*/ 14 w 94"/>
                    <a:gd name="T63" fmla="*/ 22 h 62"/>
                    <a:gd name="T64" fmla="*/ 14 w 94"/>
                    <a:gd name="T65" fmla="*/ 17 h 62"/>
                    <a:gd name="T66" fmla="*/ 14 w 94"/>
                    <a:gd name="T67" fmla="*/ 9 h 62"/>
                    <a:gd name="T68" fmla="*/ 19 w 94"/>
                    <a:gd name="T69" fmla="*/ 1 h 62"/>
                    <a:gd name="T70" fmla="*/ 27 w 94"/>
                    <a:gd name="T71" fmla="*/ 4 h 62"/>
                    <a:gd name="T72" fmla="*/ 27 w 94"/>
                    <a:gd name="T73" fmla="*/ 10 h 62"/>
                    <a:gd name="T74" fmla="*/ 30 w 94"/>
                    <a:gd name="T75" fmla="*/ 14 h 62"/>
                    <a:gd name="T76" fmla="*/ 35 w 94"/>
                    <a:gd name="T77" fmla="*/ 11 h 62"/>
                    <a:gd name="T78" fmla="*/ 42 w 94"/>
                    <a:gd name="T79" fmla="*/ 15 h 62"/>
                    <a:gd name="T80" fmla="*/ 50 w 94"/>
                    <a:gd name="T81"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62">
                      <a:moveTo>
                        <a:pt x="50" y="17"/>
                      </a:moveTo>
                      <a:lnTo>
                        <a:pt x="52" y="19"/>
                      </a:lnTo>
                      <a:lnTo>
                        <a:pt x="54" y="21"/>
                      </a:lnTo>
                      <a:lnTo>
                        <a:pt x="56" y="22"/>
                      </a:lnTo>
                      <a:lnTo>
                        <a:pt x="61" y="26"/>
                      </a:lnTo>
                      <a:lnTo>
                        <a:pt x="63" y="26"/>
                      </a:lnTo>
                      <a:lnTo>
                        <a:pt x="67" y="26"/>
                      </a:lnTo>
                      <a:lnTo>
                        <a:pt x="69" y="27"/>
                      </a:lnTo>
                      <a:lnTo>
                        <a:pt x="74" y="31"/>
                      </a:lnTo>
                      <a:lnTo>
                        <a:pt x="74" y="35"/>
                      </a:lnTo>
                      <a:lnTo>
                        <a:pt x="76" y="39"/>
                      </a:lnTo>
                      <a:lnTo>
                        <a:pt x="73" y="43"/>
                      </a:lnTo>
                      <a:lnTo>
                        <a:pt x="76" y="41"/>
                      </a:lnTo>
                      <a:lnTo>
                        <a:pt x="79" y="40"/>
                      </a:lnTo>
                      <a:lnTo>
                        <a:pt x="85" y="43"/>
                      </a:lnTo>
                      <a:lnTo>
                        <a:pt x="87" y="40"/>
                      </a:lnTo>
                      <a:lnTo>
                        <a:pt x="90" y="43"/>
                      </a:lnTo>
                      <a:lnTo>
                        <a:pt x="89" y="45"/>
                      </a:lnTo>
                      <a:lnTo>
                        <a:pt x="91" y="46"/>
                      </a:lnTo>
                      <a:lnTo>
                        <a:pt x="94" y="48"/>
                      </a:lnTo>
                      <a:lnTo>
                        <a:pt x="91" y="49"/>
                      </a:lnTo>
                      <a:lnTo>
                        <a:pt x="84" y="54"/>
                      </a:lnTo>
                      <a:lnTo>
                        <a:pt x="78" y="52"/>
                      </a:lnTo>
                      <a:lnTo>
                        <a:pt x="72" y="50"/>
                      </a:lnTo>
                      <a:lnTo>
                        <a:pt x="70" y="49"/>
                      </a:lnTo>
                      <a:lnTo>
                        <a:pt x="67" y="49"/>
                      </a:lnTo>
                      <a:lnTo>
                        <a:pt x="64" y="49"/>
                      </a:lnTo>
                      <a:lnTo>
                        <a:pt x="65" y="44"/>
                      </a:lnTo>
                      <a:lnTo>
                        <a:pt x="60" y="43"/>
                      </a:lnTo>
                      <a:lnTo>
                        <a:pt x="56" y="41"/>
                      </a:lnTo>
                      <a:lnTo>
                        <a:pt x="56" y="38"/>
                      </a:lnTo>
                      <a:lnTo>
                        <a:pt x="54" y="39"/>
                      </a:lnTo>
                      <a:lnTo>
                        <a:pt x="51" y="39"/>
                      </a:lnTo>
                      <a:lnTo>
                        <a:pt x="48" y="41"/>
                      </a:lnTo>
                      <a:lnTo>
                        <a:pt x="48" y="45"/>
                      </a:lnTo>
                      <a:lnTo>
                        <a:pt x="47" y="47"/>
                      </a:lnTo>
                      <a:lnTo>
                        <a:pt x="45" y="48"/>
                      </a:lnTo>
                      <a:lnTo>
                        <a:pt x="42" y="52"/>
                      </a:lnTo>
                      <a:lnTo>
                        <a:pt x="39" y="52"/>
                      </a:lnTo>
                      <a:lnTo>
                        <a:pt x="37" y="54"/>
                      </a:lnTo>
                      <a:lnTo>
                        <a:pt x="36" y="56"/>
                      </a:lnTo>
                      <a:lnTo>
                        <a:pt x="30" y="60"/>
                      </a:lnTo>
                      <a:lnTo>
                        <a:pt x="28" y="61"/>
                      </a:lnTo>
                      <a:lnTo>
                        <a:pt x="25" y="62"/>
                      </a:lnTo>
                      <a:lnTo>
                        <a:pt x="22" y="61"/>
                      </a:lnTo>
                      <a:lnTo>
                        <a:pt x="21" y="58"/>
                      </a:lnTo>
                      <a:lnTo>
                        <a:pt x="21" y="56"/>
                      </a:lnTo>
                      <a:lnTo>
                        <a:pt x="21" y="50"/>
                      </a:lnTo>
                      <a:lnTo>
                        <a:pt x="20" y="47"/>
                      </a:lnTo>
                      <a:lnTo>
                        <a:pt x="19" y="48"/>
                      </a:lnTo>
                      <a:lnTo>
                        <a:pt x="16" y="49"/>
                      </a:lnTo>
                      <a:lnTo>
                        <a:pt x="13" y="50"/>
                      </a:lnTo>
                      <a:lnTo>
                        <a:pt x="8" y="49"/>
                      </a:lnTo>
                      <a:lnTo>
                        <a:pt x="5" y="52"/>
                      </a:lnTo>
                      <a:lnTo>
                        <a:pt x="3" y="52"/>
                      </a:lnTo>
                      <a:lnTo>
                        <a:pt x="0" y="52"/>
                      </a:lnTo>
                      <a:lnTo>
                        <a:pt x="0" y="48"/>
                      </a:lnTo>
                      <a:lnTo>
                        <a:pt x="3" y="46"/>
                      </a:lnTo>
                      <a:lnTo>
                        <a:pt x="5" y="44"/>
                      </a:lnTo>
                      <a:lnTo>
                        <a:pt x="11" y="41"/>
                      </a:lnTo>
                      <a:lnTo>
                        <a:pt x="13" y="39"/>
                      </a:lnTo>
                      <a:lnTo>
                        <a:pt x="11" y="36"/>
                      </a:lnTo>
                      <a:lnTo>
                        <a:pt x="11" y="28"/>
                      </a:lnTo>
                      <a:lnTo>
                        <a:pt x="14" y="22"/>
                      </a:lnTo>
                      <a:lnTo>
                        <a:pt x="13" y="20"/>
                      </a:lnTo>
                      <a:lnTo>
                        <a:pt x="14" y="17"/>
                      </a:lnTo>
                      <a:lnTo>
                        <a:pt x="13" y="14"/>
                      </a:lnTo>
                      <a:lnTo>
                        <a:pt x="14" y="9"/>
                      </a:lnTo>
                      <a:lnTo>
                        <a:pt x="17" y="4"/>
                      </a:lnTo>
                      <a:lnTo>
                        <a:pt x="19" y="1"/>
                      </a:lnTo>
                      <a:lnTo>
                        <a:pt x="22" y="0"/>
                      </a:lnTo>
                      <a:lnTo>
                        <a:pt x="27" y="4"/>
                      </a:lnTo>
                      <a:lnTo>
                        <a:pt x="29" y="6"/>
                      </a:lnTo>
                      <a:lnTo>
                        <a:pt x="27" y="10"/>
                      </a:lnTo>
                      <a:lnTo>
                        <a:pt x="29" y="12"/>
                      </a:lnTo>
                      <a:lnTo>
                        <a:pt x="30" y="14"/>
                      </a:lnTo>
                      <a:lnTo>
                        <a:pt x="34" y="13"/>
                      </a:lnTo>
                      <a:lnTo>
                        <a:pt x="35" y="11"/>
                      </a:lnTo>
                      <a:lnTo>
                        <a:pt x="40" y="12"/>
                      </a:lnTo>
                      <a:lnTo>
                        <a:pt x="42" y="15"/>
                      </a:lnTo>
                      <a:lnTo>
                        <a:pt x="46" y="17"/>
                      </a:lnTo>
                      <a:lnTo>
                        <a:pt x="50" y="17"/>
                      </a:lnTo>
                      <a:lnTo>
                        <a:pt x="5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42" name="Freeform 204">
                  <a:extLst>
                    <a:ext uri="{FF2B5EF4-FFF2-40B4-BE49-F238E27FC236}">
                      <a16:creationId xmlns:a16="http://schemas.microsoft.com/office/drawing/2014/main" id="{9EF0ADDC-99C5-F7DB-BBE3-248F6D2B134F}"/>
                    </a:ext>
                  </a:extLst>
                </p:cNvPr>
                <p:cNvSpPr>
                  <a:spLocks/>
                </p:cNvSpPr>
                <p:nvPr/>
              </p:nvSpPr>
              <p:spPr bwMode="auto">
                <a:xfrm>
                  <a:off x="4777" y="2670"/>
                  <a:ext cx="29" cy="55"/>
                </a:xfrm>
                <a:custGeom>
                  <a:avLst/>
                  <a:gdLst>
                    <a:gd name="T0" fmla="*/ 11 w 29"/>
                    <a:gd name="T1" fmla="*/ 55 h 55"/>
                    <a:gd name="T2" fmla="*/ 14 w 29"/>
                    <a:gd name="T3" fmla="*/ 52 h 55"/>
                    <a:gd name="T4" fmla="*/ 18 w 29"/>
                    <a:gd name="T5" fmla="*/ 51 h 55"/>
                    <a:gd name="T6" fmla="*/ 21 w 29"/>
                    <a:gd name="T7" fmla="*/ 51 h 55"/>
                    <a:gd name="T8" fmla="*/ 27 w 29"/>
                    <a:gd name="T9" fmla="*/ 47 h 55"/>
                    <a:gd name="T10" fmla="*/ 29 w 29"/>
                    <a:gd name="T11" fmla="*/ 41 h 55"/>
                    <a:gd name="T12" fmla="*/ 29 w 29"/>
                    <a:gd name="T13" fmla="*/ 35 h 55"/>
                    <a:gd name="T14" fmla="*/ 28 w 29"/>
                    <a:gd name="T15" fmla="*/ 33 h 55"/>
                    <a:gd name="T16" fmla="*/ 28 w 29"/>
                    <a:gd name="T17" fmla="*/ 33 h 55"/>
                    <a:gd name="T18" fmla="*/ 27 w 29"/>
                    <a:gd name="T19" fmla="*/ 30 h 55"/>
                    <a:gd name="T20" fmla="*/ 24 w 29"/>
                    <a:gd name="T21" fmla="*/ 26 h 55"/>
                    <a:gd name="T22" fmla="*/ 22 w 29"/>
                    <a:gd name="T23" fmla="*/ 22 h 55"/>
                    <a:gd name="T24" fmla="*/ 20 w 29"/>
                    <a:gd name="T25" fmla="*/ 19 h 55"/>
                    <a:gd name="T26" fmla="*/ 18 w 29"/>
                    <a:gd name="T27" fmla="*/ 13 h 55"/>
                    <a:gd name="T28" fmla="*/ 15 w 29"/>
                    <a:gd name="T29" fmla="*/ 11 h 55"/>
                    <a:gd name="T30" fmla="*/ 12 w 29"/>
                    <a:gd name="T31" fmla="*/ 6 h 55"/>
                    <a:gd name="T32" fmla="*/ 4 w 29"/>
                    <a:gd name="T33" fmla="*/ 0 h 55"/>
                    <a:gd name="T34" fmla="*/ 3 w 29"/>
                    <a:gd name="T35" fmla="*/ 3 h 55"/>
                    <a:gd name="T36" fmla="*/ 6 w 29"/>
                    <a:gd name="T37" fmla="*/ 4 h 55"/>
                    <a:gd name="T38" fmla="*/ 9 w 29"/>
                    <a:gd name="T39" fmla="*/ 5 h 55"/>
                    <a:gd name="T40" fmla="*/ 9 w 29"/>
                    <a:gd name="T41" fmla="*/ 5 h 55"/>
                    <a:gd name="T42" fmla="*/ 6 w 29"/>
                    <a:gd name="T43" fmla="*/ 5 h 55"/>
                    <a:gd name="T44" fmla="*/ 4 w 29"/>
                    <a:gd name="T45" fmla="*/ 7 h 55"/>
                    <a:gd name="T46" fmla="*/ 4 w 29"/>
                    <a:gd name="T47" fmla="*/ 9 h 55"/>
                    <a:gd name="T48" fmla="*/ 2 w 29"/>
                    <a:gd name="T49" fmla="*/ 13 h 55"/>
                    <a:gd name="T50" fmla="*/ 3 w 29"/>
                    <a:gd name="T51" fmla="*/ 15 h 55"/>
                    <a:gd name="T52" fmla="*/ 2 w 29"/>
                    <a:gd name="T53" fmla="*/ 20 h 55"/>
                    <a:gd name="T54" fmla="*/ 1 w 29"/>
                    <a:gd name="T55" fmla="*/ 23 h 55"/>
                    <a:gd name="T56" fmla="*/ 1 w 29"/>
                    <a:gd name="T57" fmla="*/ 26 h 55"/>
                    <a:gd name="T58" fmla="*/ 0 w 29"/>
                    <a:gd name="T59" fmla="*/ 23 h 55"/>
                    <a:gd name="T60" fmla="*/ 0 w 29"/>
                    <a:gd name="T61" fmla="*/ 29 h 55"/>
                    <a:gd name="T62" fmla="*/ 1 w 29"/>
                    <a:gd name="T63" fmla="*/ 33 h 55"/>
                    <a:gd name="T64" fmla="*/ 1 w 29"/>
                    <a:gd name="T65" fmla="*/ 38 h 55"/>
                    <a:gd name="T66" fmla="*/ 1 w 29"/>
                    <a:gd name="T67" fmla="*/ 41 h 55"/>
                    <a:gd name="T68" fmla="*/ 3 w 29"/>
                    <a:gd name="T69" fmla="*/ 46 h 55"/>
                    <a:gd name="T70" fmla="*/ 3 w 29"/>
                    <a:gd name="T71" fmla="*/ 48 h 55"/>
                    <a:gd name="T72" fmla="*/ 5 w 29"/>
                    <a:gd name="T73" fmla="*/ 52 h 55"/>
                    <a:gd name="T74" fmla="*/ 9 w 29"/>
                    <a:gd name="T75" fmla="*/ 5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 h="55">
                      <a:moveTo>
                        <a:pt x="9" y="54"/>
                      </a:moveTo>
                      <a:lnTo>
                        <a:pt x="11" y="55"/>
                      </a:lnTo>
                      <a:lnTo>
                        <a:pt x="13" y="54"/>
                      </a:lnTo>
                      <a:lnTo>
                        <a:pt x="14" y="52"/>
                      </a:lnTo>
                      <a:lnTo>
                        <a:pt x="17" y="51"/>
                      </a:lnTo>
                      <a:lnTo>
                        <a:pt x="18" y="51"/>
                      </a:lnTo>
                      <a:lnTo>
                        <a:pt x="21" y="51"/>
                      </a:lnTo>
                      <a:lnTo>
                        <a:pt x="21" y="51"/>
                      </a:lnTo>
                      <a:lnTo>
                        <a:pt x="27" y="47"/>
                      </a:lnTo>
                      <a:lnTo>
                        <a:pt x="27" y="47"/>
                      </a:lnTo>
                      <a:lnTo>
                        <a:pt x="28" y="43"/>
                      </a:lnTo>
                      <a:lnTo>
                        <a:pt x="29" y="41"/>
                      </a:lnTo>
                      <a:lnTo>
                        <a:pt x="29" y="39"/>
                      </a:lnTo>
                      <a:lnTo>
                        <a:pt x="29" y="35"/>
                      </a:lnTo>
                      <a:lnTo>
                        <a:pt x="28" y="33"/>
                      </a:lnTo>
                      <a:lnTo>
                        <a:pt x="28" y="33"/>
                      </a:lnTo>
                      <a:lnTo>
                        <a:pt x="28" y="33"/>
                      </a:lnTo>
                      <a:lnTo>
                        <a:pt x="28" y="33"/>
                      </a:lnTo>
                      <a:lnTo>
                        <a:pt x="28" y="32"/>
                      </a:lnTo>
                      <a:lnTo>
                        <a:pt x="27" y="30"/>
                      </a:lnTo>
                      <a:lnTo>
                        <a:pt x="27" y="30"/>
                      </a:lnTo>
                      <a:lnTo>
                        <a:pt x="24" y="26"/>
                      </a:lnTo>
                      <a:lnTo>
                        <a:pt x="23" y="25"/>
                      </a:lnTo>
                      <a:lnTo>
                        <a:pt x="22" y="22"/>
                      </a:lnTo>
                      <a:lnTo>
                        <a:pt x="20" y="20"/>
                      </a:lnTo>
                      <a:lnTo>
                        <a:pt x="20" y="19"/>
                      </a:lnTo>
                      <a:lnTo>
                        <a:pt x="19" y="16"/>
                      </a:lnTo>
                      <a:lnTo>
                        <a:pt x="18" y="13"/>
                      </a:lnTo>
                      <a:lnTo>
                        <a:pt x="15" y="13"/>
                      </a:lnTo>
                      <a:lnTo>
                        <a:pt x="15" y="11"/>
                      </a:lnTo>
                      <a:lnTo>
                        <a:pt x="14" y="8"/>
                      </a:lnTo>
                      <a:lnTo>
                        <a:pt x="12" y="6"/>
                      </a:lnTo>
                      <a:lnTo>
                        <a:pt x="6" y="3"/>
                      </a:lnTo>
                      <a:lnTo>
                        <a:pt x="4" y="0"/>
                      </a:lnTo>
                      <a:lnTo>
                        <a:pt x="3" y="0"/>
                      </a:lnTo>
                      <a:lnTo>
                        <a:pt x="3" y="3"/>
                      </a:lnTo>
                      <a:lnTo>
                        <a:pt x="6" y="4"/>
                      </a:lnTo>
                      <a:lnTo>
                        <a:pt x="6" y="4"/>
                      </a:lnTo>
                      <a:lnTo>
                        <a:pt x="9" y="5"/>
                      </a:lnTo>
                      <a:lnTo>
                        <a:pt x="9" y="5"/>
                      </a:lnTo>
                      <a:lnTo>
                        <a:pt x="10" y="5"/>
                      </a:lnTo>
                      <a:lnTo>
                        <a:pt x="9" y="5"/>
                      </a:lnTo>
                      <a:lnTo>
                        <a:pt x="9" y="5"/>
                      </a:lnTo>
                      <a:lnTo>
                        <a:pt x="6" y="5"/>
                      </a:lnTo>
                      <a:lnTo>
                        <a:pt x="4" y="4"/>
                      </a:lnTo>
                      <a:lnTo>
                        <a:pt x="4" y="7"/>
                      </a:lnTo>
                      <a:lnTo>
                        <a:pt x="5" y="9"/>
                      </a:lnTo>
                      <a:lnTo>
                        <a:pt x="4" y="9"/>
                      </a:lnTo>
                      <a:lnTo>
                        <a:pt x="3" y="12"/>
                      </a:lnTo>
                      <a:lnTo>
                        <a:pt x="2" y="13"/>
                      </a:lnTo>
                      <a:lnTo>
                        <a:pt x="2" y="15"/>
                      </a:lnTo>
                      <a:lnTo>
                        <a:pt x="3" y="15"/>
                      </a:lnTo>
                      <a:lnTo>
                        <a:pt x="2" y="19"/>
                      </a:lnTo>
                      <a:lnTo>
                        <a:pt x="2" y="20"/>
                      </a:lnTo>
                      <a:lnTo>
                        <a:pt x="1" y="22"/>
                      </a:lnTo>
                      <a:lnTo>
                        <a:pt x="1" y="23"/>
                      </a:lnTo>
                      <a:lnTo>
                        <a:pt x="1" y="25"/>
                      </a:lnTo>
                      <a:lnTo>
                        <a:pt x="1" y="26"/>
                      </a:lnTo>
                      <a:lnTo>
                        <a:pt x="0" y="26"/>
                      </a:lnTo>
                      <a:lnTo>
                        <a:pt x="0" y="23"/>
                      </a:lnTo>
                      <a:lnTo>
                        <a:pt x="0" y="26"/>
                      </a:lnTo>
                      <a:lnTo>
                        <a:pt x="0" y="29"/>
                      </a:lnTo>
                      <a:lnTo>
                        <a:pt x="1" y="31"/>
                      </a:lnTo>
                      <a:lnTo>
                        <a:pt x="1" y="33"/>
                      </a:lnTo>
                      <a:lnTo>
                        <a:pt x="1" y="35"/>
                      </a:lnTo>
                      <a:lnTo>
                        <a:pt x="1" y="38"/>
                      </a:lnTo>
                      <a:lnTo>
                        <a:pt x="2" y="40"/>
                      </a:lnTo>
                      <a:lnTo>
                        <a:pt x="1" y="41"/>
                      </a:lnTo>
                      <a:lnTo>
                        <a:pt x="2" y="43"/>
                      </a:lnTo>
                      <a:lnTo>
                        <a:pt x="3" y="46"/>
                      </a:lnTo>
                      <a:lnTo>
                        <a:pt x="3" y="47"/>
                      </a:lnTo>
                      <a:lnTo>
                        <a:pt x="3" y="48"/>
                      </a:lnTo>
                      <a:lnTo>
                        <a:pt x="4" y="50"/>
                      </a:lnTo>
                      <a:lnTo>
                        <a:pt x="5" y="52"/>
                      </a:lnTo>
                      <a:lnTo>
                        <a:pt x="9" y="54"/>
                      </a:lnTo>
                      <a:lnTo>
                        <a:pt x="9"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43" name="Freeform 205">
                  <a:extLst>
                    <a:ext uri="{FF2B5EF4-FFF2-40B4-BE49-F238E27FC236}">
                      <a16:creationId xmlns:a16="http://schemas.microsoft.com/office/drawing/2014/main" id="{97DCB53A-93F2-FB24-09E6-B7E89EF5F5CC}"/>
                    </a:ext>
                  </a:extLst>
                </p:cNvPr>
                <p:cNvSpPr>
                  <a:spLocks/>
                </p:cNvSpPr>
                <p:nvPr/>
              </p:nvSpPr>
              <p:spPr bwMode="auto">
                <a:xfrm>
                  <a:off x="4488" y="2132"/>
                  <a:ext cx="10" cy="23"/>
                </a:xfrm>
                <a:custGeom>
                  <a:avLst/>
                  <a:gdLst>
                    <a:gd name="T0" fmla="*/ 4 w 10"/>
                    <a:gd name="T1" fmla="*/ 3 h 23"/>
                    <a:gd name="T2" fmla="*/ 5 w 10"/>
                    <a:gd name="T3" fmla="*/ 3 h 23"/>
                    <a:gd name="T4" fmla="*/ 6 w 10"/>
                    <a:gd name="T5" fmla="*/ 3 h 23"/>
                    <a:gd name="T6" fmla="*/ 8 w 10"/>
                    <a:gd name="T7" fmla="*/ 3 h 23"/>
                    <a:gd name="T8" fmla="*/ 9 w 10"/>
                    <a:gd name="T9" fmla="*/ 6 h 23"/>
                    <a:gd name="T10" fmla="*/ 9 w 10"/>
                    <a:gd name="T11" fmla="*/ 8 h 23"/>
                    <a:gd name="T12" fmla="*/ 9 w 10"/>
                    <a:gd name="T13" fmla="*/ 7 h 23"/>
                    <a:gd name="T14" fmla="*/ 9 w 10"/>
                    <a:gd name="T15" fmla="*/ 6 h 23"/>
                    <a:gd name="T16" fmla="*/ 9 w 10"/>
                    <a:gd name="T17" fmla="*/ 4 h 23"/>
                    <a:gd name="T18" fmla="*/ 10 w 10"/>
                    <a:gd name="T19" fmla="*/ 4 h 23"/>
                    <a:gd name="T20" fmla="*/ 10 w 10"/>
                    <a:gd name="T21" fmla="*/ 7 h 23"/>
                    <a:gd name="T22" fmla="*/ 10 w 10"/>
                    <a:gd name="T23" fmla="*/ 12 h 23"/>
                    <a:gd name="T24" fmla="*/ 9 w 10"/>
                    <a:gd name="T25" fmla="*/ 14 h 23"/>
                    <a:gd name="T26" fmla="*/ 8 w 10"/>
                    <a:gd name="T27" fmla="*/ 16 h 23"/>
                    <a:gd name="T28" fmla="*/ 6 w 10"/>
                    <a:gd name="T29" fmla="*/ 17 h 23"/>
                    <a:gd name="T30" fmla="*/ 6 w 10"/>
                    <a:gd name="T31" fmla="*/ 16 h 23"/>
                    <a:gd name="T32" fmla="*/ 6 w 10"/>
                    <a:gd name="T33" fmla="*/ 19 h 23"/>
                    <a:gd name="T34" fmla="*/ 8 w 10"/>
                    <a:gd name="T35" fmla="*/ 22 h 23"/>
                    <a:gd name="T36" fmla="*/ 6 w 10"/>
                    <a:gd name="T37" fmla="*/ 20 h 23"/>
                    <a:gd name="T38" fmla="*/ 5 w 10"/>
                    <a:gd name="T39" fmla="*/ 21 h 23"/>
                    <a:gd name="T40" fmla="*/ 4 w 10"/>
                    <a:gd name="T41" fmla="*/ 21 h 23"/>
                    <a:gd name="T42" fmla="*/ 4 w 10"/>
                    <a:gd name="T43" fmla="*/ 22 h 23"/>
                    <a:gd name="T44" fmla="*/ 2 w 10"/>
                    <a:gd name="T45" fmla="*/ 23 h 23"/>
                    <a:gd name="T46" fmla="*/ 1 w 10"/>
                    <a:gd name="T47" fmla="*/ 21 h 23"/>
                    <a:gd name="T48" fmla="*/ 1 w 10"/>
                    <a:gd name="T49" fmla="*/ 20 h 23"/>
                    <a:gd name="T50" fmla="*/ 1 w 10"/>
                    <a:gd name="T51" fmla="*/ 19 h 23"/>
                    <a:gd name="T52" fmla="*/ 0 w 10"/>
                    <a:gd name="T53" fmla="*/ 19 h 23"/>
                    <a:gd name="T54" fmla="*/ 0 w 10"/>
                    <a:gd name="T55" fmla="*/ 17 h 23"/>
                    <a:gd name="T56" fmla="*/ 1 w 10"/>
                    <a:gd name="T57" fmla="*/ 19 h 23"/>
                    <a:gd name="T58" fmla="*/ 2 w 10"/>
                    <a:gd name="T59" fmla="*/ 19 h 23"/>
                    <a:gd name="T60" fmla="*/ 3 w 10"/>
                    <a:gd name="T61" fmla="*/ 20 h 23"/>
                    <a:gd name="T62" fmla="*/ 3 w 10"/>
                    <a:gd name="T63" fmla="*/ 17 h 23"/>
                    <a:gd name="T64" fmla="*/ 2 w 10"/>
                    <a:gd name="T65" fmla="*/ 16 h 23"/>
                    <a:gd name="T66" fmla="*/ 1 w 10"/>
                    <a:gd name="T67" fmla="*/ 17 h 23"/>
                    <a:gd name="T68" fmla="*/ 1 w 10"/>
                    <a:gd name="T69" fmla="*/ 15 h 23"/>
                    <a:gd name="T70" fmla="*/ 2 w 10"/>
                    <a:gd name="T71" fmla="*/ 14 h 23"/>
                    <a:gd name="T72" fmla="*/ 2 w 10"/>
                    <a:gd name="T73" fmla="*/ 13 h 23"/>
                    <a:gd name="T74" fmla="*/ 3 w 10"/>
                    <a:gd name="T75" fmla="*/ 13 h 23"/>
                    <a:gd name="T76" fmla="*/ 3 w 10"/>
                    <a:gd name="T77" fmla="*/ 12 h 23"/>
                    <a:gd name="T78" fmla="*/ 2 w 10"/>
                    <a:gd name="T79" fmla="*/ 13 h 23"/>
                    <a:gd name="T80" fmla="*/ 1 w 10"/>
                    <a:gd name="T81" fmla="*/ 13 h 23"/>
                    <a:gd name="T82" fmla="*/ 0 w 10"/>
                    <a:gd name="T83" fmla="*/ 12 h 23"/>
                    <a:gd name="T84" fmla="*/ 1 w 10"/>
                    <a:gd name="T85" fmla="*/ 12 h 23"/>
                    <a:gd name="T86" fmla="*/ 2 w 10"/>
                    <a:gd name="T87" fmla="*/ 11 h 23"/>
                    <a:gd name="T88" fmla="*/ 1 w 10"/>
                    <a:gd name="T89" fmla="*/ 10 h 23"/>
                    <a:gd name="T90" fmla="*/ 1 w 10"/>
                    <a:gd name="T91" fmla="*/ 8 h 23"/>
                    <a:gd name="T92" fmla="*/ 1 w 10"/>
                    <a:gd name="T93" fmla="*/ 7 h 23"/>
                    <a:gd name="T94" fmla="*/ 1 w 10"/>
                    <a:gd name="T95" fmla="*/ 6 h 23"/>
                    <a:gd name="T96" fmla="*/ 1 w 10"/>
                    <a:gd name="T97" fmla="*/ 5 h 23"/>
                    <a:gd name="T98" fmla="*/ 2 w 10"/>
                    <a:gd name="T99" fmla="*/ 4 h 23"/>
                    <a:gd name="T100" fmla="*/ 3 w 10"/>
                    <a:gd name="T101" fmla="*/ 3 h 23"/>
                    <a:gd name="T102" fmla="*/ 4 w 10"/>
                    <a:gd name="T103" fmla="*/ 3 h 23"/>
                    <a:gd name="T104" fmla="*/ 3 w 10"/>
                    <a:gd name="T105" fmla="*/ 2 h 23"/>
                    <a:gd name="T106" fmla="*/ 3 w 10"/>
                    <a:gd name="T10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23">
                      <a:moveTo>
                        <a:pt x="4" y="0"/>
                      </a:moveTo>
                      <a:lnTo>
                        <a:pt x="4" y="0"/>
                      </a:lnTo>
                      <a:lnTo>
                        <a:pt x="4" y="3"/>
                      </a:lnTo>
                      <a:lnTo>
                        <a:pt x="4" y="3"/>
                      </a:lnTo>
                      <a:lnTo>
                        <a:pt x="4" y="3"/>
                      </a:lnTo>
                      <a:lnTo>
                        <a:pt x="5" y="3"/>
                      </a:lnTo>
                      <a:lnTo>
                        <a:pt x="5" y="3"/>
                      </a:lnTo>
                      <a:lnTo>
                        <a:pt x="5" y="3"/>
                      </a:lnTo>
                      <a:lnTo>
                        <a:pt x="5" y="3"/>
                      </a:lnTo>
                      <a:lnTo>
                        <a:pt x="5" y="3"/>
                      </a:lnTo>
                      <a:lnTo>
                        <a:pt x="5" y="3"/>
                      </a:lnTo>
                      <a:lnTo>
                        <a:pt x="6" y="3"/>
                      </a:lnTo>
                      <a:lnTo>
                        <a:pt x="6" y="3"/>
                      </a:lnTo>
                      <a:lnTo>
                        <a:pt x="8" y="3"/>
                      </a:lnTo>
                      <a:lnTo>
                        <a:pt x="8" y="3"/>
                      </a:lnTo>
                      <a:lnTo>
                        <a:pt x="8" y="3"/>
                      </a:lnTo>
                      <a:lnTo>
                        <a:pt x="8" y="3"/>
                      </a:lnTo>
                      <a:lnTo>
                        <a:pt x="8" y="3"/>
                      </a:lnTo>
                      <a:lnTo>
                        <a:pt x="9" y="3"/>
                      </a:lnTo>
                      <a:lnTo>
                        <a:pt x="9" y="6"/>
                      </a:lnTo>
                      <a:lnTo>
                        <a:pt x="8" y="6"/>
                      </a:lnTo>
                      <a:lnTo>
                        <a:pt x="9" y="7"/>
                      </a:lnTo>
                      <a:lnTo>
                        <a:pt x="9" y="7"/>
                      </a:lnTo>
                      <a:lnTo>
                        <a:pt x="9" y="8"/>
                      </a:lnTo>
                      <a:lnTo>
                        <a:pt x="9" y="8"/>
                      </a:lnTo>
                      <a:lnTo>
                        <a:pt x="9" y="8"/>
                      </a:lnTo>
                      <a:lnTo>
                        <a:pt x="9" y="8"/>
                      </a:lnTo>
                      <a:lnTo>
                        <a:pt x="9" y="7"/>
                      </a:lnTo>
                      <a:lnTo>
                        <a:pt x="9" y="7"/>
                      </a:lnTo>
                      <a:lnTo>
                        <a:pt x="9" y="6"/>
                      </a:lnTo>
                      <a:lnTo>
                        <a:pt x="9" y="6"/>
                      </a:lnTo>
                      <a:lnTo>
                        <a:pt x="9" y="6"/>
                      </a:lnTo>
                      <a:lnTo>
                        <a:pt x="9" y="5"/>
                      </a:lnTo>
                      <a:lnTo>
                        <a:pt x="9" y="5"/>
                      </a:lnTo>
                      <a:lnTo>
                        <a:pt x="9" y="5"/>
                      </a:lnTo>
                      <a:lnTo>
                        <a:pt x="9" y="4"/>
                      </a:lnTo>
                      <a:lnTo>
                        <a:pt x="9" y="4"/>
                      </a:lnTo>
                      <a:lnTo>
                        <a:pt x="9" y="4"/>
                      </a:lnTo>
                      <a:lnTo>
                        <a:pt x="10" y="4"/>
                      </a:lnTo>
                      <a:lnTo>
                        <a:pt x="10" y="4"/>
                      </a:lnTo>
                      <a:lnTo>
                        <a:pt x="10" y="5"/>
                      </a:lnTo>
                      <a:lnTo>
                        <a:pt x="10" y="6"/>
                      </a:lnTo>
                      <a:lnTo>
                        <a:pt x="10" y="6"/>
                      </a:lnTo>
                      <a:lnTo>
                        <a:pt x="10" y="7"/>
                      </a:lnTo>
                      <a:lnTo>
                        <a:pt x="10" y="7"/>
                      </a:lnTo>
                      <a:lnTo>
                        <a:pt x="10" y="8"/>
                      </a:lnTo>
                      <a:lnTo>
                        <a:pt x="10" y="8"/>
                      </a:lnTo>
                      <a:lnTo>
                        <a:pt x="10" y="12"/>
                      </a:lnTo>
                      <a:lnTo>
                        <a:pt x="10" y="12"/>
                      </a:lnTo>
                      <a:lnTo>
                        <a:pt x="10" y="13"/>
                      </a:lnTo>
                      <a:lnTo>
                        <a:pt x="10" y="13"/>
                      </a:lnTo>
                      <a:lnTo>
                        <a:pt x="9" y="14"/>
                      </a:lnTo>
                      <a:lnTo>
                        <a:pt x="9" y="14"/>
                      </a:lnTo>
                      <a:lnTo>
                        <a:pt x="9" y="15"/>
                      </a:lnTo>
                      <a:lnTo>
                        <a:pt x="8" y="15"/>
                      </a:lnTo>
                      <a:lnTo>
                        <a:pt x="8" y="16"/>
                      </a:lnTo>
                      <a:lnTo>
                        <a:pt x="8" y="16"/>
                      </a:lnTo>
                      <a:lnTo>
                        <a:pt x="8" y="17"/>
                      </a:lnTo>
                      <a:lnTo>
                        <a:pt x="8" y="17"/>
                      </a:lnTo>
                      <a:lnTo>
                        <a:pt x="6" y="17"/>
                      </a:lnTo>
                      <a:lnTo>
                        <a:pt x="6" y="17"/>
                      </a:lnTo>
                      <a:lnTo>
                        <a:pt x="6" y="17"/>
                      </a:lnTo>
                      <a:lnTo>
                        <a:pt x="6" y="17"/>
                      </a:lnTo>
                      <a:lnTo>
                        <a:pt x="6" y="16"/>
                      </a:lnTo>
                      <a:lnTo>
                        <a:pt x="6" y="16"/>
                      </a:lnTo>
                      <a:lnTo>
                        <a:pt x="6" y="17"/>
                      </a:lnTo>
                      <a:lnTo>
                        <a:pt x="6" y="17"/>
                      </a:lnTo>
                      <a:lnTo>
                        <a:pt x="6" y="19"/>
                      </a:lnTo>
                      <a:lnTo>
                        <a:pt x="6" y="20"/>
                      </a:lnTo>
                      <a:lnTo>
                        <a:pt x="6" y="20"/>
                      </a:lnTo>
                      <a:lnTo>
                        <a:pt x="8" y="21"/>
                      </a:lnTo>
                      <a:lnTo>
                        <a:pt x="8" y="22"/>
                      </a:lnTo>
                      <a:lnTo>
                        <a:pt x="6" y="22"/>
                      </a:lnTo>
                      <a:lnTo>
                        <a:pt x="6" y="21"/>
                      </a:lnTo>
                      <a:lnTo>
                        <a:pt x="6" y="21"/>
                      </a:lnTo>
                      <a:lnTo>
                        <a:pt x="6" y="20"/>
                      </a:lnTo>
                      <a:lnTo>
                        <a:pt x="6" y="21"/>
                      </a:lnTo>
                      <a:lnTo>
                        <a:pt x="6" y="21"/>
                      </a:lnTo>
                      <a:lnTo>
                        <a:pt x="6" y="21"/>
                      </a:lnTo>
                      <a:lnTo>
                        <a:pt x="5" y="21"/>
                      </a:lnTo>
                      <a:lnTo>
                        <a:pt x="5" y="21"/>
                      </a:lnTo>
                      <a:lnTo>
                        <a:pt x="5" y="20"/>
                      </a:lnTo>
                      <a:lnTo>
                        <a:pt x="4" y="20"/>
                      </a:lnTo>
                      <a:lnTo>
                        <a:pt x="4" y="21"/>
                      </a:lnTo>
                      <a:lnTo>
                        <a:pt x="4" y="21"/>
                      </a:lnTo>
                      <a:lnTo>
                        <a:pt x="4" y="21"/>
                      </a:lnTo>
                      <a:lnTo>
                        <a:pt x="4" y="22"/>
                      </a:lnTo>
                      <a:lnTo>
                        <a:pt x="4" y="22"/>
                      </a:lnTo>
                      <a:lnTo>
                        <a:pt x="4" y="23"/>
                      </a:lnTo>
                      <a:lnTo>
                        <a:pt x="4" y="23"/>
                      </a:lnTo>
                      <a:lnTo>
                        <a:pt x="4" y="23"/>
                      </a:lnTo>
                      <a:lnTo>
                        <a:pt x="2" y="23"/>
                      </a:lnTo>
                      <a:lnTo>
                        <a:pt x="2" y="23"/>
                      </a:lnTo>
                      <a:lnTo>
                        <a:pt x="1" y="23"/>
                      </a:lnTo>
                      <a:lnTo>
                        <a:pt x="1" y="22"/>
                      </a:lnTo>
                      <a:lnTo>
                        <a:pt x="1" y="21"/>
                      </a:lnTo>
                      <a:lnTo>
                        <a:pt x="1" y="21"/>
                      </a:lnTo>
                      <a:lnTo>
                        <a:pt x="1" y="21"/>
                      </a:lnTo>
                      <a:lnTo>
                        <a:pt x="1" y="20"/>
                      </a:lnTo>
                      <a:lnTo>
                        <a:pt x="1" y="20"/>
                      </a:lnTo>
                      <a:lnTo>
                        <a:pt x="1" y="20"/>
                      </a:lnTo>
                      <a:lnTo>
                        <a:pt x="1" y="20"/>
                      </a:lnTo>
                      <a:lnTo>
                        <a:pt x="1" y="19"/>
                      </a:lnTo>
                      <a:lnTo>
                        <a:pt x="1" y="19"/>
                      </a:lnTo>
                      <a:lnTo>
                        <a:pt x="0" y="19"/>
                      </a:lnTo>
                      <a:lnTo>
                        <a:pt x="0" y="19"/>
                      </a:lnTo>
                      <a:lnTo>
                        <a:pt x="0" y="19"/>
                      </a:lnTo>
                      <a:lnTo>
                        <a:pt x="0" y="19"/>
                      </a:lnTo>
                      <a:lnTo>
                        <a:pt x="0" y="19"/>
                      </a:lnTo>
                      <a:lnTo>
                        <a:pt x="0" y="17"/>
                      </a:lnTo>
                      <a:lnTo>
                        <a:pt x="0" y="17"/>
                      </a:lnTo>
                      <a:lnTo>
                        <a:pt x="0" y="17"/>
                      </a:lnTo>
                      <a:lnTo>
                        <a:pt x="0" y="17"/>
                      </a:lnTo>
                      <a:lnTo>
                        <a:pt x="0" y="17"/>
                      </a:lnTo>
                      <a:lnTo>
                        <a:pt x="0" y="19"/>
                      </a:lnTo>
                      <a:lnTo>
                        <a:pt x="1" y="19"/>
                      </a:lnTo>
                      <a:lnTo>
                        <a:pt x="2" y="19"/>
                      </a:lnTo>
                      <a:lnTo>
                        <a:pt x="2" y="19"/>
                      </a:lnTo>
                      <a:lnTo>
                        <a:pt x="2" y="19"/>
                      </a:lnTo>
                      <a:lnTo>
                        <a:pt x="2" y="19"/>
                      </a:lnTo>
                      <a:lnTo>
                        <a:pt x="2" y="20"/>
                      </a:lnTo>
                      <a:lnTo>
                        <a:pt x="2" y="20"/>
                      </a:lnTo>
                      <a:lnTo>
                        <a:pt x="2" y="20"/>
                      </a:lnTo>
                      <a:lnTo>
                        <a:pt x="3" y="20"/>
                      </a:lnTo>
                      <a:lnTo>
                        <a:pt x="3" y="20"/>
                      </a:lnTo>
                      <a:lnTo>
                        <a:pt x="3" y="19"/>
                      </a:lnTo>
                      <a:lnTo>
                        <a:pt x="3" y="17"/>
                      </a:lnTo>
                      <a:lnTo>
                        <a:pt x="3" y="17"/>
                      </a:lnTo>
                      <a:lnTo>
                        <a:pt x="3" y="16"/>
                      </a:lnTo>
                      <a:lnTo>
                        <a:pt x="3" y="16"/>
                      </a:lnTo>
                      <a:lnTo>
                        <a:pt x="2" y="16"/>
                      </a:lnTo>
                      <a:lnTo>
                        <a:pt x="2" y="16"/>
                      </a:lnTo>
                      <a:lnTo>
                        <a:pt x="2" y="16"/>
                      </a:lnTo>
                      <a:lnTo>
                        <a:pt x="2" y="16"/>
                      </a:lnTo>
                      <a:lnTo>
                        <a:pt x="2" y="17"/>
                      </a:lnTo>
                      <a:lnTo>
                        <a:pt x="1" y="17"/>
                      </a:lnTo>
                      <a:lnTo>
                        <a:pt x="1" y="16"/>
                      </a:lnTo>
                      <a:lnTo>
                        <a:pt x="1" y="16"/>
                      </a:lnTo>
                      <a:lnTo>
                        <a:pt x="1" y="15"/>
                      </a:lnTo>
                      <a:lnTo>
                        <a:pt x="1" y="15"/>
                      </a:lnTo>
                      <a:lnTo>
                        <a:pt x="1" y="15"/>
                      </a:lnTo>
                      <a:lnTo>
                        <a:pt x="2" y="15"/>
                      </a:lnTo>
                      <a:lnTo>
                        <a:pt x="2" y="14"/>
                      </a:lnTo>
                      <a:lnTo>
                        <a:pt x="2" y="14"/>
                      </a:lnTo>
                      <a:lnTo>
                        <a:pt x="2" y="14"/>
                      </a:lnTo>
                      <a:lnTo>
                        <a:pt x="2" y="14"/>
                      </a:lnTo>
                      <a:lnTo>
                        <a:pt x="2" y="13"/>
                      </a:lnTo>
                      <a:lnTo>
                        <a:pt x="2" y="13"/>
                      </a:lnTo>
                      <a:lnTo>
                        <a:pt x="3" y="13"/>
                      </a:lnTo>
                      <a:lnTo>
                        <a:pt x="3" y="13"/>
                      </a:lnTo>
                      <a:lnTo>
                        <a:pt x="3" y="13"/>
                      </a:lnTo>
                      <a:lnTo>
                        <a:pt x="3" y="13"/>
                      </a:lnTo>
                      <a:lnTo>
                        <a:pt x="3" y="12"/>
                      </a:lnTo>
                      <a:lnTo>
                        <a:pt x="4" y="12"/>
                      </a:lnTo>
                      <a:lnTo>
                        <a:pt x="4" y="12"/>
                      </a:lnTo>
                      <a:lnTo>
                        <a:pt x="3" y="12"/>
                      </a:lnTo>
                      <a:lnTo>
                        <a:pt x="3" y="12"/>
                      </a:lnTo>
                      <a:lnTo>
                        <a:pt x="2" y="12"/>
                      </a:lnTo>
                      <a:lnTo>
                        <a:pt x="2" y="12"/>
                      </a:lnTo>
                      <a:lnTo>
                        <a:pt x="2" y="13"/>
                      </a:lnTo>
                      <a:lnTo>
                        <a:pt x="2" y="13"/>
                      </a:lnTo>
                      <a:lnTo>
                        <a:pt x="1" y="13"/>
                      </a:lnTo>
                      <a:lnTo>
                        <a:pt x="1" y="13"/>
                      </a:lnTo>
                      <a:lnTo>
                        <a:pt x="1" y="13"/>
                      </a:lnTo>
                      <a:lnTo>
                        <a:pt x="0" y="13"/>
                      </a:lnTo>
                      <a:lnTo>
                        <a:pt x="0" y="13"/>
                      </a:lnTo>
                      <a:lnTo>
                        <a:pt x="0" y="13"/>
                      </a:lnTo>
                      <a:lnTo>
                        <a:pt x="0" y="12"/>
                      </a:lnTo>
                      <a:lnTo>
                        <a:pt x="0" y="12"/>
                      </a:lnTo>
                      <a:lnTo>
                        <a:pt x="0" y="12"/>
                      </a:lnTo>
                      <a:lnTo>
                        <a:pt x="1" y="12"/>
                      </a:lnTo>
                      <a:lnTo>
                        <a:pt x="1" y="12"/>
                      </a:lnTo>
                      <a:lnTo>
                        <a:pt x="1" y="11"/>
                      </a:lnTo>
                      <a:lnTo>
                        <a:pt x="2" y="11"/>
                      </a:lnTo>
                      <a:lnTo>
                        <a:pt x="2" y="11"/>
                      </a:lnTo>
                      <a:lnTo>
                        <a:pt x="2" y="11"/>
                      </a:lnTo>
                      <a:lnTo>
                        <a:pt x="2" y="10"/>
                      </a:lnTo>
                      <a:lnTo>
                        <a:pt x="2" y="10"/>
                      </a:lnTo>
                      <a:lnTo>
                        <a:pt x="2" y="10"/>
                      </a:lnTo>
                      <a:lnTo>
                        <a:pt x="1" y="10"/>
                      </a:lnTo>
                      <a:lnTo>
                        <a:pt x="1" y="10"/>
                      </a:lnTo>
                      <a:lnTo>
                        <a:pt x="1" y="8"/>
                      </a:lnTo>
                      <a:lnTo>
                        <a:pt x="1" y="8"/>
                      </a:lnTo>
                      <a:lnTo>
                        <a:pt x="1" y="8"/>
                      </a:lnTo>
                      <a:lnTo>
                        <a:pt x="1" y="8"/>
                      </a:lnTo>
                      <a:lnTo>
                        <a:pt x="1" y="7"/>
                      </a:lnTo>
                      <a:lnTo>
                        <a:pt x="1" y="7"/>
                      </a:lnTo>
                      <a:lnTo>
                        <a:pt x="1" y="7"/>
                      </a:lnTo>
                      <a:lnTo>
                        <a:pt x="1" y="6"/>
                      </a:lnTo>
                      <a:lnTo>
                        <a:pt x="1" y="6"/>
                      </a:lnTo>
                      <a:lnTo>
                        <a:pt x="1" y="6"/>
                      </a:lnTo>
                      <a:lnTo>
                        <a:pt x="1" y="6"/>
                      </a:lnTo>
                      <a:lnTo>
                        <a:pt x="1" y="6"/>
                      </a:lnTo>
                      <a:lnTo>
                        <a:pt x="1" y="6"/>
                      </a:lnTo>
                      <a:lnTo>
                        <a:pt x="1" y="5"/>
                      </a:lnTo>
                      <a:lnTo>
                        <a:pt x="1" y="5"/>
                      </a:lnTo>
                      <a:lnTo>
                        <a:pt x="2" y="5"/>
                      </a:lnTo>
                      <a:lnTo>
                        <a:pt x="2" y="4"/>
                      </a:lnTo>
                      <a:lnTo>
                        <a:pt x="2" y="4"/>
                      </a:lnTo>
                      <a:lnTo>
                        <a:pt x="2" y="4"/>
                      </a:lnTo>
                      <a:lnTo>
                        <a:pt x="3" y="3"/>
                      </a:lnTo>
                      <a:lnTo>
                        <a:pt x="3" y="3"/>
                      </a:lnTo>
                      <a:lnTo>
                        <a:pt x="3" y="3"/>
                      </a:lnTo>
                      <a:lnTo>
                        <a:pt x="3" y="3"/>
                      </a:lnTo>
                      <a:lnTo>
                        <a:pt x="4" y="3"/>
                      </a:lnTo>
                      <a:lnTo>
                        <a:pt x="4" y="3"/>
                      </a:lnTo>
                      <a:lnTo>
                        <a:pt x="4" y="3"/>
                      </a:lnTo>
                      <a:lnTo>
                        <a:pt x="4" y="3"/>
                      </a:lnTo>
                      <a:lnTo>
                        <a:pt x="3" y="3"/>
                      </a:lnTo>
                      <a:lnTo>
                        <a:pt x="3" y="3"/>
                      </a:lnTo>
                      <a:lnTo>
                        <a:pt x="3" y="3"/>
                      </a:lnTo>
                      <a:lnTo>
                        <a:pt x="3" y="2"/>
                      </a:lnTo>
                      <a:lnTo>
                        <a:pt x="3" y="2"/>
                      </a:lnTo>
                      <a:lnTo>
                        <a:pt x="3" y="2"/>
                      </a:lnTo>
                      <a:lnTo>
                        <a:pt x="3" y="0"/>
                      </a:lnTo>
                      <a:lnTo>
                        <a:pt x="3"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grpSp>
          <p:sp>
            <p:nvSpPr>
              <p:cNvPr id="11" name="Freeform 207">
                <a:extLst>
                  <a:ext uri="{FF2B5EF4-FFF2-40B4-BE49-F238E27FC236}">
                    <a16:creationId xmlns:a16="http://schemas.microsoft.com/office/drawing/2014/main" id="{94AB4CA8-19B4-708A-FB69-3D4A03DA7D53}"/>
                  </a:ext>
                </a:extLst>
              </p:cNvPr>
              <p:cNvSpPr>
                <a:spLocks noEditPoints="1"/>
              </p:cNvSpPr>
              <p:nvPr/>
            </p:nvSpPr>
            <p:spPr bwMode="auto">
              <a:xfrm>
                <a:off x="3851275" y="2009775"/>
                <a:ext cx="671512" cy="342900"/>
              </a:xfrm>
              <a:custGeom>
                <a:avLst/>
                <a:gdLst>
                  <a:gd name="T0" fmla="*/ 381 w 423"/>
                  <a:gd name="T1" fmla="*/ 10 h 216"/>
                  <a:gd name="T2" fmla="*/ 322 w 423"/>
                  <a:gd name="T3" fmla="*/ 16 h 216"/>
                  <a:gd name="T4" fmla="*/ 317 w 423"/>
                  <a:gd name="T5" fmla="*/ 5 h 216"/>
                  <a:gd name="T6" fmla="*/ 267 w 423"/>
                  <a:gd name="T7" fmla="*/ 1 h 216"/>
                  <a:gd name="T8" fmla="*/ 230 w 423"/>
                  <a:gd name="T9" fmla="*/ 2 h 216"/>
                  <a:gd name="T10" fmla="*/ 215 w 423"/>
                  <a:gd name="T11" fmla="*/ 22 h 216"/>
                  <a:gd name="T12" fmla="*/ 162 w 423"/>
                  <a:gd name="T13" fmla="*/ 6 h 216"/>
                  <a:gd name="T14" fmla="*/ 151 w 423"/>
                  <a:gd name="T15" fmla="*/ 10 h 216"/>
                  <a:gd name="T16" fmla="*/ 133 w 423"/>
                  <a:gd name="T17" fmla="*/ 22 h 216"/>
                  <a:gd name="T18" fmla="*/ 164 w 423"/>
                  <a:gd name="T19" fmla="*/ 40 h 216"/>
                  <a:gd name="T20" fmla="*/ 127 w 423"/>
                  <a:gd name="T21" fmla="*/ 35 h 216"/>
                  <a:gd name="T22" fmla="*/ 87 w 423"/>
                  <a:gd name="T23" fmla="*/ 28 h 216"/>
                  <a:gd name="T24" fmla="*/ 86 w 423"/>
                  <a:gd name="T25" fmla="*/ 40 h 216"/>
                  <a:gd name="T26" fmla="*/ 37 w 423"/>
                  <a:gd name="T27" fmla="*/ 40 h 216"/>
                  <a:gd name="T28" fmla="*/ 15 w 423"/>
                  <a:gd name="T29" fmla="*/ 50 h 216"/>
                  <a:gd name="T30" fmla="*/ 42 w 423"/>
                  <a:gd name="T31" fmla="*/ 52 h 216"/>
                  <a:gd name="T32" fmla="*/ 35 w 423"/>
                  <a:gd name="T33" fmla="*/ 62 h 216"/>
                  <a:gd name="T34" fmla="*/ 60 w 423"/>
                  <a:gd name="T35" fmla="*/ 68 h 216"/>
                  <a:gd name="T36" fmla="*/ 66 w 423"/>
                  <a:gd name="T37" fmla="*/ 70 h 216"/>
                  <a:gd name="T38" fmla="*/ 73 w 423"/>
                  <a:gd name="T39" fmla="*/ 75 h 216"/>
                  <a:gd name="T40" fmla="*/ 121 w 423"/>
                  <a:gd name="T41" fmla="*/ 67 h 216"/>
                  <a:gd name="T42" fmla="*/ 85 w 423"/>
                  <a:gd name="T43" fmla="*/ 84 h 216"/>
                  <a:gd name="T44" fmla="*/ 133 w 423"/>
                  <a:gd name="T45" fmla="*/ 77 h 216"/>
                  <a:gd name="T46" fmla="*/ 156 w 423"/>
                  <a:gd name="T47" fmla="*/ 79 h 216"/>
                  <a:gd name="T48" fmla="*/ 202 w 423"/>
                  <a:gd name="T49" fmla="*/ 57 h 216"/>
                  <a:gd name="T50" fmla="*/ 211 w 423"/>
                  <a:gd name="T51" fmla="*/ 75 h 216"/>
                  <a:gd name="T52" fmla="*/ 182 w 423"/>
                  <a:gd name="T53" fmla="*/ 84 h 216"/>
                  <a:gd name="T54" fmla="*/ 129 w 423"/>
                  <a:gd name="T55" fmla="*/ 99 h 216"/>
                  <a:gd name="T56" fmla="*/ 150 w 423"/>
                  <a:gd name="T57" fmla="*/ 115 h 216"/>
                  <a:gd name="T58" fmla="*/ 88 w 423"/>
                  <a:gd name="T59" fmla="*/ 93 h 216"/>
                  <a:gd name="T60" fmla="*/ 83 w 423"/>
                  <a:gd name="T61" fmla="*/ 111 h 216"/>
                  <a:gd name="T62" fmla="*/ 105 w 423"/>
                  <a:gd name="T63" fmla="*/ 134 h 216"/>
                  <a:gd name="T64" fmla="*/ 127 w 423"/>
                  <a:gd name="T65" fmla="*/ 142 h 216"/>
                  <a:gd name="T66" fmla="*/ 78 w 423"/>
                  <a:gd name="T67" fmla="*/ 138 h 216"/>
                  <a:gd name="T68" fmla="*/ 79 w 423"/>
                  <a:gd name="T69" fmla="*/ 161 h 216"/>
                  <a:gd name="T70" fmla="*/ 99 w 423"/>
                  <a:gd name="T71" fmla="*/ 161 h 216"/>
                  <a:gd name="T72" fmla="*/ 95 w 423"/>
                  <a:gd name="T73" fmla="*/ 176 h 216"/>
                  <a:gd name="T74" fmla="*/ 58 w 423"/>
                  <a:gd name="T75" fmla="*/ 167 h 216"/>
                  <a:gd name="T76" fmla="*/ 58 w 423"/>
                  <a:gd name="T77" fmla="*/ 188 h 216"/>
                  <a:gd name="T78" fmla="*/ 48 w 423"/>
                  <a:gd name="T79" fmla="*/ 204 h 216"/>
                  <a:gd name="T80" fmla="*/ 83 w 423"/>
                  <a:gd name="T81" fmla="*/ 211 h 216"/>
                  <a:gd name="T82" fmla="*/ 119 w 423"/>
                  <a:gd name="T83" fmla="*/ 209 h 216"/>
                  <a:gd name="T84" fmla="*/ 144 w 423"/>
                  <a:gd name="T85" fmla="*/ 207 h 216"/>
                  <a:gd name="T86" fmla="*/ 190 w 423"/>
                  <a:gd name="T87" fmla="*/ 203 h 216"/>
                  <a:gd name="T88" fmla="*/ 161 w 423"/>
                  <a:gd name="T89" fmla="*/ 186 h 216"/>
                  <a:gd name="T90" fmla="*/ 152 w 423"/>
                  <a:gd name="T91" fmla="*/ 183 h 216"/>
                  <a:gd name="T92" fmla="*/ 190 w 423"/>
                  <a:gd name="T93" fmla="*/ 164 h 216"/>
                  <a:gd name="T94" fmla="*/ 224 w 423"/>
                  <a:gd name="T95" fmla="*/ 156 h 216"/>
                  <a:gd name="T96" fmla="*/ 229 w 423"/>
                  <a:gd name="T97" fmla="*/ 136 h 216"/>
                  <a:gd name="T98" fmla="*/ 194 w 423"/>
                  <a:gd name="T99" fmla="*/ 132 h 216"/>
                  <a:gd name="T100" fmla="*/ 199 w 423"/>
                  <a:gd name="T101" fmla="*/ 128 h 216"/>
                  <a:gd name="T102" fmla="*/ 239 w 423"/>
                  <a:gd name="T103" fmla="*/ 132 h 216"/>
                  <a:gd name="T104" fmla="*/ 203 w 423"/>
                  <a:gd name="T105" fmla="*/ 121 h 216"/>
                  <a:gd name="T106" fmla="*/ 235 w 423"/>
                  <a:gd name="T107" fmla="*/ 119 h 216"/>
                  <a:gd name="T108" fmla="*/ 252 w 423"/>
                  <a:gd name="T109" fmla="*/ 108 h 216"/>
                  <a:gd name="T110" fmla="*/ 292 w 423"/>
                  <a:gd name="T111" fmla="*/ 100 h 216"/>
                  <a:gd name="T112" fmla="*/ 299 w 423"/>
                  <a:gd name="T113" fmla="*/ 93 h 216"/>
                  <a:gd name="T114" fmla="*/ 339 w 423"/>
                  <a:gd name="T115" fmla="*/ 72 h 216"/>
                  <a:gd name="T116" fmla="*/ 350 w 423"/>
                  <a:gd name="T117" fmla="*/ 57 h 216"/>
                  <a:gd name="T118" fmla="*/ 305 w 423"/>
                  <a:gd name="T119" fmla="*/ 64 h 216"/>
                  <a:gd name="T120" fmla="*/ 323 w 423"/>
                  <a:gd name="T121" fmla="*/ 53 h 216"/>
                  <a:gd name="T122" fmla="*/ 360 w 423"/>
                  <a:gd name="T123" fmla="*/ 49 h 216"/>
                  <a:gd name="T124" fmla="*/ 408 w 423"/>
                  <a:gd name="T125" fmla="*/ 3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3" h="216">
                    <a:moveTo>
                      <a:pt x="421" y="25"/>
                    </a:moveTo>
                    <a:lnTo>
                      <a:pt x="419" y="23"/>
                    </a:lnTo>
                    <a:lnTo>
                      <a:pt x="416" y="22"/>
                    </a:lnTo>
                    <a:lnTo>
                      <a:pt x="415" y="22"/>
                    </a:lnTo>
                    <a:lnTo>
                      <a:pt x="411" y="22"/>
                    </a:lnTo>
                    <a:lnTo>
                      <a:pt x="409" y="22"/>
                    </a:lnTo>
                    <a:lnTo>
                      <a:pt x="406" y="22"/>
                    </a:lnTo>
                    <a:lnTo>
                      <a:pt x="402" y="21"/>
                    </a:lnTo>
                    <a:lnTo>
                      <a:pt x="400" y="21"/>
                    </a:lnTo>
                    <a:lnTo>
                      <a:pt x="397" y="22"/>
                    </a:lnTo>
                    <a:lnTo>
                      <a:pt x="394" y="23"/>
                    </a:lnTo>
                    <a:lnTo>
                      <a:pt x="391" y="23"/>
                    </a:lnTo>
                    <a:lnTo>
                      <a:pt x="394" y="23"/>
                    </a:lnTo>
                    <a:lnTo>
                      <a:pt x="395" y="19"/>
                    </a:lnTo>
                    <a:lnTo>
                      <a:pt x="392" y="18"/>
                    </a:lnTo>
                    <a:lnTo>
                      <a:pt x="390" y="15"/>
                    </a:lnTo>
                    <a:lnTo>
                      <a:pt x="386" y="14"/>
                    </a:lnTo>
                    <a:lnTo>
                      <a:pt x="390" y="13"/>
                    </a:lnTo>
                    <a:lnTo>
                      <a:pt x="390" y="10"/>
                    </a:lnTo>
                    <a:lnTo>
                      <a:pt x="386" y="9"/>
                    </a:lnTo>
                    <a:lnTo>
                      <a:pt x="383" y="9"/>
                    </a:lnTo>
                    <a:lnTo>
                      <a:pt x="381" y="10"/>
                    </a:lnTo>
                    <a:lnTo>
                      <a:pt x="377" y="12"/>
                    </a:lnTo>
                    <a:lnTo>
                      <a:pt x="375" y="12"/>
                    </a:lnTo>
                    <a:lnTo>
                      <a:pt x="372" y="10"/>
                    </a:lnTo>
                    <a:lnTo>
                      <a:pt x="369" y="9"/>
                    </a:lnTo>
                    <a:lnTo>
                      <a:pt x="373" y="8"/>
                    </a:lnTo>
                    <a:lnTo>
                      <a:pt x="369" y="7"/>
                    </a:lnTo>
                    <a:lnTo>
                      <a:pt x="366" y="8"/>
                    </a:lnTo>
                    <a:lnTo>
                      <a:pt x="364" y="10"/>
                    </a:lnTo>
                    <a:lnTo>
                      <a:pt x="361" y="12"/>
                    </a:lnTo>
                    <a:lnTo>
                      <a:pt x="358" y="9"/>
                    </a:lnTo>
                    <a:lnTo>
                      <a:pt x="356" y="10"/>
                    </a:lnTo>
                    <a:lnTo>
                      <a:pt x="352" y="10"/>
                    </a:lnTo>
                    <a:lnTo>
                      <a:pt x="350" y="12"/>
                    </a:lnTo>
                    <a:lnTo>
                      <a:pt x="347" y="13"/>
                    </a:lnTo>
                    <a:lnTo>
                      <a:pt x="344" y="14"/>
                    </a:lnTo>
                    <a:lnTo>
                      <a:pt x="342" y="14"/>
                    </a:lnTo>
                    <a:lnTo>
                      <a:pt x="339" y="15"/>
                    </a:lnTo>
                    <a:lnTo>
                      <a:pt x="335" y="16"/>
                    </a:lnTo>
                    <a:lnTo>
                      <a:pt x="333" y="16"/>
                    </a:lnTo>
                    <a:lnTo>
                      <a:pt x="327" y="16"/>
                    </a:lnTo>
                    <a:lnTo>
                      <a:pt x="324" y="16"/>
                    </a:lnTo>
                    <a:lnTo>
                      <a:pt x="322" y="16"/>
                    </a:lnTo>
                    <a:lnTo>
                      <a:pt x="318" y="17"/>
                    </a:lnTo>
                    <a:lnTo>
                      <a:pt x="321" y="15"/>
                    </a:lnTo>
                    <a:lnTo>
                      <a:pt x="324" y="15"/>
                    </a:lnTo>
                    <a:lnTo>
                      <a:pt x="326" y="14"/>
                    </a:lnTo>
                    <a:lnTo>
                      <a:pt x="330" y="14"/>
                    </a:lnTo>
                    <a:lnTo>
                      <a:pt x="333" y="13"/>
                    </a:lnTo>
                    <a:lnTo>
                      <a:pt x="335" y="13"/>
                    </a:lnTo>
                    <a:lnTo>
                      <a:pt x="339" y="12"/>
                    </a:lnTo>
                    <a:lnTo>
                      <a:pt x="341" y="12"/>
                    </a:lnTo>
                    <a:lnTo>
                      <a:pt x="348" y="9"/>
                    </a:lnTo>
                    <a:lnTo>
                      <a:pt x="349" y="7"/>
                    </a:lnTo>
                    <a:lnTo>
                      <a:pt x="347" y="6"/>
                    </a:lnTo>
                    <a:lnTo>
                      <a:pt x="343" y="6"/>
                    </a:lnTo>
                    <a:lnTo>
                      <a:pt x="341" y="6"/>
                    </a:lnTo>
                    <a:lnTo>
                      <a:pt x="338" y="6"/>
                    </a:lnTo>
                    <a:lnTo>
                      <a:pt x="335" y="6"/>
                    </a:lnTo>
                    <a:lnTo>
                      <a:pt x="332" y="6"/>
                    </a:lnTo>
                    <a:lnTo>
                      <a:pt x="329" y="6"/>
                    </a:lnTo>
                    <a:lnTo>
                      <a:pt x="326" y="7"/>
                    </a:lnTo>
                    <a:lnTo>
                      <a:pt x="323" y="5"/>
                    </a:lnTo>
                    <a:lnTo>
                      <a:pt x="321" y="4"/>
                    </a:lnTo>
                    <a:lnTo>
                      <a:pt x="317" y="5"/>
                    </a:lnTo>
                    <a:lnTo>
                      <a:pt x="315" y="5"/>
                    </a:lnTo>
                    <a:lnTo>
                      <a:pt x="312" y="4"/>
                    </a:lnTo>
                    <a:lnTo>
                      <a:pt x="306" y="5"/>
                    </a:lnTo>
                    <a:lnTo>
                      <a:pt x="303" y="2"/>
                    </a:lnTo>
                    <a:lnTo>
                      <a:pt x="299" y="0"/>
                    </a:lnTo>
                    <a:lnTo>
                      <a:pt x="293" y="0"/>
                    </a:lnTo>
                    <a:lnTo>
                      <a:pt x="291" y="1"/>
                    </a:lnTo>
                    <a:lnTo>
                      <a:pt x="288" y="1"/>
                    </a:lnTo>
                    <a:lnTo>
                      <a:pt x="284" y="1"/>
                    </a:lnTo>
                    <a:lnTo>
                      <a:pt x="282" y="2"/>
                    </a:lnTo>
                    <a:lnTo>
                      <a:pt x="279" y="4"/>
                    </a:lnTo>
                    <a:lnTo>
                      <a:pt x="282" y="6"/>
                    </a:lnTo>
                    <a:lnTo>
                      <a:pt x="286" y="7"/>
                    </a:lnTo>
                    <a:lnTo>
                      <a:pt x="288" y="8"/>
                    </a:lnTo>
                    <a:lnTo>
                      <a:pt x="284" y="8"/>
                    </a:lnTo>
                    <a:lnTo>
                      <a:pt x="282" y="7"/>
                    </a:lnTo>
                    <a:lnTo>
                      <a:pt x="279" y="7"/>
                    </a:lnTo>
                    <a:lnTo>
                      <a:pt x="275" y="5"/>
                    </a:lnTo>
                    <a:lnTo>
                      <a:pt x="277" y="1"/>
                    </a:lnTo>
                    <a:lnTo>
                      <a:pt x="273" y="1"/>
                    </a:lnTo>
                    <a:lnTo>
                      <a:pt x="270" y="1"/>
                    </a:lnTo>
                    <a:lnTo>
                      <a:pt x="267" y="1"/>
                    </a:lnTo>
                    <a:lnTo>
                      <a:pt x="264" y="1"/>
                    </a:lnTo>
                    <a:lnTo>
                      <a:pt x="262" y="1"/>
                    </a:lnTo>
                    <a:lnTo>
                      <a:pt x="258" y="2"/>
                    </a:lnTo>
                    <a:lnTo>
                      <a:pt x="255" y="4"/>
                    </a:lnTo>
                    <a:lnTo>
                      <a:pt x="253" y="5"/>
                    </a:lnTo>
                    <a:lnTo>
                      <a:pt x="249" y="6"/>
                    </a:lnTo>
                    <a:lnTo>
                      <a:pt x="253" y="8"/>
                    </a:lnTo>
                    <a:lnTo>
                      <a:pt x="255" y="10"/>
                    </a:lnTo>
                    <a:lnTo>
                      <a:pt x="258" y="12"/>
                    </a:lnTo>
                    <a:lnTo>
                      <a:pt x="264" y="14"/>
                    </a:lnTo>
                    <a:lnTo>
                      <a:pt x="261" y="14"/>
                    </a:lnTo>
                    <a:lnTo>
                      <a:pt x="258" y="13"/>
                    </a:lnTo>
                    <a:lnTo>
                      <a:pt x="255" y="13"/>
                    </a:lnTo>
                    <a:lnTo>
                      <a:pt x="253" y="12"/>
                    </a:lnTo>
                    <a:lnTo>
                      <a:pt x="249" y="10"/>
                    </a:lnTo>
                    <a:lnTo>
                      <a:pt x="247" y="9"/>
                    </a:lnTo>
                    <a:lnTo>
                      <a:pt x="245" y="7"/>
                    </a:lnTo>
                    <a:lnTo>
                      <a:pt x="241" y="5"/>
                    </a:lnTo>
                    <a:lnTo>
                      <a:pt x="239" y="4"/>
                    </a:lnTo>
                    <a:lnTo>
                      <a:pt x="236" y="4"/>
                    </a:lnTo>
                    <a:lnTo>
                      <a:pt x="232" y="2"/>
                    </a:lnTo>
                    <a:lnTo>
                      <a:pt x="230" y="2"/>
                    </a:lnTo>
                    <a:lnTo>
                      <a:pt x="228" y="4"/>
                    </a:lnTo>
                    <a:lnTo>
                      <a:pt x="226" y="4"/>
                    </a:lnTo>
                    <a:lnTo>
                      <a:pt x="215" y="2"/>
                    </a:lnTo>
                    <a:lnTo>
                      <a:pt x="213" y="2"/>
                    </a:lnTo>
                    <a:lnTo>
                      <a:pt x="210" y="4"/>
                    </a:lnTo>
                    <a:lnTo>
                      <a:pt x="206" y="4"/>
                    </a:lnTo>
                    <a:lnTo>
                      <a:pt x="201" y="4"/>
                    </a:lnTo>
                    <a:lnTo>
                      <a:pt x="197" y="6"/>
                    </a:lnTo>
                    <a:lnTo>
                      <a:pt x="201" y="7"/>
                    </a:lnTo>
                    <a:lnTo>
                      <a:pt x="203" y="7"/>
                    </a:lnTo>
                    <a:lnTo>
                      <a:pt x="206" y="9"/>
                    </a:lnTo>
                    <a:lnTo>
                      <a:pt x="210" y="12"/>
                    </a:lnTo>
                    <a:lnTo>
                      <a:pt x="212" y="12"/>
                    </a:lnTo>
                    <a:lnTo>
                      <a:pt x="215" y="12"/>
                    </a:lnTo>
                    <a:lnTo>
                      <a:pt x="212" y="14"/>
                    </a:lnTo>
                    <a:lnTo>
                      <a:pt x="215" y="15"/>
                    </a:lnTo>
                    <a:lnTo>
                      <a:pt x="218" y="16"/>
                    </a:lnTo>
                    <a:lnTo>
                      <a:pt x="221" y="17"/>
                    </a:lnTo>
                    <a:lnTo>
                      <a:pt x="223" y="18"/>
                    </a:lnTo>
                    <a:lnTo>
                      <a:pt x="221" y="18"/>
                    </a:lnTo>
                    <a:lnTo>
                      <a:pt x="218" y="21"/>
                    </a:lnTo>
                    <a:lnTo>
                      <a:pt x="215" y="22"/>
                    </a:lnTo>
                    <a:lnTo>
                      <a:pt x="212" y="23"/>
                    </a:lnTo>
                    <a:lnTo>
                      <a:pt x="214" y="21"/>
                    </a:lnTo>
                    <a:lnTo>
                      <a:pt x="216" y="18"/>
                    </a:lnTo>
                    <a:lnTo>
                      <a:pt x="213" y="17"/>
                    </a:lnTo>
                    <a:lnTo>
                      <a:pt x="211" y="16"/>
                    </a:lnTo>
                    <a:lnTo>
                      <a:pt x="207" y="16"/>
                    </a:lnTo>
                    <a:lnTo>
                      <a:pt x="205" y="14"/>
                    </a:lnTo>
                    <a:lnTo>
                      <a:pt x="202" y="12"/>
                    </a:lnTo>
                    <a:lnTo>
                      <a:pt x="199" y="9"/>
                    </a:lnTo>
                    <a:lnTo>
                      <a:pt x="196" y="9"/>
                    </a:lnTo>
                    <a:lnTo>
                      <a:pt x="194" y="8"/>
                    </a:lnTo>
                    <a:lnTo>
                      <a:pt x="190" y="7"/>
                    </a:lnTo>
                    <a:lnTo>
                      <a:pt x="187" y="9"/>
                    </a:lnTo>
                    <a:lnTo>
                      <a:pt x="185" y="8"/>
                    </a:lnTo>
                    <a:lnTo>
                      <a:pt x="182" y="6"/>
                    </a:lnTo>
                    <a:lnTo>
                      <a:pt x="179" y="7"/>
                    </a:lnTo>
                    <a:lnTo>
                      <a:pt x="176" y="8"/>
                    </a:lnTo>
                    <a:lnTo>
                      <a:pt x="175" y="6"/>
                    </a:lnTo>
                    <a:lnTo>
                      <a:pt x="171" y="5"/>
                    </a:lnTo>
                    <a:lnTo>
                      <a:pt x="169" y="6"/>
                    </a:lnTo>
                    <a:lnTo>
                      <a:pt x="165" y="6"/>
                    </a:lnTo>
                    <a:lnTo>
                      <a:pt x="162" y="6"/>
                    </a:lnTo>
                    <a:lnTo>
                      <a:pt x="159" y="7"/>
                    </a:lnTo>
                    <a:lnTo>
                      <a:pt x="161" y="9"/>
                    </a:lnTo>
                    <a:lnTo>
                      <a:pt x="164" y="9"/>
                    </a:lnTo>
                    <a:lnTo>
                      <a:pt x="168" y="10"/>
                    </a:lnTo>
                    <a:lnTo>
                      <a:pt x="164" y="10"/>
                    </a:lnTo>
                    <a:lnTo>
                      <a:pt x="168" y="14"/>
                    </a:lnTo>
                    <a:lnTo>
                      <a:pt x="170" y="14"/>
                    </a:lnTo>
                    <a:lnTo>
                      <a:pt x="173" y="15"/>
                    </a:lnTo>
                    <a:lnTo>
                      <a:pt x="177" y="15"/>
                    </a:lnTo>
                    <a:lnTo>
                      <a:pt x="179" y="15"/>
                    </a:lnTo>
                    <a:lnTo>
                      <a:pt x="182" y="15"/>
                    </a:lnTo>
                    <a:lnTo>
                      <a:pt x="180" y="16"/>
                    </a:lnTo>
                    <a:lnTo>
                      <a:pt x="177" y="15"/>
                    </a:lnTo>
                    <a:lnTo>
                      <a:pt x="175" y="16"/>
                    </a:lnTo>
                    <a:lnTo>
                      <a:pt x="171" y="15"/>
                    </a:lnTo>
                    <a:lnTo>
                      <a:pt x="168" y="15"/>
                    </a:lnTo>
                    <a:lnTo>
                      <a:pt x="164" y="14"/>
                    </a:lnTo>
                    <a:lnTo>
                      <a:pt x="162" y="15"/>
                    </a:lnTo>
                    <a:lnTo>
                      <a:pt x="159" y="13"/>
                    </a:lnTo>
                    <a:lnTo>
                      <a:pt x="156" y="12"/>
                    </a:lnTo>
                    <a:lnTo>
                      <a:pt x="153" y="10"/>
                    </a:lnTo>
                    <a:lnTo>
                      <a:pt x="151" y="10"/>
                    </a:lnTo>
                    <a:lnTo>
                      <a:pt x="147" y="10"/>
                    </a:lnTo>
                    <a:lnTo>
                      <a:pt x="144" y="10"/>
                    </a:lnTo>
                    <a:lnTo>
                      <a:pt x="144" y="13"/>
                    </a:lnTo>
                    <a:lnTo>
                      <a:pt x="147" y="14"/>
                    </a:lnTo>
                    <a:lnTo>
                      <a:pt x="150" y="16"/>
                    </a:lnTo>
                    <a:lnTo>
                      <a:pt x="153" y="18"/>
                    </a:lnTo>
                    <a:lnTo>
                      <a:pt x="150" y="19"/>
                    </a:lnTo>
                    <a:lnTo>
                      <a:pt x="147" y="18"/>
                    </a:lnTo>
                    <a:lnTo>
                      <a:pt x="144" y="17"/>
                    </a:lnTo>
                    <a:lnTo>
                      <a:pt x="141" y="16"/>
                    </a:lnTo>
                    <a:lnTo>
                      <a:pt x="138" y="16"/>
                    </a:lnTo>
                    <a:lnTo>
                      <a:pt x="135" y="15"/>
                    </a:lnTo>
                    <a:lnTo>
                      <a:pt x="133" y="16"/>
                    </a:lnTo>
                    <a:lnTo>
                      <a:pt x="132" y="18"/>
                    </a:lnTo>
                    <a:lnTo>
                      <a:pt x="135" y="19"/>
                    </a:lnTo>
                    <a:lnTo>
                      <a:pt x="137" y="21"/>
                    </a:lnTo>
                    <a:lnTo>
                      <a:pt x="141" y="21"/>
                    </a:lnTo>
                    <a:lnTo>
                      <a:pt x="143" y="22"/>
                    </a:lnTo>
                    <a:lnTo>
                      <a:pt x="141" y="22"/>
                    </a:lnTo>
                    <a:lnTo>
                      <a:pt x="139" y="22"/>
                    </a:lnTo>
                    <a:lnTo>
                      <a:pt x="136" y="21"/>
                    </a:lnTo>
                    <a:lnTo>
                      <a:pt x="133" y="22"/>
                    </a:lnTo>
                    <a:lnTo>
                      <a:pt x="130" y="21"/>
                    </a:lnTo>
                    <a:lnTo>
                      <a:pt x="127" y="23"/>
                    </a:lnTo>
                    <a:lnTo>
                      <a:pt x="127" y="26"/>
                    </a:lnTo>
                    <a:lnTo>
                      <a:pt x="130" y="27"/>
                    </a:lnTo>
                    <a:lnTo>
                      <a:pt x="133" y="28"/>
                    </a:lnTo>
                    <a:lnTo>
                      <a:pt x="136" y="30"/>
                    </a:lnTo>
                    <a:lnTo>
                      <a:pt x="138" y="31"/>
                    </a:lnTo>
                    <a:lnTo>
                      <a:pt x="142" y="32"/>
                    </a:lnTo>
                    <a:lnTo>
                      <a:pt x="144" y="32"/>
                    </a:lnTo>
                    <a:lnTo>
                      <a:pt x="147" y="33"/>
                    </a:lnTo>
                    <a:lnTo>
                      <a:pt x="150" y="34"/>
                    </a:lnTo>
                    <a:lnTo>
                      <a:pt x="153" y="35"/>
                    </a:lnTo>
                    <a:lnTo>
                      <a:pt x="155" y="36"/>
                    </a:lnTo>
                    <a:lnTo>
                      <a:pt x="159" y="36"/>
                    </a:lnTo>
                    <a:lnTo>
                      <a:pt x="161" y="36"/>
                    </a:lnTo>
                    <a:lnTo>
                      <a:pt x="164" y="39"/>
                    </a:lnTo>
                    <a:lnTo>
                      <a:pt x="168" y="40"/>
                    </a:lnTo>
                    <a:lnTo>
                      <a:pt x="170" y="41"/>
                    </a:lnTo>
                    <a:lnTo>
                      <a:pt x="173" y="44"/>
                    </a:lnTo>
                    <a:lnTo>
                      <a:pt x="170" y="44"/>
                    </a:lnTo>
                    <a:lnTo>
                      <a:pt x="167" y="42"/>
                    </a:lnTo>
                    <a:lnTo>
                      <a:pt x="164" y="40"/>
                    </a:lnTo>
                    <a:lnTo>
                      <a:pt x="161" y="39"/>
                    </a:lnTo>
                    <a:lnTo>
                      <a:pt x="159" y="39"/>
                    </a:lnTo>
                    <a:lnTo>
                      <a:pt x="155" y="39"/>
                    </a:lnTo>
                    <a:lnTo>
                      <a:pt x="153" y="36"/>
                    </a:lnTo>
                    <a:lnTo>
                      <a:pt x="151" y="36"/>
                    </a:lnTo>
                    <a:lnTo>
                      <a:pt x="147" y="35"/>
                    </a:lnTo>
                    <a:lnTo>
                      <a:pt x="142" y="34"/>
                    </a:lnTo>
                    <a:lnTo>
                      <a:pt x="139" y="33"/>
                    </a:lnTo>
                    <a:lnTo>
                      <a:pt x="136" y="32"/>
                    </a:lnTo>
                    <a:lnTo>
                      <a:pt x="134" y="32"/>
                    </a:lnTo>
                    <a:lnTo>
                      <a:pt x="130" y="30"/>
                    </a:lnTo>
                    <a:lnTo>
                      <a:pt x="128" y="28"/>
                    </a:lnTo>
                    <a:lnTo>
                      <a:pt x="125" y="28"/>
                    </a:lnTo>
                    <a:lnTo>
                      <a:pt x="122" y="31"/>
                    </a:lnTo>
                    <a:lnTo>
                      <a:pt x="125" y="32"/>
                    </a:lnTo>
                    <a:lnTo>
                      <a:pt x="127" y="35"/>
                    </a:lnTo>
                    <a:lnTo>
                      <a:pt x="130" y="35"/>
                    </a:lnTo>
                    <a:lnTo>
                      <a:pt x="133" y="35"/>
                    </a:lnTo>
                    <a:lnTo>
                      <a:pt x="136" y="36"/>
                    </a:lnTo>
                    <a:lnTo>
                      <a:pt x="134" y="36"/>
                    </a:lnTo>
                    <a:lnTo>
                      <a:pt x="130" y="35"/>
                    </a:lnTo>
                    <a:lnTo>
                      <a:pt x="127" y="35"/>
                    </a:lnTo>
                    <a:lnTo>
                      <a:pt x="125" y="35"/>
                    </a:lnTo>
                    <a:lnTo>
                      <a:pt x="121" y="35"/>
                    </a:lnTo>
                    <a:lnTo>
                      <a:pt x="121" y="32"/>
                    </a:lnTo>
                    <a:lnTo>
                      <a:pt x="119" y="31"/>
                    </a:lnTo>
                    <a:lnTo>
                      <a:pt x="117" y="28"/>
                    </a:lnTo>
                    <a:lnTo>
                      <a:pt x="113" y="27"/>
                    </a:lnTo>
                    <a:lnTo>
                      <a:pt x="111" y="26"/>
                    </a:lnTo>
                    <a:lnTo>
                      <a:pt x="109" y="25"/>
                    </a:lnTo>
                    <a:lnTo>
                      <a:pt x="105" y="26"/>
                    </a:lnTo>
                    <a:lnTo>
                      <a:pt x="102" y="25"/>
                    </a:lnTo>
                    <a:lnTo>
                      <a:pt x="99" y="24"/>
                    </a:lnTo>
                    <a:lnTo>
                      <a:pt x="96" y="23"/>
                    </a:lnTo>
                    <a:lnTo>
                      <a:pt x="99" y="23"/>
                    </a:lnTo>
                    <a:lnTo>
                      <a:pt x="100" y="23"/>
                    </a:lnTo>
                    <a:lnTo>
                      <a:pt x="96" y="22"/>
                    </a:lnTo>
                    <a:lnTo>
                      <a:pt x="93" y="22"/>
                    </a:lnTo>
                    <a:lnTo>
                      <a:pt x="91" y="22"/>
                    </a:lnTo>
                    <a:lnTo>
                      <a:pt x="87" y="23"/>
                    </a:lnTo>
                    <a:lnTo>
                      <a:pt x="84" y="24"/>
                    </a:lnTo>
                    <a:lnTo>
                      <a:pt x="87" y="26"/>
                    </a:lnTo>
                    <a:lnTo>
                      <a:pt x="90" y="28"/>
                    </a:lnTo>
                    <a:lnTo>
                      <a:pt x="87" y="28"/>
                    </a:lnTo>
                    <a:lnTo>
                      <a:pt x="84" y="30"/>
                    </a:lnTo>
                    <a:lnTo>
                      <a:pt x="82" y="30"/>
                    </a:lnTo>
                    <a:lnTo>
                      <a:pt x="78" y="31"/>
                    </a:lnTo>
                    <a:lnTo>
                      <a:pt x="75" y="31"/>
                    </a:lnTo>
                    <a:lnTo>
                      <a:pt x="73" y="31"/>
                    </a:lnTo>
                    <a:lnTo>
                      <a:pt x="69" y="32"/>
                    </a:lnTo>
                    <a:lnTo>
                      <a:pt x="73" y="34"/>
                    </a:lnTo>
                    <a:lnTo>
                      <a:pt x="75" y="34"/>
                    </a:lnTo>
                    <a:lnTo>
                      <a:pt x="77" y="34"/>
                    </a:lnTo>
                    <a:lnTo>
                      <a:pt x="81" y="35"/>
                    </a:lnTo>
                    <a:lnTo>
                      <a:pt x="83" y="36"/>
                    </a:lnTo>
                    <a:lnTo>
                      <a:pt x="86" y="36"/>
                    </a:lnTo>
                    <a:lnTo>
                      <a:pt x="92" y="36"/>
                    </a:lnTo>
                    <a:lnTo>
                      <a:pt x="95" y="38"/>
                    </a:lnTo>
                    <a:lnTo>
                      <a:pt x="98" y="39"/>
                    </a:lnTo>
                    <a:lnTo>
                      <a:pt x="98" y="41"/>
                    </a:lnTo>
                    <a:lnTo>
                      <a:pt x="96" y="39"/>
                    </a:lnTo>
                    <a:lnTo>
                      <a:pt x="94" y="39"/>
                    </a:lnTo>
                    <a:lnTo>
                      <a:pt x="95" y="41"/>
                    </a:lnTo>
                    <a:lnTo>
                      <a:pt x="93" y="39"/>
                    </a:lnTo>
                    <a:lnTo>
                      <a:pt x="90" y="38"/>
                    </a:lnTo>
                    <a:lnTo>
                      <a:pt x="86" y="40"/>
                    </a:lnTo>
                    <a:lnTo>
                      <a:pt x="90" y="42"/>
                    </a:lnTo>
                    <a:lnTo>
                      <a:pt x="86" y="41"/>
                    </a:lnTo>
                    <a:lnTo>
                      <a:pt x="84" y="39"/>
                    </a:lnTo>
                    <a:lnTo>
                      <a:pt x="81" y="38"/>
                    </a:lnTo>
                    <a:lnTo>
                      <a:pt x="78" y="36"/>
                    </a:lnTo>
                    <a:lnTo>
                      <a:pt x="75" y="36"/>
                    </a:lnTo>
                    <a:lnTo>
                      <a:pt x="71" y="36"/>
                    </a:lnTo>
                    <a:lnTo>
                      <a:pt x="69" y="39"/>
                    </a:lnTo>
                    <a:lnTo>
                      <a:pt x="66" y="40"/>
                    </a:lnTo>
                    <a:lnTo>
                      <a:pt x="69" y="41"/>
                    </a:lnTo>
                    <a:lnTo>
                      <a:pt x="66" y="40"/>
                    </a:lnTo>
                    <a:lnTo>
                      <a:pt x="64" y="40"/>
                    </a:lnTo>
                    <a:lnTo>
                      <a:pt x="64" y="36"/>
                    </a:lnTo>
                    <a:lnTo>
                      <a:pt x="61" y="35"/>
                    </a:lnTo>
                    <a:lnTo>
                      <a:pt x="58" y="35"/>
                    </a:lnTo>
                    <a:lnTo>
                      <a:pt x="56" y="35"/>
                    </a:lnTo>
                    <a:lnTo>
                      <a:pt x="52" y="35"/>
                    </a:lnTo>
                    <a:lnTo>
                      <a:pt x="50" y="35"/>
                    </a:lnTo>
                    <a:lnTo>
                      <a:pt x="47" y="35"/>
                    </a:lnTo>
                    <a:lnTo>
                      <a:pt x="44" y="36"/>
                    </a:lnTo>
                    <a:lnTo>
                      <a:pt x="41" y="38"/>
                    </a:lnTo>
                    <a:lnTo>
                      <a:pt x="37" y="40"/>
                    </a:lnTo>
                    <a:lnTo>
                      <a:pt x="35" y="41"/>
                    </a:lnTo>
                    <a:lnTo>
                      <a:pt x="37" y="42"/>
                    </a:lnTo>
                    <a:lnTo>
                      <a:pt x="35" y="44"/>
                    </a:lnTo>
                    <a:lnTo>
                      <a:pt x="32" y="43"/>
                    </a:lnTo>
                    <a:lnTo>
                      <a:pt x="30" y="41"/>
                    </a:lnTo>
                    <a:lnTo>
                      <a:pt x="26" y="42"/>
                    </a:lnTo>
                    <a:lnTo>
                      <a:pt x="25" y="41"/>
                    </a:lnTo>
                    <a:lnTo>
                      <a:pt x="22" y="41"/>
                    </a:lnTo>
                    <a:lnTo>
                      <a:pt x="19" y="42"/>
                    </a:lnTo>
                    <a:lnTo>
                      <a:pt x="17" y="43"/>
                    </a:lnTo>
                    <a:lnTo>
                      <a:pt x="14" y="43"/>
                    </a:lnTo>
                    <a:lnTo>
                      <a:pt x="11" y="45"/>
                    </a:lnTo>
                    <a:lnTo>
                      <a:pt x="8" y="45"/>
                    </a:lnTo>
                    <a:lnTo>
                      <a:pt x="5" y="45"/>
                    </a:lnTo>
                    <a:lnTo>
                      <a:pt x="2" y="49"/>
                    </a:lnTo>
                    <a:lnTo>
                      <a:pt x="0" y="50"/>
                    </a:lnTo>
                    <a:lnTo>
                      <a:pt x="0" y="51"/>
                    </a:lnTo>
                    <a:lnTo>
                      <a:pt x="4" y="51"/>
                    </a:lnTo>
                    <a:lnTo>
                      <a:pt x="6" y="53"/>
                    </a:lnTo>
                    <a:lnTo>
                      <a:pt x="9" y="53"/>
                    </a:lnTo>
                    <a:lnTo>
                      <a:pt x="11" y="53"/>
                    </a:lnTo>
                    <a:lnTo>
                      <a:pt x="15" y="50"/>
                    </a:lnTo>
                    <a:lnTo>
                      <a:pt x="17" y="49"/>
                    </a:lnTo>
                    <a:lnTo>
                      <a:pt x="21" y="49"/>
                    </a:lnTo>
                    <a:lnTo>
                      <a:pt x="24" y="49"/>
                    </a:lnTo>
                    <a:lnTo>
                      <a:pt x="26" y="50"/>
                    </a:lnTo>
                    <a:lnTo>
                      <a:pt x="28" y="50"/>
                    </a:lnTo>
                    <a:lnTo>
                      <a:pt x="32" y="51"/>
                    </a:lnTo>
                    <a:lnTo>
                      <a:pt x="28" y="51"/>
                    </a:lnTo>
                    <a:lnTo>
                      <a:pt x="26" y="52"/>
                    </a:lnTo>
                    <a:lnTo>
                      <a:pt x="24" y="52"/>
                    </a:lnTo>
                    <a:lnTo>
                      <a:pt x="21" y="53"/>
                    </a:lnTo>
                    <a:lnTo>
                      <a:pt x="17" y="55"/>
                    </a:lnTo>
                    <a:lnTo>
                      <a:pt x="15" y="57"/>
                    </a:lnTo>
                    <a:lnTo>
                      <a:pt x="17" y="57"/>
                    </a:lnTo>
                    <a:lnTo>
                      <a:pt x="21" y="59"/>
                    </a:lnTo>
                    <a:lnTo>
                      <a:pt x="24" y="58"/>
                    </a:lnTo>
                    <a:lnTo>
                      <a:pt x="26" y="57"/>
                    </a:lnTo>
                    <a:lnTo>
                      <a:pt x="27" y="57"/>
                    </a:lnTo>
                    <a:lnTo>
                      <a:pt x="31" y="56"/>
                    </a:lnTo>
                    <a:lnTo>
                      <a:pt x="33" y="55"/>
                    </a:lnTo>
                    <a:lnTo>
                      <a:pt x="36" y="55"/>
                    </a:lnTo>
                    <a:lnTo>
                      <a:pt x="39" y="53"/>
                    </a:lnTo>
                    <a:lnTo>
                      <a:pt x="42" y="52"/>
                    </a:lnTo>
                    <a:lnTo>
                      <a:pt x="44" y="52"/>
                    </a:lnTo>
                    <a:lnTo>
                      <a:pt x="48" y="52"/>
                    </a:lnTo>
                    <a:lnTo>
                      <a:pt x="50" y="52"/>
                    </a:lnTo>
                    <a:lnTo>
                      <a:pt x="53" y="52"/>
                    </a:lnTo>
                    <a:lnTo>
                      <a:pt x="57" y="53"/>
                    </a:lnTo>
                    <a:lnTo>
                      <a:pt x="59" y="53"/>
                    </a:lnTo>
                    <a:lnTo>
                      <a:pt x="61" y="55"/>
                    </a:lnTo>
                    <a:lnTo>
                      <a:pt x="59" y="53"/>
                    </a:lnTo>
                    <a:lnTo>
                      <a:pt x="57" y="53"/>
                    </a:lnTo>
                    <a:lnTo>
                      <a:pt x="53" y="53"/>
                    </a:lnTo>
                    <a:lnTo>
                      <a:pt x="50" y="53"/>
                    </a:lnTo>
                    <a:lnTo>
                      <a:pt x="48" y="53"/>
                    </a:lnTo>
                    <a:lnTo>
                      <a:pt x="44" y="53"/>
                    </a:lnTo>
                    <a:lnTo>
                      <a:pt x="41" y="56"/>
                    </a:lnTo>
                    <a:lnTo>
                      <a:pt x="39" y="56"/>
                    </a:lnTo>
                    <a:lnTo>
                      <a:pt x="35" y="58"/>
                    </a:lnTo>
                    <a:lnTo>
                      <a:pt x="32" y="58"/>
                    </a:lnTo>
                    <a:lnTo>
                      <a:pt x="30" y="59"/>
                    </a:lnTo>
                    <a:lnTo>
                      <a:pt x="27" y="60"/>
                    </a:lnTo>
                    <a:lnTo>
                      <a:pt x="30" y="61"/>
                    </a:lnTo>
                    <a:lnTo>
                      <a:pt x="33" y="61"/>
                    </a:lnTo>
                    <a:lnTo>
                      <a:pt x="35" y="62"/>
                    </a:lnTo>
                    <a:lnTo>
                      <a:pt x="39" y="62"/>
                    </a:lnTo>
                    <a:lnTo>
                      <a:pt x="41" y="62"/>
                    </a:lnTo>
                    <a:lnTo>
                      <a:pt x="37" y="62"/>
                    </a:lnTo>
                    <a:lnTo>
                      <a:pt x="35" y="64"/>
                    </a:lnTo>
                    <a:lnTo>
                      <a:pt x="32" y="64"/>
                    </a:lnTo>
                    <a:lnTo>
                      <a:pt x="30" y="62"/>
                    </a:lnTo>
                    <a:lnTo>
                      <a:pt x="26" y="62"/>
                    </a:lnTo>
                    <a:lnTo>
                      <a:pt x="24" y="64"/>
                    </a:lnTo>
                    <a:lnTo>
                      <a:pt x="22" y="66"/>
                    </a:lnTo>
                    <a:lnTo>
                      <a:pt x="24" y="68"/>
                    </a:lnTo>
                    <a:lnTo>
                      <a:pt x="26" y="69"/>
                    </a:lnTo>
                    <a:lnTo>
                      <a:pt x="28" y="70"/>
                    </a:lnTo>
                    <a:lnTo>
                      <a:pt x="31" y="70"/>
                    </a:lnTo>
                    <a:lnTo>
                      <a:pt x="34" y="70"/>
                    </a:lnTo>
                    <a:lnTo>
                      <a:pt x="36" y="70"/>
                    </a:lnTo>
                    <a:lnTo>
                      <a:pt x="40" y="69"/>
                    </a:lnTo>
                    <a:lnTo>
                      <a:pt x="42" y="69"/>
                    </a:lnTo>
                    <a:lnTo>
                      <a:pt x="45" y="69"/>
                    </a:lnTo>
                    <a:lnTo>
                      <a:pt x="48" y="68"/>
                    </a:lnTo>
                    <a:lnTo>
                      <a:pt x="54" y="68"/>
                    </a:lnTo>
                    <a:lnTo>
                      <a:pt x="57" y="68"/>
                    </a:lnTo>
                    <a:lnTo>
                      <a:pt x="60" y="68"/>
                    </a:lnTo>
                    <a:lnTo>
                      <a:pt x="62" y="68"/>
                    </a:lnTo>
                    <a:lnTo>
                      <a:pt x="73" y="67"/>
                    </a:lnTo>
                    <a:lnTo>
                      <a:pt x="75" y="66"/>
                    </a:lnTo>
                    <a:lnTo>
                      <a:pt x="78" y="65"/>
                    </a:lnTo>
                    <a:lnTo>
                      <a:pt x="81" y="64"/>
                    </a:lnTo>
                    <a:lnTo>
                      <a:pt x="84" y="62"/>
                    </a:lnTo>
                    <a:lnTo>
                      <a:pt x="86" y="62"/>
                    </a:lnTo>
                    <a:lnTo>
                      <a:pt x="90" y="61"/>
                    </a:lnTo>
                    <a:lnTo>
                      <a:pt x="92" y="61"/>
                    </a:lnTo>
                    <a:lnTo>
                      <a:pt x="95" y="60"/>
                    </a:lnTo>
                    <a:lnTo>
                      <a:pt x="98" y="62"/>
                    </a:lnTo>
                    <a:lnTo>
                      <a:pt x="95" y="62"/>
                    </a:lnTo>
                    <a:lnTo>
                      <a:pt x="92" y="64"/>
                    </a:lnTo>
                    <a:lnTo>
                      <a:pt x="90" y="64"/>
                    </a:lnTo>
                    <a:lnTo>
                      <a:pt x="86" y="65"/>
                    </a:lnTo>
                    <a:lnTo>
                      <a:pt x="84" y="66"/>
                    </a:lnTo>
                    <a:lnTo>
                      <a:pt x="81" y="68"/>
                    </a:lnTo>
                    <a:lnTo>
                      <a:pt x="78" y="68"/>
                    </a:lnTo>
                    <a:lnTo>
                      <a:pt x="75" y="69"/>
                    </a:lnTo>
                    <a:lnTo>
                      <a:pt x="71" y="70"/>
                    </a:lnTo>
                    <a:lnTo>
                      <a:pt x="69" y="70"/>
                    </a:lnTo>
                    <a:lnTo>
                      <a:pt x="66" y="70"/>
                    </a:lnTo>
                    <a:lnTo>
                      <a:pt x="64" y="72"/>
                    </a:lnTo>
                    <a:lnTo>
                      <a:pt x="60" y="72"/>
                    </a:lnTo>
                    <a:lnTo>
                      <a:pt x="58" y="70"/>
                    </a:lnTo>
                    <a:lnTo>
                      <a:pt x="54" y="70"/>
                    </a:lnTo>
                    <a:lnTo>
                      <a:pt x="49" y="70"/>
                    </a:lnTo>
                    <a:lnTo>
                      <a:pt x="43" y="70"/>
                    </a:lnTo>
                    <a:lnTo>
                      <a:pt x="40" y="72"/>
                    </a:lnTo>
                    <a:lnTo>
                      <a:pt x="37" y="72"/>
                    </a:lnTo>
                    <a:lnTo>
                      <a:pt x="35" y="73"/>
                    </a:lnTo>
                    <a:lnTo>
                      <a:pt x="36" y="75"/>
                    </a:lnTo>
                    <a:lnTo>
                      <a:pt x="41" y="77"/>
                    </a:lnTo>
                    <a:lnTo>
                      <a:pt x="44" y="78"/>
                    </a:lnTo>
                    <a:lnTo>
                      <a:pt x="48" y="79"/>
                    </a:lnTo>
                    <a:lnTo>
                      <a:pt x="50" y="81"/>
                    </a:lnTo>
                    <a:lnTo>
                      <a:pt x="53" y="81"/>
                    </a:lnTo>
                    <a:lnTo>
                      <a:pt x="56" y="82"/>
                    </a:lnTo>
                    <a:lnTo>
                      <a:pt x="59" y="83"/>
                    </a:lnTo>
                    <a:lnTo>
                      <a:pt x="61" y="83"/>
                    </a:lnTo>
                    <a:lnTo>
                      <a:pt x="65" y="82"/>
                    </a:lnTo>
                    <a:lnTo>
                      <a:pt x="67" y="79"/>
                    </a:lnTo>
                    <a:lnTo>
                      <a:pt x="70" y="77"/>
                    </a:lnTo>
                    <a:lnTo>
                      <a:pt x="73" y="75"/>
                    </a:lnTo>
                    <a:lnTo>
                      <a:pt x="75" y="74"/>
                    </a:lnTo>
                    <a:lnTo>
                      <a:pt x="78" y="72"/>
                    </a:lnTo>
                    <a:lnTo>
                      <a:pt x="82" y="70"/>
                    </a:lnTo>
                    <a:lnTo>
                      <a:pt x="84" y="69"/>
                    </a:lnTo>
                    <a:lnTo>
                      <a:pt x="87" y="69"/>
                    </a:lnTo>
                    <a:lnTo>
                      <a:pt x="90" y="69"/>
                    </a:lnTo>
                    <a:lnTo>
                      <a:pt x="92" y="68"/>
                    </a:lnTo>
                    <a:lnTo>
                      <a:pt x="95" y="68"/>
                    </a:lnTo>
                    <a:lnTo>
                      <a:pt x="101" y="68"/>
                    </a:lnTo>
                    <a:lnTo>
                      <a:pt x="104" y="67"/>
                    </a:lnTo>
                    <a:lnTo>
                      <a:pt x="108" y="67"/>
                    </a:lnTo>
                    <a:lnTo>
                      <a:pt x="111" y="67"/>
                    </a:lnTo>
                    <a:lnTo>
                      <a:pt x="113" y="67"/>
                    </a:lnTo>
                    <a:lnTo>
                      <a:pt x="117" y="66"/>
                    </a:lnTo>
                    <a:lnTo>
                      <a:pt x="119" y="66"/>
                    </a:lnTo>
                    <a:lnTo>
                      <a:pt x="122" y="66"/>
                    </a:lnTo>
                    <a:lnTo>
                      <a:pt x="125" y="65"/>
                    </a:lnTo>
                    <a:lnTo>
                      <a:pt x="127" y="65"/>
                    </a:lnTo>
                    <a:lnTo>
                      <a:pt x="130" y="65"/>
                    </a:lnTo>
                    <a:lnTo>
                      <a:pt x="127" y="66"/>
                    </a:lnTo>
                    <a:lnTo>
                      <a:pt x="125" y="67"/>
                    </a:lnTo>
                    <a:lnTo>
                      <a:pt x="121" y="67"/>
                    </a:lnTo>
                    <a:lnTo>
                      <a:pt x="119" y="67"/>
                    </a:lnTo>
                    <a:lnTo>
                      <a:pt x="113" y="68"/>
                    </a:lnTo>
                    <a:lnTo>
                      <a:pt x="110" y="68"/>
                    </a:lnTo>
                    <a:lnTo>
                      <a:pt x="107" y="68"/>
                    </a:lnTo>
                    <a:lnTo>
                      <a:pt x="104" y="69"/>
                    </a:lnTo>
                    <a:lnTo>
                      <a:pt x="101" y="69"/>
                    </a:lnTo>
                    <a:lnTo>
                      <a:pt x="99" y="69"/>
                    </a:lnTo>
                    <a:lnTo>
                      <a:pt x="95" y="69"/>
                    </a:lnTo>
                    <a:lnTo>
                      <a:pt x="93" y="70"/>
                    </a:lnTo>
                    <a:lnTo>
                      <a:pt x="90" y="70"/>
                    </a:lnTo>
                    <a:lnTo>
                      <a:pt x="86" y="72"/>
                    </a:lnTo>
                    <a:lnTo>
                      <a:pt x="83" y="73"/>
                    </a:lnTo>
                    <a:lnTo>
                      <a:pt x="81" y="75"/>
                    </a:lnTo>
                    <a:lnTo>
                      <a:pt x="78" y="77"/>
                    </a:lnTo>
                    <a:lnTo>
                      <a:pt x="75" y="78"/>
                    </a:lnTo>
                    <a:lnTo>
                      <a:pt x="73" y="81"/>
                    </a:lnTo>
                    <a:lnTo>
                      <a:pt x="71" y="84"/>
                    </a:lnTo>
                    <a:lnTo>
                      <a:pt x="74" y="84"/>
                    </a:lnTo>
                    <a:lnTo>
                      <a:pt x="77" y="85"/>
                    </a:lnTo>
                    <a:lnTo>
                      <a:pt x="79" y="85"/>
                    </a:lnTo>
                    <a:lnTo>
                      <a:pt x="83" y="84"/>
                    </a:lnTo>
                    <a:lnTo>
                      <a:pt x="85" y="84"/>
                    </a:lnTo>
                    <a:lnTo>
                      <a:pt x="83" y="85"/>
                    </a:lnTo>
                    <a:lnTo>
                      <a:pt x="85" y="85"/>
                    </a:lnTo>
                    <a:lnTo>
                      <a:pt x="88" y="86"/>
                    </a:lnTo>
                    <a:lnTo>
                      <a:pt x="92" y="86"/>
                    </a:lnTo>
                    <a:lnTo>
                      <a:pt x="94" y="86"/>
                    </a:lnTo>
                    <a:lnTo>
                      <a:pt x="98" y="86"/>
                    </a:lnTo>
                    <a:lnTo>
                      <a:pt x="100" y="86"/>
                    </a:lnTo>
                    <a:lnTo>
                      <a:pt x="103" y="86"/>
                    </a:lnTo>
                    <a:lnTo>
                      <a:pt x="105" y="85"/>
                    </a:lnTo>
                    <a:lnTo>
                      <a:pt x="109" y="85"/>
                    </a:lnTo>
                    <a:lnTo>
                      <a:pt x="111" y="84"/>
                    </a:lnTo>
                    <a:lnTo>
                      <a:pt x="112" y="82"/>
                    </a:lnTo>
                    <a:lnTo>
                      <a:pt x="112" y="78"/>
                    </a:lnTo>
                    <a:lnTo>
                      <a:pt x="116" y="77"/>
                    </a:lnTo>
                    <a:lnTo>
                      <a:pt x="118" y="77"/>
                    </a:lnTo>
                    <a:lnTo>
                      <a:pt x="116" y="81"/>
                    </a:lnTo>
                    <a:lnTo>
                      <a:pt x="118" y="81"/>
                    </a:lnTo>
                    <a:lnTo>
                      <a:pt x="121" y="79"/>
                    </a:lnTo>
                    <a:lnTo>
                      <a:pt x="124" y="79"/>
                    </a:lnTo>
                    <a:lnTo>
                      <a:pt x="127" y="79"/>
                    </a:lnTo>
                    <a:lnTo>
                      <a:pt x="129" y="78"/>
                    </a:lnTo>
                    <a:lnTo>
                      <a:pt x="133" y="77"/>
                    </a:lnTo>
                    <a:lnTo>
                      <a:pt x="135" y="76"/>
                    </a:lnTo>
                    <a:lnTo>
                      <a:pt x="138" y="77"/>
                    </a:lnTo>
                    <a:lnTo>
                      <a:pt x="135" y="78"/>
                    </a:lnTo>
                    <a:lnTo>
                      <a:pt x="133" y="79"/>
                    </a:lnTo>
                    <a:lnTo>
                      <a:pt x="129" y="79"/>
                    </a:lnTo>
                    <a:lnTo>
                      <a:pt x="126" y="81"/>
                    </a:lnTo>
                    <a:lnTo>
                      <a:pt x="124" y="82"/>
                    </a:lnTo>
                    <a:lnTo>
                      <a:pt x="120" y="83"/>
                    </a:lnTo>
                    <a:lnTo>
                      <a:pt x="120" y="85"/>
                    </a:lnTo>
                    <a:lnTo>
                      <a:pt x="122" y="85"/>
                    </a:lnTo>
                    <a:lnTo>
                      <a:pt x="126" y="85"/>
                    </a:lnTo>
                    <a:lnTo>
                      <a:pt x="129" y="85"/>
                    </a:lnTo>
                    <a:lnTo>
                      <a:pt x="132" y="84"/>
                    </a:lnTo>
                    <a:lnTo>
                      <a:pt x="135" y="84"/>
                    </a:lnTo>
                    <a:lnTo>
                      <a:pt x="137" y="84"/>
                    </a:lnTo>
                    <a:lnTo>
                      <a:pt x="141" y="84"/>
                    </a:lnTo>
                    <a:lnTo>
                      <a:pt x="143" y="83"/>
                    </a:lnTo>
                    <a:lnTo>
                      <a:pt x="146" y="83"/>
                    </a:lnTo>
                    <a:lnTo>
                      <a:pt x="149" y="82"/>
                    </a:lnTo>
                    <a:lnTo>
                      <a:pt x="152" y="82"/>
                    </a:lnTo>
                    <a:lnTo>
                      <a:pt x="154" y="81"/>
                    </a:lnTo>
                    <a:lnTo>
                      <a:pt x="156" y="79"/>
                    </a:lnTo>
                    <a:lnTo>
                      <a:pt x="160" y="79"/>
                    </a:lnTo>
                    <a:lnTo>
                      <a:pt x="163" y="78"/>
                    </a:lnTo>
                    <a:lnTo>
                      <a:pt x="165" y="77"/>
                    </a:lnTo>
                    <a:lnTo>
                      <a:pt x="169" y="76"/>
                    </a:lnTo>
                    <a:lnTo>
                      <a:pt x="171" y="74"/>
                    </a:lnTo>
                    <a:lnTo>
                      <a:pt x="175" y="72"/>
                    </a:lnTo>
                    <a:lnTo>
                      <a:pt x="172" y="69"/>
                    </a:lnTo>
                    <a:lnTo>
                      <a:pt x="176" y="67"/>
                    </a:lnTo>
                    <a:lnTo>
                      <a:pt x="173" y="66"/>
                    </a:lnTo>
                    <a:lnTo>
                      <a:pt x="170" y="65"/>
                    </a:lnTo>
                    <a:lnTo>
                      <a:pt x="172" y="66"/>
                    </a:lnTo>
                    <a:lnTo>
                      <a:pt x="176" y="66"/>
                    </a:lnTo>
                    <a:lnTo>
                      <a:pt x="178" y="67"/>
                    </a:lnTo>
                    <a:lnTo>
                      <a:pt x="181" y="67"/>
                    </a:lnTo>
                    <a:lnTo>
                      <a:pt x="182" y="64"/>
                    </a:lnTo>
                    <a:lnTo>
                      <a:pt x="185" y="62"/>
                    </a:lnTo>
                    <a:lnTo>
                      <a:pt x="187" y="61"/>
                    </a:lnTo>
                    <a:lnTo>
                      <a:pt x="190" y="59"/>
                    </a:lnTo>
                    <a:lnTo>
                      <a:pt x="193" y="59"/>
                    </a:lnTo>
                    <a:lnTo>
                      <a:pt x="196" y="58"/>
                    </a:lnTo>
                    <a:lnTo>
                      <a:pt x="199" y="57"/>
                    </a:lnTo>
                    <a:lnTo>
                      <a:pt x="202" y="57"/>
                    </a:lnTo>
                    <a:lnTo>
                      <a:pt x="205" y="57"/>
                    </a:lnTo>
                    <a:lnTo>
                      <a:pt x="202" y="58"/>
                    </a:lnTo>
                    <a:lnTo>
                      <a:pt x="199" y="59"/>
                    </a:lnTo>
                    <a:lnTo>
                      <a:pt x="196" y="59"/>
                    </a:lnTo>
                    <a:lnTo>
                      <a:pt x="194" y="60"/>
                    </a:lnTo>
                    <a:lnTo>
                      <a:pt x="190" y="62"/>
                    </a:lnTo>
                    <a:lnTo>
                      <a:pt x="188" y="65"/>
                    </a:lnTo>
                    <a:lnTo>
                      <a:pt x="185" y="66"/>
                    </a:lnTo>
                    <a:lnTo>
                      <a:pt x="182" y="68"/>
                    </a:lnTo>
                    <a:lnTo>
                      <a:pt x="179" y="69"/>
                    </a:lnTo>
                    <a:lnTo>
                      <a:pt x="178" y="73"/>
                    </a:lnTo>
                    <a:lnTo>
                      <a:pt x="179" y="75"/>
                    </a:lnTo>
                    <a:lnTo>
                      <a:pt x="182" y="75"/>
                    </a:lnTo>
                    <a:lnTo>
                      <a:pt x="185" y="75"/>
                    </a:lnTo>
                    <a:lnTo>
                      <a:pt x="188" y="74"/>
                    </a:lnTo>
                    <a:lnTo>
                      <a:pt x="190" y="74"/>
                    </a:lnTo>
                    <a:lnTo>
                      <a:pt x="194" y="74"/>
                    </a:lnTo>
                    <a:lnTo>
                      <a:pt x="196" y="74"/>
                    </a:lnTo>
                    <a:lnTo>
                      <a:pt x="199" y="74"/>
                    </a:lnTo>
                    <a:lnTo>
                      <a:pt x="202" y="74"/>
                    </a:lnTo>
                    <a:lnTo>
                      <a:pt x="209" y="74"/>
                    </a:lnTo>
                    <a:lnTo>
                      <a:pt x="211" y="75"/>
                    </a:lnTo>
                    <a:lnTo>
                      <a:pt x="209" y="76"/>
                    </a:lnTo>
                    <a:lnTo>
                      <a:pt x="202" y="76"/>
                    </a:lnTo>
                    <a:lnTo>
                      <a:pt x="198" y="76"/>
                    </a:lnTo>
                    <a:lnTo>
                      <a:pt x="196" y="76"/>
                    </a:lnTo>
                    <a:lnTo>
                      <a:pt x="193" y="76"/>
                    </a:lnTo>
                    <a:lnTo>
                      <a:pt x="189" y="77"/>
                    </a:lnTo>
                    <a:lnTo>
                      <a:pt x="182" y="78"/>
                    </a:lnTo>
                    <a:lnTo>
                      <a:pt x="180" y="78"/>
                    </a:lnTo>
                    <a:lnTo>
                      <a:pt x="178" y="79"/>
                    </a:lnTo>
                    <a:lnTo>
                      <a:pt x="175" y="79"/>
                    </a:lnTo>
                    <a:lnTo>
                      <a:pt x="169" y="82"/>
                    </a:lnTo>
                    <a:lnTo>
                      <a:pt x="165" y="83"/>
                    </a:lnTo>
                    <a:lnTo>
                      <a:pt x="169" y="84"/>
                    </a:lnTo>
                    <a:lnTo>
                      <a:pt x="172" y="83"/>
                    </a:lnTo>
                    <a:lnTo>
                      <a:pt x="176" y="83"/>
                    </a:lnTo>
                    <a:lnTo>
                      <a:pt x="178" y="83"/>
                    </a:lnTo>
                    <a:lnTo>
                      <a:pt x="181" y="83"/>
                    </a:lnTo>
                    <a:lnTo>
                      <a:pt x="184" y="83"/>
                    </a:lnTo>
                    <a:lnTo>
                      <a:pt x="187" y="84"/>
                    </a:lnTo>
                    <a:lnTo>
                      <a:pt x="190" y="84"/>
                    </a:lnTo>
                    <a:lnTo>
                      <a:pt x="188" y="84"/>
                    </a:lnTo>
                    <a:lnTo>
                      <a:pt x="182" y="84"/>
                    </a:lnTo>
                    <a:lnTo>
                      <a:pt x="179" y="85"/>
                    </a:lnTo>
                    <a:lnTo>
                      <a:pt x="173" y="85"/>
                    </a:lnTo>
                    <a:lnTo>
                      <a:pt x="171" y="85"/>
                    </a:lnTo>
                    <a:lnTo>
                      <a:pt x="168" y="85"/>
                    </a:lnTo>
                    <a:lnTo>
                      <a:pt x="164" y="85"/>
                    </a:lnTo>
                    <a:lnTo>
                      <a:pt x="162" y="85"/>
                    </a:lnTo>
                    <a:lnTo>
                      <a:pt x="159" y="87"/>
                    </a:lnTo>
                    <a:lnTo>
                      <a:pt x="156" y="87"/>
                    </a:lnTo>
                    <a:lnTo>
                      <a:pt x="153" y="89"/>
                    </a:lnTo>
                    <a:lnTo>
                      <a:pt x="151" y="89"/>
                    </a:lnTo>
                    <a:lnTo>
                      <a:pt x="145" y="89"/>
                    </a:lnTo>
                    <a:lnTo>
                      <a:pt x="142" y="90"/>
                    </a:lnTo>
                    <a:lnTo>
                      <a:pt x="139" y="90"/>
                    </a:lnTo>
                    <a:lnTo>
                      <a:pt x="136" y="90"/>
                    </a:lnTo>
                    <a:lnTo>
                      <a:pt x="133" y="91"/>
                    </a:lnTo>
                    <a:lnTo>
                      <a:pt x="130" y="91"/>
                    </a:lnTo>
                    <a:lnTo>
                      <a:pt x="127" y="91"/>
                    </a:lnTo>
                    <a:lnTo>
                      <a:pt x="124" y="91"/>
                    </a:lnTo>
                    <a:lnTo>
                      <a:pt x="121" y="93"/>
                    </a:lnTo>
                    <a:lnTo>
                      <a:pt x="124" y="95"/>
                    </a:lnTo>
                    <a:lnTo>
                      <a:pt x="127" y="98"/>
                    </a:lnTo>
                    <a:lnTo>
                      <a:pt x="129" y="99"/>
                    </a:lnTo>
                    <a:lnTo>
                      <a:pt x="133" y="101"/>
                    </a:lnTo>
                    <a:lnTo>
                      <a:pt x="135" y="102"/>
                    </a:lnTo>
                    <a:lnTo>
                      <a:pt x="138" y="103"/>
                    </a:lnTo>
                    <a:lnTo>
                      <a:pt x="141" y="103"/>
                    </a:lnTo>
                    <a:lnTo>
                      <a:pt x="144" y="104"/>
                    </a:lnTo>
                    <a:lnTo>
                      <a:pt x="142" y="107"/>
                    </a:lnTo>
                    <a:lnTo>
                      <a:pt x="141" y="110"/>
                    </a:lnTo>
                    <a:lnTo>
                      <a:pt x="144" y="111"/>
                    </a:lnTo>
                    <a:lnTo>
                      <a:pt x="146" y="111"/>
                    </a:lnTo>
                    <a:lnTo>
                      <a:pt x="149" y="112"/>
                    </a:lnTo>
                    <a:lnTo>
                      <a:pt x="152" y="113"/>
                    </a:lnTo>
                    <a:lnTo>
                      <a:pt x="154" y="113"/>
                    </a:lnTo>
                    <a:lnTo>
                      <a:pt x="158" y="112"/>
                    </a:lnTo>
                    <a:lnTo>
                      <a:pt x="161" y="112"/>
                    </a:lnTo>
                    <a:lnTo>
                      <a:pt x="163" y="111"/>
                    </a:lnTo>
                    <a:lnTo>
                      <a:pt x="165" y="112"/>
                    </a:lnTo>
                    <a:lnTo>
                      <a:pt x="163" y="113"/>
                    </a:lnTo>
                    <a:lnTo>
                      <a:pt x="162" y="113"/>
                    </a:lnTo>
                    <a:lnTo>
                      <a:pt x="159" y="113"/>
                    </a:lnTo>
                    <a:lnTo>
                      <a:pt x="156" y="115"/>
                    </a:lnTo>
                    <a:lnTo>
                      <a:pt x="153" y="116"/>
                    </a:lnTo>
                    <a:lnTo>
                      <a:pt x="150" y="115"/>
                    </a:lnTo>
                    <a:lnTo>
                      <a:pt x="147" y="115"/>
                    </a:lnTo>
                    <a:lnTo>
                      <a:pt x="144" y="113"/>
                    </a:lnTo>
                    <a:lnTo>
                      <a:pt x="141" y="115"/>
                    </a:lnTo>
                    <a:lnTo>
                      <a:pt x="138" y="112"/>
                    </a:lnTo>
                    <a:lnTo>
                      <a:pt x="135" y="109"/>
                    </a:lnTo>
                    <a:lnTo>
                      <a:pt x="134" y="107"/>
                    </a:lnTo>
                    <a:lnTo>
                      <a:pt x="130" y="105"/>
                    </a:lnTo>
                    <a:lnTo>
                      <a:pt x="128" y="103"/>
                    </a:lnTo>
                    <a:lnTo>
                      <a:pt x="125" y="102"/>
                    </a:lnTo>
                    <a:lnTo>
                      <a:pt x="122" y="101"/>
                    </a:lnTo>
                    <a:lnTo>
                      <a:pt x="120" y="100"/>
                    </a:lnTo>
                    <a:lnTo>
                      <a:pt x="117" y="98"/>
                    </a:lnTo>
                    <a:lnTo>
                      <a:pt x="115" y="96"/>
                    </a:lnTo>
                    <a:lnTo>
                      <a:pt x="111" y="94"/>
                    </a:lnTo>
                    <a:lnTo>
                      <a:pt x="109" y="94"/>
                    </a:lnTo>
                    <a:lnTo>
                      <a:pt x="105" y="94"/>
                    </a:lnTo>
                    <a:lnTo>
                      <a:pt x="103" y="93"/>
                    </a:lnTo>
                    <a:lnTo>
                      <a:pt x="100" y="93"/>
                    </a:lnTo>
                    <a:lnTo>
                      <a:pt x="96" y="94"/>
                    </a:lnTo>
                    <a:lnTo>
                      <a:pt x="94" y="94"/>
                    </a:lnTo>
                    <a:lnTo>
                      <a:pt x="91" y="94"/>
                    </a:lnTo>
                    <a:lnTo>
                      <a:pt x="88" y="93"/>
                    </a:lnTo>
                    <a:lnTo>
                      <a:pt x="83" y="92"/>
                    </a:lnTo>
                    <a:lnTo>
                      <a:pt x="79" y="92"/>
                    </a:lnTo>
                    <a:lnTo>
                      <a:pt x="77" y="92"/>
                    </a:lnTo>
                    <a:lnTo>
                      <a:pt x="74" y="94"/>
                    </a:lnTo>
                    <a:lnTo>
                      <a:pt x="73" y="96"/>
                    </a:lnTo>
                    <a:lnTo>
                      <a:pt x="73" y="100"/>
                    </a:lnTo>
                    <a:lnTo>
                      <a:pt x="75" y="102"/>
                    </a:lnTo>
                    <a:lnTo>
                      <a:pt x="77" y="102"/>
                    </a:lnTo>
                    <a:lnTo>
                      <a:pt x="79" y="102"/>
                    </a:lnTo>
                    <a:lnTo>
                      <a:pt x="83" y="103"/>
                    </a:lnTo>
                    <a:lnTo>
                      <a:pt x="86" y="103"/>
                    </a:lnTo>
                    <a:lnTo>
                      <a:pt x="88" y="105"/>
                    </a:lnTo>
                    <a:lnTo>
                      <a:pt x="86" y="104"/>
                    </a:lnTo>
                    <a:lnTo>
                      <a:pt x="83" y="104"/>
                    </a:lnTo>
                    <a:lnTo>
                      <a:pt x="81" y="103"/>
                    </a:lnTo>
                    <a:lnTo>
                      <a:pt x="78" y="103"/>
                    </a:lnTo>
                    <a:lnTo>
                      <a:pt x="75" y="104"/>
                    </a:lnTo>
                    <a:lnTo>
                      <a:pt x="75" y="107"/>
                    </a:lnTo>
                    <a:lnTo>
                      <a:pt x="75" y="110"/>
                    </a:lnTo>
                    <a:lnTo>
                      <a:pt x="77" y="110"/>
                    </a:lnTo>
                    <a:lnTo>
                      <a:pt x="81" y="111"/>
                    </a:lnTo>
                    <a:lnTo>
                      <a:pt x="83" y="111"/>
                    </a:lnTo>
                    <a:lnTo>
                      <a:pt x="86" y="111"/>
                    </a:lnTo>
                    <a:lnTo>
                      <a:pt x="90" y="112"/>
                    </a:lnTo>
                    <a:lnTo>
                      <a:pt x="92" y="113"/>
                    </a:lnTo>
                    <a:lnTo>
                      <a:pt x="95" y="116"/>
                    </a:lnTo>
                    <a:lnTo>
                      <a:pt x="96" y="118"/>
                    </a:lnTo>
                    <a:lnTo>
                      <a:pt x="100" y="119"/>
                    </a:lnTo>
                    <a:lnTo>
                      <a:pt x="102" y="122"/>
                    </a:lnTo>
                    <a:lnTo>
                      <a:pt x="103" y="125"/>
                    </a:lnTo>
                    <a:lnTo>
                      <a:pt x="104" y="127"/>
                    </a:lnTo>
                    <a:lnTo>
                      <a:pt x="108" y="128"/>
                    </a:lnTo>
                    <a:lnTo>
                      <a:pt x="111" y="129"/>
                    </a:lnTo>
                    <a:lnTo>
                      <a:pt x="113" y="132"/>
                    </a:lnTo>
                    <a:lnTo>
                      <a:pt x="117" y="132"/>
                    </a:lnTo>
                    <a:lnTo>
                      <a:pt x="113" y="133"/>
                    </a:lnTo>
                    <a:lnTo>
                      <a:pt x="111" y="132"/>
                    </a:lnTo>
                    <a:lnTo>
                      <a:pt x="108" y="130"/>
                    </a:lnTo>
                    <a:lnTo>
                      <a:pt x="104" y="129"/>
                    </a:lnTo>
                    <a:lnTo>
                      <a:pt x="102" y="128"/>
                    </a:lnTo>
                    <a:lnTo>
                      <a:pt x="99" y="130"/>
                    </a:lnTo>
                    <a:lnTo>
                      <a:pt x="100" y="133"/>
                    </a:lnTo>
                    <a:lnTo>
                      <a:pt x="103" y="134"/>
                    </a:lnTo>
                    <a:lnTo>
                      <a:pt x="105" y="134"/>
                    </a:lnTo>
                    <a:lnTo>
                      <a:pt x="109" y="135"/>
                    </a:lnTo>
                    <a:lnTo>
                      <a:pt x="111" y="135"/>
                    </a:lnTo>
                    <a:lnTo>
                      <a:pt x="115" y="135"/>
                    </a:lnTo>
                    <a:lnTo>
                      <a:pt x="117" y="135"/>
                    </a:lnTo>
                    <a:lnTo>
                      <a:pt x="120" y="135"/>
                    </a:lnTo>
                    <a:lnTo>
                      <a:pt x="122" y="135"/>
                    </a:lnTo>
                    <a:lnTo>
                      <a:pt x="128" y="136"/>
                    </a:lnTo>
                    <a:lnTo>
                      <a:pt x="132" y="136"/>
                    </a:lnTo>
                    <a:lnTo>
                      <a:pt x="134" y="136"/>
                    </a:lnTo>
                    <a:lnTo>
                      <a:pt x="137" y="133"/>
                    </a:lnTo>
                    <a:lnTo>
                      <a:pt x="139" y="132"/>
                    </a:lnTo>
                    <a:lnTo>
                      <a:pt x="143" y="132"/>
                    </a:lnTo>
                    <a:lnTo>
                      <a:pt x="139" y="135"/>
                    </a:lnTo>
                    <a:lnTo>
                      <a:pt x="138" y="137"/>
                    </a:lnTo>
                    <a:lnTo>
                      <a:pt x="135" y="137"/>
                    </a:lnTo>
                    <a:lnTo>
                      <a:pt x="133" y="138"/>
                    </a:lnTo>
                    <a:lnTo>
                      <a:pt x="129" y="138"/>
                    </a:lnTo>
                    <a:lnTo>
                      <a:pt x="126" y="138"/>
                    </a:lnTo>
                    <a:lnTo>
                      <a:pt x="124" y="137"/>
                    </a:lnTo>
                    <a:lnTo>
                      <a:pt x="121" y="139"/>
                    </a:lnTo>
                    <a:lnTo>
                      <a:pt x="124" y="141"/>
                    </a:lnTo>
                    <a:lnTo>
                      <a:pt x="127" y="142"/>
                    </a:lnTo>
                    <a:lnTo>
                      <a:pt x="129" y="141"/>
                    </a:lnTo>
                    <a:lnTo>
                      <a:pt x="133" y="142"/>
                    </a:lnTo>
                    <a:lnTo>
                      <a:pt x="129" y="144"/>
                    </a:lnTo>
                    <a:lnTo>
                      <a:pt x="132" y="146"/>
                    </a:lnTo>
                    <a:lnTo>
                      <a:pt x="128" y="145"/>
                    </a:lnTo>
                    <a:lnTo>
                      <a:pt x="126" y="143"/>
                    </a:lnTo>
                    <a:lnTo>
                      <a:pt x="122" y="142"/>
                    </a:lnTo>
                    <a:lnTo>
                      <a:pt x="120" y="142"/>
                    </a:lnTo>
                    <a:lnTo>
                      <a:pt x="118" y="139"/>
                    </a:lnTo>
                    <a:lnTo>
                      <a:pt x="115" y="139"/>
                    </a:lnTo>
                    <a:lnTo>
                      <a:pt x="111" y="138"/>
                    </a:lnTo>
                    <a:lnTo>
                      <a:pt x="109" y="137"/>
                    </a:lnTo>
                    <a:lnTo>
                      <a:pt x="105" y="137"/>
                    </a:lnTo>
                    <a:lnTo>
                      <a:pt x="103" y="137"/>
                    </a:lnTo>
                    <a:lnTo>
                      <a:pt x="100" y="137"/>
                    </a:lnTo>
                    <a:lnTo>
                      <a:pt x="98" y="136"/>
                    </a:lnTo>
                    <a:lnTo>
                      <a:pt x="95" y="136"/>
                    </a:lnTo>
                    <a:lnTo>
                      <a:pt x="92" y="136"/>
                    </a:lnTo>
                    <a:lnTo>
                      <a:pt x="90" y="136"/>
                    </a:lnTo>
                    <a:lnTo>
                      <a:pt x="86" y="137"/>
                    </a:lnTo>
                    <a:lnTo>
                      <a:pt x="81" y="138"/>
                    </a:lnTo>
                    <a:lnTo>
                      <a:pt x="78" y="138"/>
                    </a:lnTo>
                    <a:lnTo>
                      <a:pt x="75" y="139"/>
                    </a:lnTo>
                    <a:lnTo>
                      <a:pt x="71" y="139"/>
                    </a:lnTo>
                    <a:lnTo>
                      <a:pt x="69" y="141"/>
                    </a:lnTo>
                    <a:lnTo>
                      <a:pt x="67" y="144"/>
                    </a:lnTo>
                    <a:lnTo>
                      <a:pt x="68" y="146"/>
                    </a:lnTo>
                    <a:lnTo>
                      <a:pt x="66" y="146"/>
                    </a:lnTo>
                    <a:lnTo>
                      <a:pt x="62" y="149"/>
                    </a:lnTo>
                    <a:lnTo>
                      <a:pt x="60" y="151"/>
                    </a:lnTo>
                    <a:lnTo>
                      <a:pt x="60" y="154"/>
                    </a:lnTo>
                    <a:lnTo>
                      <a:pt x="62" y="156"/>
                    </a:lnTo>
                    <a:lnTo>
                      <a:pt x="65" y="158"/>
                    </a:lnTo>
                    <a:lnTo>
                      <a:pt x="62" y="160"/>
                    </a:lnTo>
                    <a:lnTo>
                      <a:pt x="65" y="160"/>
                    </a:lnTo>
                    <a:lnTo>
                      <a:pt x="68" y="160"/>
                    </a:lnTo>
                    <a:lnTo>
                      <a:pt x="71" y="160"/>
                    </a:lnTo>
                    <a:lnTo>
                      <a:pt x="74" y="156"/>
                    </a:lnTo>
                    <a:lnTo>
                      <a:pt x="77" y="158"/>
                    </a:lnTo>
                    <a:lnTo>
                      <a:pt x="79" y="156"/>
                    </a:lnTo>
                    <a:lnTo>
                      <a:pt x="83" y="154"/>
                    </a:lnTo>
                    <a:lnTo>
                      <a:pt x="81" y="156"/>
                    </a:lnTo>
                    <a:lnTo>
                      <a:pt x="77" y="159"/>
                    </a:lnTo>
                    <a:lnTo>
                      <a:pt x="79" y="161"/>
                    </a:lnTo>
                    <a:lnTo>
                      <a:pt x="83" y="161"/>
                    </a:lnTo>
                    <a:lnTo>
                      <a:pt x="85" y="160"/>
                    </a:lnTo>
                    <a:lnTo>
                      <a:pt x="88" y="160"/>
                    </a:lnTo>
                    <a:lnTo>
                      <a:pt x="91" y="158"/>
                    </a:lnTo>
                    <a:lnTo>
                      <a:pt x="93" y="155"/>
                    </a:lnTo>
                    <a:lnTo>
                      <a:pt x="95" y="152"/>
                    </a:lnTo>
                    <a:lnTo>
                      <a:pt x="96" y="150"/>
                    </a:lnTo>
                    <a:lnTo>
                      <a:pt x="99" y="147"/>
                    </a:lnTo>
                    <a:lnTo>
                      <a:pt x="98" y="150"/>
                    </a:lnTo>
                    <a:lnTo>
                      <a:pt x="96" y="152"/>
                    </a:lnTo>
                    <a:lnTo>
                      <a:pt x="100" y="153"/>
                    </a:lnTo>
                    <a:lnTo>
                      <a:pt x="96" y="154"/>
                    </a:lnTo>
                    <a:lnTo>
                      <a:pt x="98" y="156"/>
                    </a:lnTo>
                    <a:lnTo>
                      <a:pt x="100" y="156"/>
                    </a:lnTo>
                    <a:lnTo>
                      <a:pt x="103" y="156"/>
                    </a:lnTo>
                    <a:lnTo>
                      <a:pt x="105" y="159"/>
                    </a:lnTo>
                    <a:lnTo>
                      <a:pt x="103" y="158"/>
                    </a:lnTo>
                    <a:lnTo>
                      <a:pt x="100" y="158"/>
                    </a:lnTo>
                    <a:lnTo>
                      <a:pt x="98" y="158"/>
                    </a:lnTo>
                    <a:lnTo>
                      <a:pt x="95" y="158"/>
                    </a:lnTo>
                    <a:lnTo>
                      <a:pt x="95" y="161"/>
                    </a:lnTo>
                    <a:lnTo>
                      <a:pt x="99" y="161"/>
                    </a:lnTo>
                    <a:lnTo>
                      <a:pt x="101" y="161"/>
                    </a:lnTo>
                    <a:lnTo>
                      <a:pt x="104" y="161"/>
                    </a:lnTo>
                    <a:lnTo>
                      <a:pt x="101" y="161"/>
                    </a:lnTo>
                    <a:lnTo>
                      <a:pt x="99" y="162"/>
                    </a:lnTo>
                    <a:lnTo>
                      <a:pt x="95" y="162"/>
                    </a:lnTo>
                    <a:lnTo>
                      <a:pt x="93" y="162"/>
                    </a:lnTo>
                    <a:lnTo>
                      <a:pt x="90" y="162"/>
                    </a:lnTo>
                    <a:lnTo>
                      <a:pt x="87" y="164"/>
                    </a:lnTo>
                    <a:lnTo>
                      <a:pt x="87" y="167"/>
                    </a:lnTo>
                    <a:lnTo>
                      <a:pt x="93" y="166"/>
                    </a:lnTo>
                    <a:lnTo>
                      <a:pt x="95" y="166"/>
                    </a:lnTo>
                    <a:lnTo>
                      <a:pt x="95" y="167"/>
                    </a:lnTo>
                    <a:lnTo>
                      <a:pt x="93" y="167"/>
                    </a:lnTo>
                    <a:lnTo>
                      <a:pt x="91" y="169"/>
                    </a:lnTo>
                    <a:lnTo>
                      <a:pt x="93" y="169"/>
                    </a:lnTo>
                    <a:lnTo>
                      <a:pt x="91" y="171"/>
                    </a:lnTo>
                    <a:lnTo>
                      <a:pt x="93" y="173"/>
                    </a:lnTo>
                    <a:lnTo>
                      <a:pt x="95" y="175"/>
                    </a:lnTo>
                    <a:lnTo>
                      <a:pt x="95" y="175"/>
                    </a:lnTo>
                    <a:lnTo>
                      <a:pt x="95" y="175"/>
                    </a:lnTo>
                    <a:lnTo>
                      <a:pt x="95" y="175"/>
                    </a:lnTo>
                    <a:lnTo>
                      <a:pt x="95" y="176"/>
                    </a:lnTo>
                    <a:lnTo>
                      <a:pt x="94" y="176"/>
                    </a:lnTo>
                    <a:lnTo>
                      <a:pt x="91" y="176"/>
                    </a:lnTo>
                    <a:lnTo>
                      <a:pt x="88" y="177"/>
                    </a:lnTo>
                    <a:lnTo>
                      <a:pt x="91" y="177"/>
                    </a:lnTo>
                    <a:lnTo>
                      <a:pt x="94" y="179"/>
                    </a:lnTo>
                    <a:lnTo>
                      <a:pt x="95" y="178"/>
                    </a:lnTo>
                    <a:lnTo>
                      <a:pt x="95" y="181"/>
                    </a:lnTo>
                    <a:lnTo>
                      <a:pt x="93" y="181"/>
                    </a:lnTo>
                    <a:lnTo>
                      <a:pt x="90" y="180"/>
                    </a:lnTo>
                    <a:lnTo>
                      <a:pt x="87" y="179"/>
                    </a:lnTo>
                    <a:lnTo>
                      <a:pt x="84" y="179"/>
                    </a:lnTo>
                    <a:lnTo>
                      <a:pt x="84" y="177"/>
                    </a:lnTo>
                    <a:lnTo>
                      <a:pt x="83" y="173"/>
                    </a:lnTo>
                    <a:lnTo>
                      <a:pt x="79" y="171"/>
                    </a:lnTo>
                    <a:lnTo>
                      <a:pt x="77" y="169"/>
                    </a:lnTo>
                    <a:lnTo>
                      <a:pt x="74" y="168"/>
                    </a:lnTo>
                    <a:lnTo>
                      <a:pt x="71" y="167"/>
                    </a:lnTo>
                    <a:lnTo>
                      <a:pt x="69" y="167"/>
                    </a:lnTo>
                    <a:lnTo>
                      <a:pt x="66" y="167"/>
                    </a:lnTo>
                    <a:lnTo>
                      <a:pt x="64" y="167"/>
                    </a:lnTo>
                    <a:lnTo>
                      <a:pt x="60" y="167"/>
                    </a:lnTo>
                    <a:lnTo>
                      <a:pt x="58" y="167"/>
                    </a:lnTo>
                    <a:lnTo>
                      <a:pt x="54" y="168"/>
                    </a:lnTo>
                    <a:lnTo>
                      <a:pt x="52" y="169"/>
                    </a:lnTo>
                    <a:lnTo>
                      <a:pt x="51" y="171"/>
                    </a:lnTo>
                    <a:lnTo>
                      <a:pt x="52" y="175"/>
                    </a:lnTo>
                    <a:lnTo>
                      <a:pt x="54" y="176"/>
                    </a:lnTo>
                    <a:lnTo>
                      <a:pt x="58" y="177"/>
                    </a:lnTo>
                    <a:lnTo>
                      <a:pt x="57" y="179"/>
                    </a:lnTo>
                    <a:lnTo>
                      <a:pt x="58" y="183"/>
                    </a:lnTo>
                    <a:lnTo>
                      <a:pt x="61" y="183"/>
                    </a:lnTo>
                    <a:lnTo>
                      <a:pt x="64" y="181"/>
                    </a:lnTo>
                    <a:lnTo>
                      <a:pt x="67" y="181"/>
                    </a:lnTo>
                    <a:lnTo>
                      <a:pt x="69" y="183"/>
                    </a:lnTo>
                    <a:lnTo>
                      <a:pt x="67" y="183"/>
                    </a:lnTo>
                    <a:lnTo>
                      <a:pt x="64" y="184"/>
                    </a:lnTo>
                    <a:lnTo>
                      <a:pt x="67" y="186"/>
                    </a:lnTo>
                    <a:lnTo>
                      <a:pt x="69" y="187"/>
                    </a:lnTo>
                    <a:lnTo>
                      <a:pt x="73" y="187"/>
                    </a:lnTo>
                    <a:lnTo>
                      <a:pt x="69" y="188"/>
                    </a:lnTo>
                    <a:lnTo>
                      <a:pt x="67" y="187"/>
                    </a:lnTo>
                    <a:lnTo>
                      <a:pt x="64" y="187"/>
                    </a:lnTo>
                    <a:lnTo>
                      <a:pt x="61" y="189"/>
                    </a:lnTo>
                    <a:lnTo>
                      <a:pt x="58" y="188"/>
                    </a:lnTo>
                    <a:lnTo>
                      <a:pt x="56" y="188"/>
                    </a:lnTo>
                    <a:lnTo>
                      <a:pt x="52" y="189"/>
                    </a:lnTo>
                    <a:lnTo>
                      <a:pt x="50" y="188"/>
                    </a:lnTo>
                    <a:lnTo>
                      <a:pt x="47" y="190"/>
                    </a:lnTo>
                    <a:lnTo>
                      <a:pt x="44" y="192"/>
                    </a:lnTo>
                    <a:lnTo>
                      <a:pt x="41" y="193"/>
                    </a:lnTo>
                    <a:lnTo>
                      <a:pt x="35" y="195"/>
                    </a:lnTo>
                    <a:lnTo>
                      <a:pt x="33" y="196"/>
                    </a:lnTo>
                    <a:lnTo>
                      <a:pt x="33" y="199"/>
                    </a:lnTo>
                    <a:lnTo>
                      <a:pt x="34" y="202"/>
                    </a:lnTo>
                    <a:lnTo>
                      <a:pt x="31" y="205"/>
                    </a:lnTo>
                    <a:lnTo>
                      <a:pt x="36" y="209"/>
                    </a:lnTo>
                    <a:lnTo>
                      <a:pt x="40" y="209"/>
                    </a:lnTo>
                    <a:lnTo>
                      <a:pt x="42" y="209"/>
                    </a:lnTo>
                    <a:lnTo>
                      <a:pt x="44" y="205"/>
                    </a:lnTo>
                    <a:lnTo>
                      <a:pt x="45" y="207"/>
                    </a:lnTo>
                    <a:lnTo>
                      <a:pt x="47" y="205"/>
                    </a:lnTo>
                    <a:lnTo>
                      <a:pt x="45" y="203"/>
                    </a:lnTo>
                    <a:lnTo>
                      <a:pt x="44" y="199"/>
                    </a:lnTo>
                    <a:lnTo>
                      <a:pt x="47" y="198"/>
                    </a:lnTo>
                    <a:lnTo>
                      <a:pt x="47" y="202"/>
                    </a:lnTo>
                    <a:lnTo>
                      <a:pt x="48" y="204"/>
                    </a:lnTo>
                    <a:lnTo>
                      <a:pt x="49" y="206"/>
                    </a:lnTo>
                    <a:lnTo>
                      <a:pt x="48" y="210"/>
                    </a:lnTo>
                    <a:lnTo>
                      <a:pt x="50" y="210"/>
                    </a:lnTo>
                    <a:lnTo>
                      <a:pt x="53" y="211"/>
                    </a:lnTo>
                    <a:lnTo>
                      <a:pt x="56" y="210"/>
                    </a:lnTo>
                    <a:lnTo>
                      <a:pt x="59" y="211"/>
                    </a:lnTo>
                    <a:lnTo>
                      <a:pt x="61" y="211"/>
                    </a:lnTo>
                    <a:lnTo>
                      <a:pt x="60" y="207"/>
                    </a:lnTo>
                    <a:lnTo>
                      <a:pt x="60" y="205"/>
                    </a:lnTo>
                    <a:lnTo>
                      <a:pt x="62" y="207"/>
                    </a:lnTo>
                    <a:lnTo>
                      <a:pt x="66" y="210"/>
                    </a:lnTo>
                    <a:lnTo>
                      <a:pt x="69" y="210"/>
                    </a:lnTo>
                    <a:lnTo>
                      <a:pt x="71" y="210"/>
                    </a:lnTo>
                    <a:lnTo>
                      <a:pt x="73" y="207"/>
                    </a:lnTo>
                    <a:lnTo>
                      <a:pt x="75" y="205"/>
                    </a:lnTo>
                    <a:lnTo>
                      <a:pt x="73" y="203"/>
                    </a:lnTo>
                    <a:lnTo>
                      <a:pt x="75" y="204"/>
                    </a:lnTo>
                    <a:lnTo>
                      <a:pt x="78" y="206"/>
                    </a:lnTo>
                    <a:lnTo>
                      <a:pt x="75" y="207"/>
                    </a:lnTo>
                    <a:lnTo>
                      <a:pt x="77" y="210"/>
                    </a:lnTo>
                    <a:lnTo>
                      <a:pt x="81" y="210"/>
                    </a:lnTo>
                    <a:lnTo>
                      <a:pt x="83" y="211"/>
                    </a:lnTo>
                    <a:lnTo>
                      <a:pt x="86" y="211"/>
                    </a:lnTo>
                    <a:lnTo>
                      <a:pt x="88" y="212"/>
                    </a:lnTo>
                    <a:lnTo>
                      <a:pt x="92" y="212"/>
                    </a:lnTo>
                    <a:lnTo>
                      <a:pt x="94" y="212"/>
                    </a:lnTo>
                    <a:lnTo>
                      <a:pt x="98" y="212"/>
                    </a:lnTo>
                    <a:lnTo>
                      <a:pt x="100" y="212"/>
                    </a:lnTo>
                    <a:lnTo>
                      <a:pt x="103" y="211"/>
                    </a:lnTo>
                    <a:lnTo>
                      <a:pt x="98" y="210"/>
                    </a:lnTo>
                    <a:lnTo>
                      <a:pt x="95" y="207"/>
                    </a:lnTo>
                    <a:lnTo>
                      <a:pt x="95" y="205"/>
                    </a:lnTo>
                    <a:lnTo>
                      <a:pt x="98" y="206"/>
                    </a:lnTo>
                    <a:lnTo>
                      <a:pt x="100" y="209"/>
                    </a:lnTo>
                    <a:lnTo>
                      <a:pt x="103" y="209"/>
                    </a:lnTo>
                    <a:lnTo>
                      <a:pt x="105" y="207"/>
                    </a:lnTo>
                    <a:lnTo>
                      <a:pt x="105" y="205"/>
                    </a:lnTo>
                    <a:lnTo>
                      <a:pt x="104" y="202"/>
                    </a:lnTo>
                    <a:lnTo>
                      <a:pt x="108" y="203"/>
                    </a:lnTo>
                    <a:lnTo>
                      <a:pt x="109" y="206"/>
                    </a:lnTo>
                    <a:lnTo>
                      <a:pt x="111" y="207"/>
                    </a:lnTo>
                    <a:lnTo>
                      <a:pt x="113" y="209"/>
                    </a:lnTo>
                    <a:lnTo>
                      <a:pt x="117" y="209"/>
                    </a:lnTo>
                    <a:lnTo>
                      <a:pt x="119" y="209"/>
                    </a:lnTo>
                    <a:lnTo>
                      <a:pt x="119" y="206"/>
                    </a:lnTo>
                    <a:lnTo>
                      <a:pt x="117" y="203"/>
                    </a:lnTo>
                    <a:lnTo>
                      <a:pt x="117" y="201"/>
                    </a:lnTo>
                    <a:lnTo>
                      <a:pt x="119" y="203"/>
                    </a:lnTo>
                    <a:lnTo>
                      <a:pt x="121" y="205"/>
                    </a:lnTo>
                    <a:lnTo>
                      <a:pt x="121" y="209"/>
                    </a:lnTo>
                    <a:lnTo>
                      <a:pt x="125" y="210"/>
                    </a:lnTo>
                    <a:lnTo>
                      <a:pt x="130" y="210"/>
                    </a:lnTo>
                    <a:lnTo>
                      <a:pt x="133" y="206"/>
                    </a:lnTo>
                    <a:lnTo>
                      <a:pt x="134" y="204"/>
                    </a:lnTo>
                    <a:lnTo>
                      <a:pt x="130" y="203"/>
                    </a:lnTo>
                    <a:lnTo>
                      <a:pt x="128" y="202"/>
                    </a:lnTo>
                    <a:lnTo>
                      <a:pt x="127" y="198"/>
                    </a:lnTo>
                    <a:lnTo>
                      <a:pt x="129" y="201"/>
                    </a:lnTo>
                    <a:lnTo>
                      <a:pt x="133" y="203"/>
                    </a:lnTo>
                    <a:lnTo>
                      <a:pt x="135" y="203"/>
                    </a:lnTo>
                    <a:lnTo>
                      <a:pt x="138" y="202"/>
                    </a:lnTo>
                    <a:lnTo>
                      <a:pt x="135" y="204"/>
                    </a:lnTo>
                    <a:lnTo>
                      <a:pt x="135" y="206"/>
                    </a:lnTo>
                    <a:lnTo>
                      <a:pt x="138" y="207"/>
                    </a:lnTo>
                    <a:lnTo>
                      <a:pt x="141" y="207"/>
                    </a:lnTo>
                    <a:lnTo>
                      <a:pt x="144" y="207"/>
                    </a:lnTo>
                    <a:lnTo>
                      <a:pt x="146" y="206"/>
                    </a:lnTo>
                    <a:lnTo>
                      <a:pt x="150" y="207"/>
                    </a:lnTo>
                    <a:lnTo>
                      <a:pt x="153" y="209"/>
                    </a:lnTo>
                    <a:lnTo>
                      <a:pt x="151" y="211"/>
                    </a:lnTo>
                    <a:lnTo>
                      <a:pt x="149" y="214"/>
                    </a:lnTo>
                    <a:lnTo>
                      <a:pt x="150" y="216"/>
                    </a:lnTo>
                    <a:lnTo>
                      <a:pt x="155" y="215"/>
                    </a:lnTo>
                    <a:lnTo>
                      <a:pt x="158" y="215"/>
                    </a:lnTo>
                    <a:lnTo>
                      <a:pt x="161" y="214"/>
                    </a:lnTo>
                    <a:lnTo>
                      <a:pt x="163" y="214"/>
                    </a:lnTo>
                    <a:lnTo>
                      <a:pt x="165" y="213"/>
                    </a:lnTo>
                    <a:lnTo>
                      <a:pt x="168" y="212"/>
                    </a:lnTo>
                    <a:lnTo>
                      <a:pt x="170" y="212"/>
                    </a:lnTo>
                    <a:lnTo>
                      <a:pt x="173" y="212"/>
                    </a:lnTo>
                    <a:lnTo>
                      <a:pt x="175" y="209"/>
                    </a:lnTo>
                    <a:lnTo>
                      <a:pt x="178" y="207"/>
                    </a:lnTo>
                    <a:lnTo>
                      <a:pt x="180" y="204"/>
                    </a:lnTo>
                    <a:lnTo>
                      <a:pt x="182" y="205"/>
                    </a:lnTo>
                    <a:lnTo>
                      <a:pt x="182" y="207"/>
                    </a:lnTo>
                    <a:lnTo>
                      <a:pt x="186" y="206"/>
                    </a:lnTo>
                    <a:lnTo>
                      <a:pt x="188" y="205"/>
                    </a:lnTo>
                    <a:lnTo>
                      <a:pt x="190" y="203"/>
                    </a:lnTo>
                    <a:lnTo>
                      <a:pt x="193" y="201"/>
                    </a:lnTo>
                    <a:lnTo>
                      <a:pt x="194" y="198"/>
                    </a:lnTo>
                    <a:lnTo>
                      <a:pt x="193" y="195"/>
                    </a:lnTo>
                    <a:lnTo>
                      <a:pt x="190" y="193"/>
                    </a:lnTo>
                    <a:lnTo>
                      <a:pt x="188" y="192"/>
                    </a:lnTo>
                    <a:lnTo>
                      <a:pt x="185" y="193"/>
                    </a:lnTo>
                    <a:lnTo>
                      <a:pt x="182" y="195"/>
                    </a:lnTo>
                    <a:lnTo>
                      <a:pt x="180" y="197"/>
                    </a:lnTo>
                    <a:lnTo>
                      <a:pt x="177" y="197"/>
                    </a:lnTo>
                    <a:lnTo>
                      <a:pt x="178" y="194"/>
                    </a:lnTo>
                    <a:lnTo>
                      <a:pt x="175" y="194"/>
                    </a:lnTo>
                    <a:lnTo>
                      <a:pt x="171" y="194"/>
                    </a:lnTo>
                    <a:lnTo>
                      <a:pt x="175" y="192"/>
                    </a:lnTo>
                    <a:lnTo>
                      <a:pt x="177" y="189"/>
                    </a:lnTo>
                    <a:lnTo>
                      <a:pt x="175" y="186"/>
                    </a:lnTo>
                    <a:lnTo>
                      <a:pt x="171" y="186"/>
                    </a:lnTo>
                    <a:lnTo>
                      <a:pt x="169" y="185"/>
                    </a:lnTo>
                    <a:lnTo>
                      <a:pt x="165" y="186"/>
                    </a:lnTo>
                    <a:lnTo>
                      <a:pt x="163" y="187"/>
                    </a:lnTo>
                    <a:lnTo>
                      <a:pt x="162" y="188"/>
                    </a:lnTo>
                    <a:lnTo>
                      <a:pt x="159" y="189"/>
                    </a:lnTo>
                    <a:lnTo>
                      <a:pt x="161" y="186"/>
                    </a:lnTo>
                    <a:lnTo>
                      <a:pt x="158" y="186"/>
                    </a:lnTo>
                    <a:lnTo>
                      <a:pt x="155" y="185"/>
                    </a:lnTo>
                    <a:lnTo>
                      <a:pt x="150" y="184"/>
                    </a:lnTo>
                    <a:lnTo>
                      <a:pt x="146" y="185"/>
                    </a:lnTo>
                    <a:lnTo>
                      <a:pt x="144" y="186"/>
                    </a:lnTo>
                    <a:lnTo>
                      <a:pt x="141" y="187"/>
                    </a:lnTo>
                    <a:lnTo>
                      <a:pt x="138" y="187"/>
                    </a:lnTo>
                    <a:lnTo>
                      <a:pt x="136" y="185"/>
                    </a:lnTo>
                    <a:lnTo>
                      <a:pt x="134" y="184"/>
                    </a:lnTo>
                    <a:lnTo>
                      <a:pt x="136" y="184"/>
                    </a:lnTo>
                    <a:lnTo>
                      <a:pt x="139" y="184"/>
                    </a:lnTo>
                    <a:lnTo>
                      <a:pt x="142" y="184"/>
                    </a:lnTo>
                    <a:lnTo>
                      <a:pt x="145" y="181"/>
                    </a:lnTo>
                    <a:lnTo>
                      <a:pt x="142" y="181"/>
                    </a:lnTo>
                    <a:lnTo>
                      <a:pt x="139" y="179"/>
                    </a:lnTo>
                    <a:lnTo>
                      <a:pt x="141" y="177"/>
                    </a:lnTo>
                    <a:lnTo>
                      <a:pt x="138" y="173"/>
                    </a:lnTo>
                    <a:lnTo>
                      <a:pt x="141" y="176"/>
                    </a:lnTo>
                    <a:lnTo>
                      <a:pt x="144" y="178"/>
                    </a:lnTo>
                    <a:lnTo>
                      <a:pt x="146" y="180"/>
                    </a:lnTo>
                    <a:lnTo>
                      <a:pt x="150" y="181"/>
                    </a:lnTo>
                    <a:lnTo>
                      <a:pt x="152" y="183"/>
                    </a:lnTo>
                    <a:lnTo>
                      <a:pt x="155" y="184"/>
                    </a:lnTo>
                    <a:lnTo>
                      <a:pt x="158" y="184"/>
                    </a:lnTo>
                    <a:lnTo>
                      <a:pt x="161" y="184"/>
                    </a:lnTo>
                    <a:lnTo>
                      <a:pt x="163" y="184"/>
                    </a:lnTo>
                    <a:lnTo>
                      <a:pt x="164" y="184"/>
                    </a:lnTo>
                    <a:lnTo>
                      <a:pt x="167" y="184"/>
                    </a:lnTo>
                    <a:lnTo>
                      <a:pt x="170" y="184"/>
                    </a:lnTo>
                    <a:lnTo>
                      <a:pt x="172" y="184"/>
                    </a:lnTo>
                    <a:lnTo>
                      <a:pt x="176" y="184"/>
                    </a:lnTo>
                    <a:lnTo>
                      <a:pt x="178" y="181"/>
                    </a:lnTo>
                    <a:lnTo>
                      <a:pt x="181" y="184"/>
                    </a:lnTo>
                    <a:lnTo>
                      <a:pt x="184" y="181"/>
                    </a:lnTo>
                    <a:lnTo>
                      <a:pt x="187" y="180"/>
                    </a:lnTo>
                    <a:lnTo>
                      <a:pt x="189" y="179"/>
                    </a:lnTo>
                    <a:lnTo>
                      <a:pt x="190" y="176"/>
                    </a:lnTo>
                    <a:lnTo>
                      <a:pt x="194" y="175"/>
                    </a:lnTo>
                    <a:lnTo>
                      <a:pt x="190" y="171"/>
                    </a:lnTo>
                    <a:lnTo>
                      <a:pt x="192" y="169"/>
                    </a:lnTo>
                    <a:lnTo>
                      <a:pt x="188" y="167"/>
                    </a:lnTo>
                    <a:lnTo>
                      <a:pt x="185" y="166"/>
                    </a:lnTo>
                    <a:lnTo>
                      <a:pt x="188" y="163"/>
                    </a:lnTo>
                    <a:lnTo>
                      <a:pt x="190" y="164"/>
                    </a:lnTo>
                    <a:lnTo>
                      <a:pt x="194" y="164"/>
                    </a:lnTo>
                    <a:lnTo>
                      <a:pt x="196" y="164"/>
                    </a:lnTo>
                    <a:lnTo>
                      <a:pt x="202" y="164"/>
                    </a:lnTo>
                    <a:lnTo>
                      <a:pt x="205" y="166"/>
                    </a:lnTo>
                    <a:lnTo>
                      <a:pt x="207" y="164"/>
                    </a:lnTo>
                    <a:lnTo>
                      <a:pt x="211" y="164"/>
                    </a:lnTo>
                    <a:lnTo>
                      <a:pt x="213" y="163"/>
                    </a:lnTo>
                    <a:lnTo>
                      <a:pt x="216" y="163"/>
                    </a:lnTo>
                    <a:lnTo>
                      <a:pt x="219" y="164"/>
                    </a:lnTo>
                    <a:lnTo>
                      <a:pt x="222" y="162"/>
                    </a:lnTo>
                    <a:lnTo>
                      <a:pt x="222" y="159"/>
                    </a:lnTo>
                    <a:lnTo>
                      <a:pt x="219" y="159"/>
                    </a:lnTo>
                    <a:lnTo>
                      <a:pt x="216" y="159"/>
                    </a:lnTo>
                    <a:lnTo>
                      <a:pt x="214" y="159"/>
                    </a:lnTo>
                    <a:lnTo>
                      <a:pt x="211" y="159"/>
                    </a:lnTo>
                    <a:lnTo>
                      <a:pt x="209" y="156"/>
                    </a:lnTo>
                    <a:lnTo>
                      <a:pt x="211" y="155"/>
                    </a:lnTo>
                    <a:lnTo>
                      <a:pt x="213" y="156"/>
                    </a:lnTo>
                    <a:lnTo>
                      <a:pt x="216" y="156"/>
                    </a:lnTo>
                    <a:lnTo>
                      <a:pt x="219" y="156"/>
                    </a:lnTo>
                    <a:lnTo>
                      <a:pt x="222" y="156"/>
                    </a:lnTo>
                    <a:lnTo>
                      <a:pt x="224" y="156"/>
                    </a:lnTo>
                    <a:lnTo>
                      <a:pt x="228" y="154"/>
                    </a:lnTo>
                    <a:lnTo>
                      <a:pt x="230" y="152"/>
                    </a:lnTo>
                    <a:lnTo>
                      <a:pt x="228" y="151"/>
                    </a:lnTo>
                    <a:lnTo>
                      <a:pt x="224" y="150"/>
                    </a:lnTo>
                    <a:lnTo>
                      <a:pt x="222" y="150"/>
                    </a:lnTo>
                    <a:lnTo>
                      <a:pt x="219" y="150"/>
                    </a:lnTo>
                    <a:lnTo>
                      <a:pt x="215" y="149"/>
                    </a:lnTo>
                    <a:lnTo>
                      <a:pt x="213" y="147"/>
                    </a:lnTo>
                    <a:lnTo>
                      <a:pt x="210" y="147"/>
                    </a:lnTo>
                    <a:lnTo>
                      <a:pt x="213" y="146"/>
                    </a:lnTo>
                    <a:lnTo>
                      <a:pt x="216" y="147"/>
                    </a:lnTo>
                    <a:lnTo>
                      <a:pt x="219" y="147"/>
                    </a:lnTo>
                    <a:lnTo>
                      <a:pt x="224" y="147"/>
                    </a:lnTo>
                    <a:lnTo>
                      <a:pt x="228" y="147"/>
                    </a:lnTo>
                    <a:lnTo>
                      <a:pt x="231" y="147"/>
                    </a:lnTo>
                    <a:lnTo>
                      <a:pt x="233" y="146"/>
                    </a:lnTo>
                    <a:lnTo>
                      <a:pt x="236" y="145"/>
                    </a:lnTo>
                    <a:lnTo>
                      <a:pt x="233" y="144"/>
                    </a:lnTo>
                    <a:lnTo>
                      <a:pt x="235" y="141"/>
                    </a:lnTo>
                    <a:lnTo>
                      <a:pt x="235" y="138"/>
                    </a:lnTo>
                    <a:lnTo>
                      <a:pt x="232" y="137"/>
                    </a:lnTo>
                    <a:lnTo>
                      <a:pt x="229" y="136"/>
                    </a:lnTo>
                    <a:lnTo>
                      <a:pt x="227" y="136"/>
                    </a:lnTo>
                    <a:lnTo>
                      <a:pt x="223" y="136"/>
                    </a:lnTo>
                    <a:lnTo>
                      <a:pt x="221" y="136"/>
                    </a:lnTo>
                    <a:lnTo>
                      <a:pt x="218" y="137"/>
                    </a:lnTo>
                    <a:lnTo>
                      <a:pt x="215" y="136"/>
                    </a:lnTo>
                    <a:lnTo>
                      <a:pt x="212" y="137"/>
                    </a:lnTo>
                    <a:lnTo>
                      <a:pt x="215" y="136"/>
                    </a:lnTo>
                    <a:lnTo>
                      <a:pt x="218" y="136"/>
                    </a:lnTo>
                    <a:lnTo>
                      <a:pt x="221" y="134"/>
                    </a:lnTo>
                    <a:lnTo>
                      <a:pt x="218" y="133"/>
                    </a:lnTo>
                    <a:lnTo>
                      <a:pt x="215" y="133"/>
                    </a:lnTo>
                    <a:lnTo>
                      <a:pt x="213" y="133"/>
                    </a:lnTo>
                    <a:lnTo>
                      <a:pt x="206" y="133"/>
                    </a:lnTo>
                    <a:lnTo>
                      <a:pt x="201" y="134"/>
                    </a:lnTo>
                    <a:lnTo>
                      <a:pt x="197" y="134"/>
                    </a:lnTo>
                    <a:lnTo>
                      <a:pt x="195" y="134"/>
                    </a:lnTo>
                    <a:lnTo>
                      <a:pt x="192" y="136"/>
                    </a:lnTo>
                    <a:lnTo>
                      <a:pt x="189" y="138"/>
                    </a:lnTo>
                    <a:lnTo>
                      <a:pt x="187" y="139"/>
                    </a:lnTo>
                    <a:lnTo>
                      <a:pt x="188" y="137"/>
                    </a:lnTo>
                    <a:lnTo>
                      <a:pt x="192" y="135"/>
                    </a:lnTo>
                    <a:lnTo>
                      <a:pt x="194" y="132"/>
                    </a:lnTo>
                    <a:lnTo>
                      <a:pt x="192" y="132"/>
                    </a:lnTo>
                    <a:lnTo>
                      <a:pt x="188" y="132"/>
                    </a:lnTo>
                    <a:lnTo>
                      <a:pt x="185" y="132"/>
                    </a:lnTo>
                    <a:lnTo>
                      <a:pt x="182" y="132"/>
                    </a:lnTo>
                    <a:lnTo>
                      <a:pt x="179" y="132"/>
                    </a:lnTo>
                    <a:lnTo>
                      <a:pt x="185" y="130"/>
                    </a:lnTo>
                    <a:lnTo>
                      <a:pt x="188" y="132"/>
                    </a:lnTo>
                    <a:lnTo>
                      <a:pt x="192" y="132"/>
                    </a:lnTo>
                    <a:lnTo>
                      <a:pt x="194" y="132"/>
                    </a:lnTo>
                    <a:lnTo>
                      <a:pt x="197" y="133"/>
                    </a:lnTo>
                    <a:lnTo>
                      <a:pt x="199" y="132"/>
                    </a:lnTo>
                    <a:lnTo>
                      <a:pt x="203" y="132"/>
                    </a:lnTo>
                    <a:lnTo>
                      <a:pt x="209" y="130"/>
                    </a:lnTo>
                    <a:lnTo>
                      <a:pt x="211" y="130"/>
                    </a:lnTo>
                    <a:lnTo>
                      <a:pt x="214" y="130"/>
                    </a:lnTo>
                    <a:lnTo>
                      <a:pt x="216" y="130"/>
                    </a:lnTo>
                    <a:lnTo>
                      <a:pt x="214" y="129"/>
                    </a:lnTo>
                    <a:lnTo>
                      <a:pt x="211" y="129"/>
                    </a:lnTo>
                    <a:lnTo>
                      <a:pt x="209" y="128"/>
                    </a:lnTo>
                    <a:lnTo>
                      <a:pt x="205" y="128"/>
                    </a:lnTo>
                    <a:lnTo>
                      <a:pt x="203" y="128"/>
                    </a:lnTo>
                    <a:lnTo>
                      <a:pt x="199" y="128"/>
                    </a:lnTo>
                    <a:lnTo>
                      <a:pt x="196" y="128"/>
                    </a:lnTo>
                    <a:lnTo>
                      <a:pt x="194" y="127"/>
                    </a:lnTo>
                    <a:lnTo>
                      <a:pt x="192" y="127"/>
                    </a:lnTo>
                    <a:lnTo>
                      <a:pt x="188" y="127"/>
                    </a:lnTo>
                    <a:lnTo>
                      <a:pt x="192" y="127"/>
                    </a:lnTo>
                    <a:lnTo>
                      <a:pt x="194" y="127"/>
                    </a:lnTo>
                    <a:lnTo>
                      <a:pt x="197" y="127"/>
                    </a:lnTo>
                    <a:lnTo>
                      <a:pt x="201" y="127"/>
                    </a:lnTo>
                    <a:lnTo>
                      <a:pt x="203" y="127"/>
                    </a:lnTo>
                    <a:lnTo>
                      <a:pt x="206" y="127"/>
                    </a:lnTo>
                    <a:lnTo>
                      <a:pt x="210" y="127"/>
                    </a:lnTo>
                    <a:lnTo>
                      <a:pt x="212" y="127"/>
                    </a:lnTo>
                    <a:lnTo>
                      <a:pt x="214" y="127"/>
                    </a:lnTo>
                    <a:lnTo>
                      <a:pt x="218" y="127"/>
                    </a:lnTo>
                    <a:lnTo>
                      <a:pt x="220" y="130"/>
                    </a:lnTo>
                    <a:lnTo>
                      <a:pt x="223" y="132"/>
                    </a:lnTo>
                    <a:lnTo>
                      <a:pt x="226" y="132"/>
                    </a:lnTo>
                    <a:lnTo>
                      <a:pt x="229" y="132"/>
                    </a:lnTo>
                    <a:lnTo>
                      <a:pt x="231" y="132"/>
                    </a:lnTo>
                    <a:lnTo>
                      <a:pt x="233" y="132"/>
                    </a:lnTo>
                    <a:lnTo>
                      <a:pt x="236" y="133"/>
                    </a:lnTo>
                    <a:lnTo>
                      <a:pt x="239" y="132"/>
                    </a:lnTo>
                    <a:lnTo>
                      <a:pt x="237" y="129"/>
                    </a:lnTo>
                    <a:lnTo>
                      <a:pt x="235" y="127"/>
                    </a:lnTo>
                    <a:lnTo>
                      <a:pt x="237" y="126"/>
                    </a:lnTo>
                    <a:lnTo>
                      <a:pt x="235" y="126"/>
                    </a:lnTo>
                    <a:lnTo>
                      <a:pt x="231" y="126"/>
                    </a:lnTo>
                    <a:lnTo>
                      <a:pt x="229" y="126"/>
                    </a:lnTo>
                    <a:lnTo>
                      <a:pt x="223" y="126"/>
                    </a:lnTo>
                    <a:lnTo>
                      <a:pt x="220" y="126"/>
                    </a:lnTo>
                    <a:lnTo>
                      <a:pt x="218" y="125"/>
                    </a:lnTo>
                    <a:lnTo>
                      <a:pt x="214" y="125"/>
                    </a:lnTo>
                    <a:lnTo>
                      <a:pt x="212" y="125"/>
                    </a:lnTo>
                    <a:lnTo>
                      <a:pt x="206" y="125"/>
                    </a:lnTo>
                    <a:lnTo>
                      <a:pt x="203" y="125"/>
                    </a:lnTo>
                    <a:lnTo>
                      <a:pt x="201" y="125"/>
                    </a:lnTo>
                    <a:lnTo>
                      <a:pt x="197" y="124"/>
                    </a:lnTo>
                    <a:lnTo>
                      <a:pt x="195" y="124"/>
                    </a:lnTo>
                    <a:lnTo>
                      <a:pt x="192" y="122"/>
                    </a:lnTo>
                    <a:lnTo>
                      <a:pt x="195" y="122"/>
                    </a:lnTo>
                    <a:lnTo>
                      <a:pt x="198" y="122"/>
                    </a:lnTo>
                    <a:lnTo>
                      <a:pt x="201" y="122"/>
                    </a:lnTo>
                    <a:lnTo>
                      <a:pt x="201" y="119"/>
                    </a:lnTo>
                    <a:lnTo>
                      <a:pt x="203" y="121"/>
                    </a:lnTo>
                    <a:lnTo>
                      <a:pt x="206" y="122"/>
                    </a:lnTo>
                    <a:lnTo>
                      <a:pt x="210" y="122"/>
                    </a:lnTo>
                    <a:lnTo>
                      <a:pt x="212" y="122"/>
                    </a:lnTo>
                    <a:lnTo>
                      <a:pt x="214" y="122"/>
                    </a:lnTo>
                    <a:lnTo>
                      <a:pt x="218" y="121"/>
                    </a:lnTo>
                    <a:lnTo>
                      <a:pt x="214" y="119"/>
                    </a:lnTo>
                    <a:lnTo>
                      <a:pt x="212" y="119"/>
                    </a:lnTo>
                    <a:lnTo>
                      <a:pt x="210" y="119"/>
                    </a:lnTo>
                    <a:lnTo>
                      <a:pt x="206" y="118"/>
                    </a:lnTo>
                    <a:lnTo>
                      <a:pt x="204" y="117"/>
                    </a:lnTo>
                    <a:lnTo>
                      <a:pt x="206" y="118"/>
                    </a:lnTo>
                    <a:lnTo>
                      <a:pt x="210" y="117"/>
                    </a:lnTo>
                    <a:lnTo>
                      <a:pt x="212" y="118"/>
                    </a:lnTo>
                    <a:lnTo>
                      <a:pt x="215" y="118"/>
                    </a:lnTo>
                    <a:lnTo>
                      <a:pt x="218" y="120"/>
                    </a:lnTo>
                    <a:lnTo>
                      <a:pt x="221" y="119"/>
                    </a:lnTo>
                    <a:lnTo>
                      <a:pt x="223" y="120"/>
                    </a:lnTo>
                    <a:lnTo>
                      <a:pt x="226" y="121"/>
                    </a:lnTo>
                    <a:lnTo>
                      <a:pt x="229" y="121"/>
                    </a:lnTo>
                    <a:lnTo>
                      <a:pt x="231" y="121"/>
                    </a:lnTo>
                    <a:lnTo>
                      <a:pt x="231" y="119"/>
                    </a:lnTo>
                    <a:lnTo>
                      <a:pt x="235" y="119"/>
                    </a:lnTo>
                    <a:lnTo>
                      <a:pt x="237" y="119"/>
                    </a:lnTo>
                    <a:lnTo>
                      <a:pt x="240" y="119"/>
                    </a:lnTo>
                    <a:lnTo>
                      <a:pt x="244" y="119"/>
                    </a:lnTo>
                    <a:lnTo>
                      <a:pt x="246" y="119"/>
                    </a:lnTo>
                    <a:lnTo>
                      <a:pt x="246" y="116"/>
                    </a:lnTo>
                    <a:lnTo>
                      <a:pt x="248" y="118"/>
                    </a:lnTo>
                    <a:lnTo>
                      <a:pt x="252" y="118"/>
                    </a:lnTo>
                    <a:lnTo>
                      <a:pt x="255" y="118"/>
                    </a:lnTo>
                    <a:lnTo>
                      <a:pt x="257" y="116"/>
                    </a:lnTo>
                    <a:lnTo>
                      <a:pt x="257" y="113"/>
                    </a:lnTo>
                    <a:lnTo>
                      <a:pt x="254" y="111"/>
                    </a:lnTo>
                    <a:lnTo>
                      <a:pt x="252" y="110"/>
                    </a:lnTo>
                    <a:lnTo>
                      <a:pt x="248" y="110"/>
                    </a:lnTo>
                    <a:lnTo>
                      <a:pt x="246" y="109"/>
                    </a:lnTo>
                    <a:lnTo>
                      <a:pt x="243" y="109"/>
                    </a:lnTo>
                    <a:lnTo>
                      <a:pt x="239" y="109"/>
                    </a:lnTo>
                    <a:lnTo>
                      <a:pt x="237" y="109"/>
                    </a:lnTo>
                    <a:lnTo>
                      <a:pt x="233" y="107"/>
                    </a:lnTo>
                    <a:lnTo>
                      <a:pt x="239" y="107"/>
                    </a:lnTo>
                    <a:lnTo>
                      <a:pt x="243" y="105"/>
                    </a:lnTo>
                    <a:lnTo>
                      <a:pt x="245" y="105"/>
                    </a:lnTo>
                    <a:lnTo>
                      <a:pt x="252" y="108"/>
                    </a:lnTo>
                    <a:lnTo>
                      <a:pt x="254" y="108"/>
                    </a:lnTo>
                    <a:lnTo>
                      <a:pt x="257" y="108"/>
                    </a:lnTo>
                    <a:lnTo>
                      <a:pt x="260" y="108"/>
                    </a:lnTo>
                    <a:lnTo>
                      <a:pt x="260" y="110"/>
                    </a:lnTo>
                    <a:lnTo>
                      <a:pt x="263" y="112"/>
                    </a:lnTo>
                    <a:lnTo>
                      <a:pt x="265" y="112"/>
                    </a:lnTo>
                    <a:lnTo>
                      <a:pt x="269" y="112"/>
                    </a:lnTo>
                    <a:lnTo>
                      <a:pt x="271" y="112"/>
                    </a:lnTo>
                    <a:lnTo>
                      <a:pt x="274" y="111"/>
                    </a:lnTo>
                    <a:lnTo>
                      <a:pt x="277" y="111"/>
                    </a:lnTo>
                    <a:lnTo>
                      <a:pt x="280" y="110"/>
                    </a:lnTo>
                    <a:lnTo>
                      <a:pt x="282" y="110"/>
                    </a:lnTo>
                    <a:lnTo>
                      <a:pt x="286" y="108"/>
                    </a:lnTo>
                    <a:lnTo>
                      <a:pt x="287" y="105"/>
                    </a:lnTo>
                    <a:lnTo>
                      <a:pt x="283" y="105"/>
                    </a:lnTo>
                    <a:lnTo>
                      <a:pt x="281" y="105"/>
                    </a:lnTo>
                    <a:lnTo>
                      <a:pt x="283" y="103"/>
                    </a:lnTo>
                    <a:lnTo>
                      <a:pt x="287" y="103"/>
                    </a:lnTo>
                    <a:lnTo>
                      <a:pt x="290" y="103"/>
                    </a:lnTo>
                    <a:lnTo>
                      <a:pt x="291" y="102"/>
                    </a:lnTo>
                    <a:lnTo>
                      <a:pt x="290" y="102"/>
                    </a:lnTo>
                    <a:lnTo>
                      <a:pt x="292" y="100"/>
                    </a:lnTo>
                    <a:lnTo>
                      <a:pt x="290" y="98"/>
                    </a:lnTo>
                    <a:lnTo>
                      <a:pt x="284" y="99"/>
                    </a:lnTo>
                    <a:lnTo>
                      <a:pt x="281" y="100"/>
                    </a:lnTo>
                    <a:lnTo>
                      <a:pt x="278" y="100"/>
                    </a:lnTo>
                    <a:lnTo>
                      <a:pt x="275" y="100"/>
                    </a:lnTo>
                    <a:lnTo>
                      <a:pt x="272" y="101"/>
                    </a:lnTo>
                    <a:lnTo>
                      <a:pt x="270" y="101"/>
                    </a:lnTo>
                    <a:lnTo>
                      <a:pt x="266" y="100"/>
                    </a:lnTo>
                    <a:lnTo>
                      <a:pt x="272" y="100"/>
                    </a:lnTo>
                    <a:lnTo>
                      <a:pt x="270" y="98"/>
                    </a:lnTo>
                    <a:lnTo>
                      <a:pt x="266" y="96"/>
                    </a:lnTo>
                    <a:lnTo>
                      <a:pt x="269" y="96"/>
                    </a:lnTo>
                    <a:lnTo>
                      <a:pt x="272" y="96"/>
                    </a:lnTo>
                    <a:lnTo>
                      <a:pt x="274" y="99"/>
                    </a:lnTo>
                    <a:lnTo>
                      <a:pt x="278" y="99"/>
                    </a:lnTo>
                    <a:lnTo>
                      <a:pt x="280" y="98"/>
                    </a:lnTo>
                    <a:lnTo>
                      <a:pt x="283" y="98"/>
                    </a:lnTo>
                    <a:lnTo>
                      <a:pt x="286" y="96"/>
                    </a:lnTo>
                    <a:lnTo>
                      <a:pt x="289" y="96"/>
                    </a:lnTo>
                    <a:lnTo>
                      <a:pt x="291" y="96"/>
                    </a:lnTo>
                    <a:lnTo>
                      <a:pt x="298" y="96"/>
                    </a:lnTo>
                    <a:lnTo>
                      <a:pt x="299" y="93"/>
                    </a:lnTo>
                    <a:lnTo>
                      <a:pt x="296" y="93"/>
                    </a:lnTo>
                    <a:lnTo>
                      <a:pt x="293" y="92"/>
                    </a:lnTo>
                    <a:lnTo>
                      <a:pt x="293" y="89"/>
                    </a:lnTo>
                    <a:lnTo>
                      <a:pt x="291" y="86"/>
                    </a:lnTo>
                    <a:lnTo>
                      <a:pt x="293" y="86"/>
                    </a:lnTo>
                    <a:lnTo>
                      <a:pt x="296" y="89"/>
                    </a:lnTo>
                    <a:lnTo>
                      <a:pt x="296" y="92"/>
                    </a:lnTo>
                    <a:lnTo>
                      <a:pt x="299" y="92"/>
                    </a:lnTo>
                    <a:lnTo>
                      <a:pt x="303" y="91"/>
                    </a:lnTo>
                    <a:lnTo>
                      <a:pt x="305" y="91"/>
                    </a:lnTo>
                    <a:lnTo>
                      <a:pt x="308" y="90"/>
                    </a:lnTo>
                    <a:lnTo>
                      <a:pt x="310" y="87"/>
                    </a:lnTo>
                    <a:lnTo>
                      <a:pt x="313" y="85"/>
                    </a:lnTo>
                    <a:lnTo>
                      <a:pt x="316" y="83"/>
                    </a:lnTo>
                    <a:lnTo>
                      <a:pt x="318" y="81"/>
                    </a:lnTo>
                    <a:lnTo>
                      <a:pt x="322" y="79"/>
                    </a:lnTo>
                    <a:lnTo>
                      <a:pt x="325" y="78"/>
                    </a:lnTo>
                    <a:lnTo>
                      <a:pt x="327" y="77"/>
                    </a:lnTo>
                    <a:lnTo>
                      <a:pt x="331" y="75"/>
                    </a:lnTo>
                    <a:lnTo>
                      <a:pt x="333" y="75"/>
                    </a:lnTo>
                    <a:lnTo>
                      <a:pt x="337" y="73"/>
                    </a:lnTo>
                    <a:lnTo>
                      <a:pt x="339" y="72"/>
                    </a:lnTo>
                    <a:lnTo>
                      <a:pt x="342" y="70"/>
                    </a:lnTo>
                    <a:lnTo>
                      <a:pt x="344" y="70"/>
                    </a:lnTo>
                    <a:lnTo>
                      <a:pt x="348" y="68"/>
                    </a:lnTo>
                    <a:lnTo>
                      <a:pt x="350" y="66"/>
                    </a:lnTo>
                    <a:lnTo>
                      <a:pt x="352" y="65"/>
                    </a:lnTo>
                    <a:lnTo>
                      <a:pt x="356" y="64"/>
                    </a:lnTo>
                    <a:lnTo>
                      <a:pt x="359" y="62"/>
                    </a:lnTo>
                    <a:lnTo>
                      <a:pt x="361" y="62"/>
                    </a:lnTo>
                    <a:lnTo>
                      <a:pt x="365" y="61"/>
                    </a:lnTo>
                    <a:lnTo>
                      <a:pt x="367" y="60"/>
                    </a:lnTo>
                    <a:lnTo>
                      <a:pt x="371" y="59"/>
                    </a:lnTo>
                    <a:lnTo>
                      <a:pt x="373" y="58"/>
                    </a:lnTo>
                    <a:lnTo>
                      <a:pt x="375" y="56"/>
                    </a:lnTo>
                    <a:lnTo>
                      <a:pt x="375" y="53"/>
                    </a:lnTo>
                    <a:lnTo>
                      <a:pt x="369" y="53"/>
                    </a:lnTo>
                    <a:lnTo>
                      <a:pt x="366" y="53"/>
                    </a:lnTo>
                    <a:lnTo>
                      <a:pt x="364" y="53"/>
                    </a:lnTo>
                    <a:lnTo>
                      <a:pt x="361" y="55"/>
                    </a:lnTo>
                    <a:lnTo>
                      <a:pt x="358" y="55"/>
                    </a:lnTo>
                    <a:lnTo>
                      <a:pt x="356" y="56"/>
                    </a:lnTo>
                    <a:lnTo>
                      <a:pt x="352" y="56"/>
                    </a:lnTo>
                    <a:lnTo>
                      <a:pt x="350" y="57"/>
                    </a:lnTo>
                    <a:lnTo>
                      <a:pt x="347" y="57"/>
                    </a:lnTo>
                    <a:lnTo>
                      <a:pt x="340" y="58"/>
                    </a:lnTo>
                    <a:lnTo>
                      <a:pt x="338" y="58"/>
                    </a:lnTo>
                    <a:lnTo>
                      <a:pt x="334" y="59"/>
                    </a:lnTo>
                    <a:lnTo>
                      <a:pt x="332" y="60"/>
                    </a:lnTo>
                    <a:lnTo>
                      <a:pt x="330" y="60"/>
                    </a:lnTo>
                    <a:lnTo>
                      <a:pt x="326" y="61"/>
                    </a:lnTo>
                    <a:lnTo>
                      <a:pt x="324" y="61"/>
                    </a:lnTo>
                    <a:lnTo>
                      <a:pt x="321" y="62"/>
                    </a:lnTo>
                    <a:lnTo>
                      <a:pt x="318" y="62"/>
                    </a:lnTo>
                    <a:lnTo>
                      <a:pt x="315" y="64"/>
                    </a:lnTo>
                    <a:lnTo>
                      <a:pt x="313" y="64"/>
                    </a:lnTo>
                    <a:lnTo>
                      <a:pt x="309" y="65"/>
                    </a:lnTo>
                    <a:lnTo>
                      <a:pt x="306" y="65"/>
                    </a:lnTo>
                    <a:lnTo>
                      <a:pt x="304" y="66"/>
                    </a:lnTo>
                    <a:lnTo>
                      <a:pt x="300" y="67"/>
                    </a:lnTo>
                    <a:lnTo>
                      <a:pt x="299" y="67"/>
                    </a:lnTo>
                    <a:lnTo>
                      <a:pt x="303" y="66"/>
                    </a:lnTo>
                    <a:lnTo>
                      <a:pt x="299" y="66"/>
                    </a:lnTo>
                    <a:lnTo>
                      <a:pt x="297" y="65"/>
                    </a:lnTo>
                    <a:lnTo>
                      <a:pt x="299" y="65"/>
                    </a:lnTo>
                    <a:lnTo>
                      <a:pt x="305" y="64"/>
                    </a:lnTo>
                    <a:lnTo>
                      <a:pt x="308" y="62"/>
                    </a:lnTo>
                    <a:lnTo>
                      <a:pt x="312" y="62"/>
                    </a:lnTo>
                    <a:lnTo>
                      <a:pt x="314" y="62"/>
                    </a:lnTo>
                    <a:lnTo>
                      <a:pt x="317" y="61"/>
                    </a:lnTo>
                    <a:lnTo>
                      <a:pt x="321" y="61"/>
                    </a:lnTo>
                    <a:lnTo>
                      <a:pt x="323" y="60"/>
                    </a:lnTo>
                    <a:lnTo>
                      <a:pt x="326" y="59"/>
                    </a:lnTo>
                    <a:lnTo>
                      <a:pt x="330" y="58"/>
                    </a:lnTo>
                    <a:lnTo>
                      <a:pt x="332" y="58"/>
                    </a:lnTo>
                    <a:lnTo>
                      <a:pt x="334" y="57"/>
                    </a:lnTo>
                    <a:lnTo>
                      <a:pt x="338" y="56"/>
                    </a:lnTo>
                    <a:lnTo>
                      <a:pt x="340" y="56"/>
                    </a:lnTo>
                    <a:lnTo>
                      <a:pt x="343" y="55"/>
                    </a:lnTo>
                    <a:lnTo>
                      <a:pt x="347" y="53"/>
                    </a:lnTo>
                    <a:lnTo>
                      <a:pt x="343" y="53"/>
                    </a:lnTo>
                    <a:lnTo>
                      <a:pt x="340" y="52"/>
                    </a:lnTo>
                    <a:lnTo>
                      <a:pt x="338" y="52"/>
                    </a:lnTo>
                    <a:lnTo>
                      <a:pt x="334" y="52"/>
                    </a:lnTo>
                    <a:lnTo>
                      <a:pt x="332" y="52"/>
                    </a:lnTo>
                    <a:lnTo>
                      <a:pt x="329" y="53"/>
                    </a:lnTo>
                    <a:lnTo>
                      <a:pt x="325" y="53"/>
                    </a:lnTo>
                    <a:lnTo>
                      <a:pt x="323" y="53"/>
                    </a:lnTo>
                    <a:lnTo>
                      <a:pt x="320" y="53"/>
                    </a:lnTo>
                    <a:lnTo>
                      <a:pt x="317" y="53"/>
                    </a:lnTo>
                    <a:lnTo>
                      <a:pt x="321" y="53"/>
                    </a:lnTo>
                    <a:lnTo>
                      <a:pt x="317" y="50"/>
                    </a:lnTo>
                    <a:lnTo>
                      <a:pt x="312" y="49"/>
                    </a:lnTo>
                    <a:lnTo>
                      <a:pt x="314" y="49"/>
                    </a:lnTo>
                    <a:lnTo>
                      <a:pt x="317" y="50"/>
                    </a:lnTo>
                    <a:lnTo>
                      <a:pt x="321" y="51"/>
                    </a:lnTo>
                    <a:lnTo>
                      <a:pt x="323" y="52"/>
                    </a:lnTo>
                    <a:lnTo>
                      <a:pt x="325" y="52"/>
                    </a:lnTo>
                    <a:lnTo>
                      <a:pt x="329" y="52"/>
                    </a:lnTo>
                    <a:lnTo>
                      <a:pt x="332" y="51"/>
                    </a:lnTo>
                    <a:lnTo>
                      <a:pt x="334" y="51"/>
                    </a:lnTo>
                    <a:lnTo>
                      <a:pt x="338" y="51"/>
                    </a:lnTo>
                    <a:lnTo>
                      <a:pt x="340" y="51"/>
                    </a:lnTo>
                    <a:lnTo>
                      <a:pt x="343" y="51"/>
                    </a:lnTo>
                    <a:lnTo>
                      <a:pt x="346" y="50"/>
                    </a:lnTo>
                    <a:lnTo>
                      <a:pt x="349" y="50"/>
                    </a:lnTo>
                    <a:lnTo>
                      <a:pt x="351" y="50"/>
                    </a:lnTo>
                    <a:lnTo>
                      <a:pt x="355" y="49"/>
                    </a:lnTo>
                    <a:lnTo>
                      <a:pt x="357" y="50"/>
                    </a:lnTo>
                    <a:lnTo>
                      <a:pt x="360" y="49"/>
                    </a:lnTo>
                    <a:lnTo>
                      <a:pt x="363" y="49"/>
                    </a:lnTo>
                    <a:lnTo>
                      <a:pt x="360" y="49"/>
                    </a:lnTo>
                    <a:lnTo>
                      <a:pt x="355" y="49"/>
                    </a:lnTo>
                    <a:lnTo>
                      <a:pt x="357" y="48"/>
                    </a:lnTo>
                    <a:lnTo>
                      <a:pt x="360" y="48"/>
                    </a:lnTo>
                    <a:lnTo>
                      <a:pt x="363" y="47"/>
                    </a:lnTo>
                    <a:lnTo>
                      <a:pt x="366" y="47"/>
                    </a:lnTo>
                    <a:lnTo>
                      <a:pt x="368" y="47"/>
                    </a:lnTo>
                    <a:lnTo>
                      <a:pt x="372" y="47"/>
                    </a:lnTo>
                    <a:lnTo>
                      <a:pt x="374" y="47"/>
                    </a:lnTo>
                    <a:lnTo>
                      <a:pt x="377" y="47"/>
                    </a:lnTo>
                    <a:lnTo>
                      <a:pt x="380" y="47"/>
                    </a:lnTo>
                    <a:lnTo>
                      <a:pt x="383" y="44"/>
                    </a:lnTo>
                    <a:lnTo>
                      <a:pt x="385" y="44"/>
                    </a:lnTo>
                    <a:lnTo>
                      <a:pt x="389" y="42"/>
                    </a:lnTo>
                    <a:lnTo>
                      <a:pt x="391" y="42"/>
                    </a:lnTo>
                    <a:lnTo>
                      <a:pt x="394" y="41"/>
                    </a:lnTo>
                    <a:lnTo>
                      <a:pt x="397" y="40"/>
                    </a:lnTo>
                    <a:lnTo>
                      <a:pt x="400" y="40"/>
                    </a:lnTo>
                    <a:lnTo>
                      <a:pt x="402" y="39"/>
                    </a:lnTo>
                    <a:lnTo>
                      <a:pt x="406" y="38"/>
                    </a:lnTo>
                    <a:lnTo>
                      <a:pt x="408" y="36"/>
                    </a:lnTo>
                    <a:lnTo>
                      <a:pt x="414" y="33"/>
                    </a:lnTo>
                    <a:lnTo>
                      <a:pt x="417" y="32"/>
                    </a:lnTo>
                    <a:lnTo>
                      <a:pt x="419" y="31"/>
                    </a:lnTo>
                    <a:lnTo>
                      <a:pt x="423" y="28"/>
                    </a:lnTo>
                    <a:lnTo>
                      <a:pt x="421" y="25"/>
                    </a:lnTo>
                    <a:close/>
                    <a:moveTo>
                      <a:pt x="99" y="166"/>
                    </a:moveTo>
                    <a:lnTo>
                      <a:pt x="101" y="166"/>
                    </a:lnTo>
                    <a:lnTo>
                      <a:pt x="99" y="167"/>
                    </a:lnTo>
                    <a:lnTo>
                      <a:pt x="98" y="167"/>
                    </a:lnTo>
                    <a:lnTo>
                      <a:pt x="101" y="166"/>
                    </a:lnTo>
                    <a:lnTo>
                      <a:pt x="96" y="166"/>
                    </a:lnTo>
                    <a:lnTo>
                      <a:pt x="99"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2" name="Freeform 208">
                <a:extLst>
                  <a:ext uri="{FF2B5EF4-FFF2-40B4-BE49-F238E27FC236}">
                    <a16:creationId xmlns:a16="http://schemas.microsoft.com/office/drawing/2014/main" id="{8469F663-82E5-3A46-B52A-19467347A2E0}"/>
                  </a:ext>
                </a:extLst>
              </p:cNvPr>
              <p:cNvSpPr>
                <a:spLocks noEditPoints="1"/>
              </p:cNvSpPr>
              <p:nvPr/>
            </p:nvSpPr>
            <p:spPr bwMode="auto">
              <a:xfrm>
                <a:off x="3143250" y="3273425"/>
                <a:ext cx="1382712" cy="246063"/>
              </a:xfrm>
              <a:custGeom>
                <a:avLst/>
                <a:gdLst>
                  <a:gd name="T0" fmla="*/ 25 w 871"/>
                  <a:gd name="T1" fmla="*/ 26 h 155"/>
                  <a:gd name="T2" fmla="*/ 29 w 871"/>
                  <a:gd name="T3" fmla="*/ 31 h 155"/>
                  <a:gd name="T4" fmla="*/ 26 w 871"/>
                  <a:gd name="T5" fmla="*/ 29 h 155"/>
                  <a:gd name="T6" fmla="*/ 26 w 871"/>
                  <a:gd name="T7" fmla="*/ 24 h 155"/>
                  <a:gd name="T8" fmla="*/ 5 w 871"/>
                  <a:gd name="T9" fmla="*/ 5 h 155"/>
                  <a:gd name="T10" fmla="*/ 0 w 871"/>
                  <a:gd name="T11" fmla="*/ 0 h 155"/>
                  <a:gd name="T12" fmla="*/ 4 w 871"/>
                  <a:gd name="T13" fmla="*/ 5 h 155"/>
                  <a:gd name="T14" fmla="*/ 5 w 871"/>
                  <a:gd name="T15" fmla="*/ 5 h 155"/>
                  <a:gd name="T16" fmla="*/ 29 w 871"/>
                  <a:gd name="T17" fmla="*/ 30 h 155"/>
                  <a:gd name="T18" fmla="*/ 28 w 871"/>
                  <a:gd name="T19" fmla="*/ 27 h 155"/>
                  <a:gd name="T20" fmla="*/ 411 w 871"/>
                  <a:gd name="T21" fmla="*/ 9 h 155"/>
                  <a:gd name="T22" fmla="*/ 411 w 871"/>
                  <a:gd name="T23" fmla="*/ 9 h 155"/>
                  <a:gd name="T24" fmla="*/ 464 w 871"/>
                  <a:gd name="T25" fmla="*/ 50 h 155"/>
                  <a:gd name="T26" fmla="*/ 464 w 871"/>
                  <a:gd name="T27" fmla="*/ 50 h 155"/>
                  <a:gd name="T28" fmla="*/ 503 w 871"/>
                  <a:gd name="T29" fmla="*/ 16 h 155"/>
                  <a:gd name="T30" fmla="*/ 503 w 871"/>
                  <a:gd name="T31" fmla="*/ 16 h 155"/>
                  <a:gd name="T32" fmla="*/ 503 w 871"/>
                  <a:gd name="T33" fmla="*/ 16 h 155"/>
                  <a:gd name="T34" fmla="*/ 497 w 871"/>
                  <a:gd name="T35" fmla="*/ 44 h 155"/>
                  <a:gd name="T36" fmla="*/ 491 w 871"/>
                  <a:gd name="T37" fmla="*/ 46 h 155"/>
                  <a:gd name="T38" fmla="*/ 495 w 871"/>
                  <a:gd name="T39" fmla="*/ 41 h 155"/>
                  <a:gd name="T40" fmla="*/ 500 w 871"/>
                  <a:gd name="T41" fmla="*/ 40 h 155"/>
                  <a:gd name="T42" fmla="*/ 500 w 871"/>
                  <a:gd name="T43" fmla="*/ 41 h 155"/>
                  <a:gd name="T44" fmla="*/ 499 w 871"/>
                  <a:gd name="T45" fmla="*/ 42 h 155"/>
                  <a:gd name="T46" fmla="*/ 557 w 871"/>
                  <a:gd name="T47" fmla="*/ 61 h 155"/>
                  <a:gd name="T48" fmla="*/ 555 w 871"/>
                  <a:gd name="T49" fmla="*/ 63 h 155"/>
                  <a:gd name="T50" fmla="*/ 556 w 871"/>
                  <a:gd name="T51" fmla="*/ 64 h 155"/>
                  <a:gd name="T52" fmla="*/ 561 w 871"/>
                  <a:gd name="T53" fmla="*/ 66 h 155"/>
                  <a:gd name="T54" fmla="*/ 558 w 871"/>
                  <a:gd name="T55" fmla="*/ 64 h 155"/>
                  <a:gd name="T56" fmla="*/ 559 w 871"/>
                  <a:gd name="T57" fmla="*/ 64 h 155"/>
                  <a:gd name="T58" fmla="*/ 587 w 871"/>
                  <a:gd name="T59" fmla="*/ 72 h 155"/>
                  <a:gd name="T60" fmla="*/ 583 w 871"/>
                  <a:gd name="T61" fmla="*/ 67 h 155"/>
                  <a:gd name="T62" fmla="*/ 579 w 871"/>
                  <a:gd name="T63" fmla="*/ 67 h 155"/>
                  <a:gd name="T64" fmla="*/ 573 w 871"/>
                  <a:gd name="T65" fmla="*/ 68 h 155"/>
                  <a:gd name="T66" fmla="*/ 568 w 871"/>
                  <a:gd name="T67" fmla="*/ 66 h 155"/>
                  <a:gd name="T68" fmla="*/ 568 w 871"/>
                  <a:gd name="T69" fmla="*/ 68 h 155"/>
                  <a:gd name="T70" fmla="*/ 573 w 871"/>
                  <a:gd name="T71" fmla="*/ 69 h 155"/>
                  <a:gd name="T72" fmla="*/ 579 w 871"/>
                  <a:gd name="T73" fmla="*/ 72 h 155"/>
                  <a:gd name="T74" fmla="*/ 584 w 871"/>
                  <a:gd name="T75" fmla="*/ 70 h 155"/>
                  <a:gd name="T76" fmla="*/ 584 w 871"/>
                  <a:gd name="T77" fmla="*/ 74 h 155"/>
                  <a:gd name="T78" fmla="*/ 658 w 871"/>
                  <a:gd name="T79" fmla="*/ 95 h 155"/>
                  <a:gd name="T80" fmla="*/ 659 w 871"/>
                  <a:gd name="T81" fmla="*/ 95 h 155"/>
                  <a:gd name="T82" fmla="*/ 658 w 871"/>
                  <a:gd name="T83" fmla="*/ 95 h 155"/>
                  <a:gd name="T84" fmla="*/ 733 w 871"/>
                  <a:gd name="T85" fmla="*/ 50 h 155"/>
                  <a:gd name="T86" fmla="*/ 735 w 871"/>
                  <a:gd name="T87" fmla="*/ 48 h 155"/>
                  <a:gd name="T88" fmla="*/ 729 w 871"/>
                  <a:gd name="T89" fmla="*/ 138 h 155"/>
                  <a:gd name="T90" fmla="*/ 729 w 871"/>
                  <a:gd name="T91" fmla="*/ 138 h 155"/>
                  <a:gd name="T92" fmla="*/ 729 w 871"/>
                  <a:gd name="T93" fmla="*/ 138 h 155"/>
                  <a:gd name="T94" fmla="*/ 696 w 871"/>
                  <a:gd name="T95" fmla="*/ 154 h 155"/>
                  <a:gd name="T96" fmla="*/ 691 w 871"/>
                  <a:gd name="T97" fmla="*/ 155 h 155"/>
                  <a:gd name="T98" fmla="*/ 694 w 871"/>
                  <a:gd name="T99" fmla="*/ 152 h 155"/>
                  <a:gd name="T100" fmla="*/ 700 w 871"/>
                  <a:gd name="T101" fmla="*/ 151 h 155"/>
                  <a:gd name="T102" fmla="*/ 706 w 871"/>
                  <a:gd name="T103" fmla="*/ 150 h 155"/>
                  <a:gd name="T104" fmla="*/ 711 w 871"/>
                  <a:gd name="T105" fmla="*/ 149 h 155"/>
                  <a:gd name="T106" fmla="*/ 711 w 871"/>
                  <a:gd name="T107" fmla="*/ 150 h 155"/>
                  <a:gd name="T108" fmla="*/ 716 w 871"/>
                  <a:gd name="T109" fmla="*/ 147 h 155"/>
                  <a:gd name="T110" fmla="*/ 713 w 871"/>
                  <a:gd name="T111" fmla="*/ 151 h 155"/>
                  <a:gd name="T112" fmla="*/ 708 w 871"/>
                  <a:gd name="T113" fmla="*/ 152 h 155"/>
                  <a:gd name="T114" fmla="*/ 703 w 871"/>
                  <a:gd name="T115" fmla="*/ 154 h 155"/>
                  <a:gd name="T116" fmla="*/ 700 w 871"/>
                  <a:gd name="T117" fmla="*/ 154 h 155"/>
                  <a:gd name="T118" fmla="*/ 871 w 871"/>
                  <a:gd name="T119" fmla="*/ 73 h 155"/>
                  <a:gd name="T120" fmla="*/ 871 w 871"/>
                  <a:gd name="T121" fmla="*/ 73 h 155"/>
                  <a:gd name="T122" fmla="*/ 871 w 871"/>
                  <a:gd name="T123" fmla="*/ 7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1" h="155">
                    <a:moveTo>
                      <a:pt x="26" y="24"/>
                    </a:moveTo>
                    <a:lnTo>
                      <a:pt x="25" y="26"/>
                    </a:lnTo>
                    <a:lnTo>
                      <a:pt x="27" y="30"/>
                    </a:lnTo>
                    <a:lnTo>
                      <a:pt x="29" y="31"/>
                    </a:lnTo>
                    <a:lnTo>
                      <a:pt x="27" y="31"/>
                    </a:lnTo>
                    <a:lnTo>
                      <a:pt x="26" y="29"/>
                    </a:lnTo>
                    <a:lnTo>
                      <a:pt x="25" y="25"/>
                    </a:lnTo>
                    <a:lnTo>
                      <a:pt x="26" y="24"/>
                    </a:lnTo>
                    <a:lnTo>
                      <a:pt x="26" y="24"/>
                    </a:lnTo>
                    <a:close/>
                    <a:moveTo>
                      <a:pt x="5" y="5"/>
                    </a:moveTo>
                    <a:lnTo>
                      <a:pt x="2" y="1"/>
                    </a:lnTo>
                    <a:lnTo>
                      <a:pt x="0" y="0"/>
                    </a:lnTo>
                    <a:lnTo>
                      <a:pt x="2" y="3"/>
                    </a:lnTo>
                    <a:lnTo>
                      <a:pt x="4" y="5"/>
                    </a:lnTo>
                    <a:lnTo>
                      <a:pt x="5" y="5"/>
                    </a:lnTo>
                    <a:lnTo>
                      <a:pt x="5" y="5"/>
                    </a:lnTo>
                    <a:close/>
                    <a:moveTo>
                      <a:pt x="28" y="27"/>
                    </a:moveTo>
                    <a:lnTo>
                      <a:pt x="29" y="30"/>
                    </a:lnTo>
                    <a:lnTo>
                      <a:pt x="27" y="27"/>
                    </a:lnTo>
                    <a:lnTo>
                      <a:pt x="28" y="27"/>
                    </a:lnTo>
                    <a:lnTo>
                      <a:pt x="28" y="27"/>
                    </a:lnTo>
                    <a:close/>
                    <a:moveTo>
                      <a:pt x="411" y="9"/>
                    </a:moveTo>
                    <a:lnTo>
                      <a:pt x="409" y="12"/>
                    </a:lnTo>
                    <a:lnTo>
                      <a:pt x="411" y="9"/>
                    </a:lnTo>
                    <a:lnTo>
                      <a:pt x="411" y="9"/>
                    </a:lnTo>
                    <a:close/>
                    <a:moveTo>
                      <a:pt x="464" y="50"/>
                    </a:moveTo>
                    <a:lnTo>
                      <a:pt x="461" y="52"/>
                    </a:lnTo>
                    <a:lnTo>
                      <a:pt x="464" y="50"/>
                    </a:lnTo>
                    <a:lnTo>
                      <a:pt x="464" y="50"/>
                    </a:lnTo>
                    <a:close/>
                    <a:moveTo>
                      <a:pt x="503" y="16"/>
                    </a:moveTo>
                    <a:lnTo>
                      <a:pt x="500" y="17"/>
                    </a:lnTo>
                    <a:lnTo>
                      <a:pt x="503" y="16"/>
                    </a:lnTo>
                    <a:lnTo>
                      <a:pt x="503" y="16"/>
                    </a:lnTo>
                    <a:lnTo>
                      <a:pt x="503" y="16"/>
                    </a:lnTo>
                    <a:close/>
                    <a:moveTo>
                      <a:pt x="499" y="42"/>
                    </a:moveTo>
                    <a:lnTo>
                      <a:pt x="497" y="44"/>
                    </a:lnTo>
                    <a:lnTo>
                      <a:pt x="495" y="47"/>
                    </a:lnTo>
                    <a:lnTo>
                      <a:pt x="491" y="46"/>
                    </a:lnTo>
                    <a:lnTo>
                      <a:pt x="493" y="43"/>
                    </a:lnTo>
                    <a:lnTo>
                      <a:pt x="495" y="41"/>
                    </a:lnTo>
                    <a:lnTo>
                      <a:pt x="498" y="40"/>
                    </a:lnTo>
                    <a:lnTo>
                      <a:pt x="500" y="40"/>
                    </a:lnTo>
                    <a:lnTo>
                      <a:pt x="503" y="41"/>
                    </a:lnTo>
                    <a:lnTo>
                      <a:pt x="500" y="41"/>
                    </a:lnTo>
                    <a:lnTo>
                      <a:pt x="499" y="42"/>
                    </a:lnTo>
                    <a:lnTo>
                      <a:pt x="499" y="42"/>
                    </a:lnTo>
                    <a:close/>
                    <a:moveTo>
                      <a:pt x="556" y="64"/>
                    </a:moveTo>
                    <a:lnTo>
                      <a:pt x="557" y="61"/>
                    </a:lnTo>
                    <a:lnTo>
                      <a:pt x="554" y="60"/>
                    </a:lnTo>
                    <a:lnTo>
                      <a:pt x="555" y="63"/>
                    </a:lnTo>
                    <a:lnTo>
                      <a:pt x="556" y="64"/>
                    </a:lnTo>
                    <a:lnTo>
                      <a:pt x="556" y="64"/>
                    </a:lnTo>
                    <a:close/>
                    <a:moveTo>
                      <a:pt x="559" y="64"/>
                    </a:moveTo>
                    <a:lnTo>
                      <a:pt x="561" y="66"/>
                    </a:lnTo>
                    <a:lnTo>
                      <a:pt x="558" y="67"/>
                    </a:lnTo>
                    <a:lnTo>
                      <a:pt x="558" y="64"/>
                    </a:lnTo>
                    <a:lnTo>
                      <a:pt x="559" y="64"/>
                    </a:lnTo>
                    <a:lnTo>
                      <a:pt x="559" y="64"/>
                    </a:lnTo>
                    <a:close/>
                    <a:moveTo>
                      <a:pt x="584" y="74"/>
                    </a:moveTo>
                    <a:lnTo>
                      <a:pt x="587" y="72"/>
                    </a:lnTo>
                    <a:lnTo>
                      <a:pt x="587" y="68"/>
                    </a:lnTo>
                    <a:lnTo>
                      <a:pt x="583" y="67"/>
                    </a:lnTo>
                    <a:lnTo>
                      <a:pt x="581" y="66"/>
                    </a:lnTo>
                    <a:lnTo>
                      <a:pt x="579" y="67"/>
                    </a:lnTo>
                    <a:lnTo>
                      <a:pt x="575" y="67"/>
                    </a:lnTo>
                    <a:lnTo>
                      <a:pt x="573" y="68"/>
                    </a:lnTo>
                    <a:lnTo>
                      <a:pt x="571" y="66"/>
                    </a:lnTo>
                    <a:lnTo>
                      <a:pt x="568" y="66"/>
                    </a:lnTo>
                    <a:lnTo>
                      <a:pt x="565" y="67"/>
                    </a:lnTo>
                    <a:lnTo>
                      <a:pt x="568" y="68"/>
                    </a:lnTo>
                    <a:lnTo>
                      <a:pt x="571" y="69"/>
                    </a:lnTo>
                    <a:lnTo>
                      <a:pt x="573" y="69"/>
                    </a:lnTo>
                    <a:lnTo>
                      <a:pt x="576" y="70"/>
                    </a:lnTo>
                    <a:lnTo>
                      <a:pt x="579" y="72"/>
                    </a:lnTo>
                    <a:lnTo>
                      <a:pt x="581" y="73"/>
                    </a:lnTo>
                    <a:lnTo>
                      <a:pt x="584" y="70"/>
                    </a:lnTo>
                    <a:lnTo>
                      <a:pt x="583" y="74"/>
                    </a:lnTo>
                    <a:lnTo>
                      <a:pt x="584" y="74"/>
                    </a:lnTo>
                    <a:lnTo>
                      <a:pt x="584" y="74"/>
                    </a:lnTo>
                    <a:close/>
                    <a:moveTo>
                      <a:pt x="658" y="95"/>
                    </a:moveTo>
                    <a:lnTo>
                      <a:pt x="661" y="95"/>
                    </a:lnTo>
                    <a:lnTo>
                      <a:pt x="659" y="95"/>
                    </a:lnTo>
                    <a:lnTo>
                      <a:pt x="658" y="95"/>
                    </a:lnTo>
                    <a:lnTo>
                      <a:pt x="658" y="95"/>
                    </a:lnTo>
                    <a:close/>
                    <a:moveTo>
                      <a:pt x="735" y="48"/>
                    </a:moveTo>
                    <a:lnTo>
                      <a:pt x="733" y="50"/>
                    </a:lnTo>
                    <a:lnTo>
                      <a:pt x="734" y="48"/>
                    </a:lnTo>
                    <a:lnTo>
                      <a:pt x="735" y="48"/>
                    </a:lnTo>
                    <a:lnTo>
                      <a:pt x="735" y="48"/>
                    </a:lnTo>
                    <a:close/>
                    <a:moveTo>
                      <a:pt x="729" y="138"/>
                    </a:moveTo>
                    <a:lnTo>
                      <a:pt x="728" y="141"/>
                    </a:lnTo>
                    <a:lnTo>
                      <a:pt x="729" y="138"/>
                    </a:lnTo>
                    <a:lnTo>
                      <a:pt x="729" y="138"/>
                    </a:lnTo>
                    <a:lnTo>
                      <a:pt x="729" y="138"/>
                    </a:lnTo>
                    <a:close/>
                    <a:moveTo>
                      <a:pt x="700" y="154"/>
                    </a:moveTo>
                    <a:lnTo>
                      <a:pt x="696" y="154"/>
                    </a:lnTo>
                    <a:lnTo>
                      <a:pt x="694" y="155"/>
                    </a:lnTo>
                    <a:lnTo>
                      <a:pt x="691" y="155"/>
                    </a:lnTo>
                    <a:lnTo>
                      <a:pt x="692" y="153"/>
                    </a:lnTo>
                    <a:lnTo>
                      <a:pt x="694" y="152"/>
                    </a:lnTo>
                    <a:lnTo>
                      <a:pt x="698" y="150"/>
                    </a:lnTo>
                    <a:lnTo>
                      <a:pt x="700" y="151"/>
                    </a:lnTo>
                    <a:lnTo>
                      <a:pt x="703" y="150"/>
                    </a:lnTo>
                    <a:lnTo>
                      <a:pt x="706" y="150"/>
                    </a:lnTo>
                    <a:lnTo>
                      <a:pt x="708" y="150"/>
                    </a:lnTo>
                    <a:lnTo>
                      <a:pt x="711" y="149"/>
                    </a:lnTo>
                    <a:lnTo>
                      <a:pt x="713" y="147"/>
                    </a:lnTo>
                    <a:lnTo>
                      <a:pt x="711" y="150"/>
                    </a:lnTo>
                    <a:lnTo>
                      <a:pt x="713" y="149"/>
                    </a:lnTo>
                    <a:lnTo>
                      <a:pt x="716" y="147"/>
                    </a:lnTo>
                    <a:lnTo>
                      <a:pt x="719" y="149"/>
                    </a:lnTo>
                    <a:lnTo>
                      <a:pt x="713" y="151"/>
                    </a:lnTo>
                    <a:lnTo>
                      <a:pt x="711" y="152"/>
                    </a:lnTo>
                    <a:lnTo>
                      <a:pt x="708" y="152"/>
                    </a:lnTo>
                    <a:lnTo>
                      <a:pt x="706" y="153"/>
                    </a:lnTo>
                    <a:lnTo>
                      <a:pt x="703" y="154"/>
                    </a:lnTo>
                    <a:lnTo>
                      <a:pt x="700" y="154"/>
                    </a:lnTo>
                    <a:lnTo>
                      <a:pt x="700" y="154"/>
                    </a:lnTo>
                    <a:lnTo>
                      <a:pt x="700" y="154"/>
                    </a:lnTo>
                    <a:close/>
                    <a:moveTo>
                      <a:pt x="871" y="73"/>
                    </a:moveTo>
                    <a:lnTo>
                      <a:pt x="867" y="74"/>
                    </a:lnTo>
                    <a:lnTo>
                      <a:pt x="871" y="73"/>
                    </a:lnTo>
                    <a:lnTo>
                      <a:pt x="871" y="73"/>
                    </a:lnTo>
                    <a:lnTo>
                      <a:pt x="87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3" name="Freeform 209">
                <a:extLst>
                  <a:ext uri="{FF2B5EF4-FFF2-40B4-BE49-F238E27FC236}">
                    <a16:creationId xmlns:a16="http://schemas.microsoft.com/office/drawing/2014/main" id="{BC757E79-0888-A7B8-9541-4CDD2979C6F9}"/>
                  </a:ext>
                </a:extLst>
              </p:cNvPr>
              <p:cNvSpPr>
                <a:spLocks noEditPoints="1"/>
              </p:cNvSpPr>
              <p:nvPr/>
            </p:nvSpPr>
            <p:spPr bwMode="auto">
              <a:xfrm>
                <a:off x="2484438" y="3016250"/>
                <a:ext cx="534987" cy="109538"/>
              </a:xfrm>
              <a:custGeom>
                <a:avLst/>
                <a:gdLst>
                  <a:gd name="T0" fmla="*/ 22 w 337"/>
                  <a:gd name="T1" fmla="*/ 23 h 69"/>
                  <a:gd name="T2" fmla="*/ 27 w 337"/>
                  <a:gd name="T3" fmla="*/ 21 h 69"/>
                  <a:gd name="T4" fmla="*/ 27 w 337"/>
                  <a:gd name="T5" fmla="*/ 17 h 69"/>
                  <a:gd name="T6" fmla="*/ 27 w 337"/>
                  <a:gd name="T7" fmla="*/ 17 h 69"/>
                  <a:gd name="T8" fmla="*/ 33 w 337"/>
                  <a:gd name="T9" fmla="*/ 18 h 69"/>
                  <a:gd name="T10" fmla="*/ 33 w 337"/>
                  <a:gd name="T11" fmla="*/ 15 h 69"/>
                  <a:gd name="T12" fmla="*/ 32 w 337"/>
                  <a:gd name="T13" fmla="*/ 9 h 69"/>
                  <a:gd name="T14" fmla="*/ 26 w 337"/>
                  <a:gd name="T15" fmla="*/ 11 h 69"/>
                  <a:gd name="T16" fmla="*/ 21 w 337"/>
                  <a:gd name="T17" fmla="*/ 7 h 69"/>
                  <a:gd name="T18" fmla="*/ 22 w 337"/>
                  <a:gd name="T19" fmla="*/ 13 h 69"/>
                  <a:gd name="T20" fmla="*/ 18 w 337"/>
                  <a:gd name="T21" fmla="*/ 13 h 69"/>
                  <a:gd name="T22" fmla="*/ 14 w 337"/>
                  <a:gd name="T23" fmla="*/ 9 h 69"/>
                  <a:gd name="T24" fmla="*/ 14 w 337"/>
                  <a:gd name="T25" fmla="*/ 13 h 69"/>
                  <a:gd name="T26" fmla="*/ 13 w 337"/>
                  <a:gd name="T27" fmla="*/ 18 h 69"/>
                  <a:gd name="T28" fmla="*/ 13 w 337"/>
                  <a:gd name="T29" fmla="*/ 20 h 69"/>
                  <a:gd name="T30" fmla="*/ 10 w 337"/>
                  <a:gd name="T31" fmla="*/ 14 h 69"/>
                  <a:gd name="T32" fmla="*/ 3 w 337"/>
                  <a:gd name="T33" fmla="*/ 17 h 69"/>
                  <a:gd name="T34" fmla="*/ 3 w 337"/>
                  <a:gd name="T35" fmla="*/ 22 h 69"/>
                  <a:gd name="T36" fmla="*/ 6 w 337"/>
                  <a:gd name="T37" fmla="*/ 28 h 69"/>
                  <a:gd name="T38" fmla="*/ 9 w 337"/>
                  <a:gd name="T39" fmla="*/ 25 h 69"/>
                  <a:gd name="T40" fmla="*/ 9 w 337"/>
                  <a:gd name="T41" fmla="*/ 24 h 69"/>
                  <a:gd name="T42" fmla="*/ 12 w 337"/>
                  <a:gd name="T43" fmla="*/ 25 h 69"/>
                  <a:gd name="T44" fmla="*/ 12 w 337"/>
                  <a:gd name="T45" fmla="*/ 26 h 69"/>
                  <a:gd name="T46" fmla="*/ 8 w 337"/>
                  <a:gd name="T47" fmla="*/ 32 h 69"/>
                  <a:gd name="T48" fmla="*/ 14 w 337"/>
                  <a:gd name="T49" fmla="*/ 30 h 69"/>
                  <a:gd name="T50" fmla="*/ 14 w 337"/>
                  <a:gd name="T51" fmla="*/ 26 h 69"/>
                  <a:gd name="T52" fmla="*/ 19 w 337"/>
                  <a:gd name="T53" fmla="*/ 24 h 69"/>
                  <a:gd name="T54" fmla="*/ 278 w 337"/>
                  <a:gd name="T55" fmla="*/ 0 h 69"/>
                  <a:gd name="T56" fmla="*/ 278 w 337"/>
                  <a:gd name="T57" fmla="*/ 3 h 69"/>
                  <a:gd name="T58" fmla="*/ 278 w 337"/>
                  <a:gd name="T59" fmla="*/ 0 h 69"/>
                  <a:gd name="T60" fmla="*/ 252 w 337"/>
                  <a:gd name="T61" fmla="*/ 8 h 69"/>
                  <a:gd name="T62" fmla="*/ 251 w 337"/>
                  <a:gd name="T63" fmla="*/ 5 h 69"/>
                  <a:gd name="T64" fmla="*/ 302 w 337"/>
                  <a:gd name="T65" fmla="*/ 31 h 69"/>
                  <a:gd name="T66" fmla="*/ 303 w 337"/>
                  <a:gd name="T67" fmla="*/ 37 h 69"/>
                  <a:gd name="T68" fmla="*/ 299 w 337"/>
                  <a:gd name="T69" fmla="*/ 33 h 69"/>
                  <a:gd name="T70" fmla="*/ 302 w 337"/>
                  <a:gd name="T71" fmla="*/ 31 h 69"/>
                  <a:gd name="T72" fmla="*/ 303 w 337"/>
                  <a:gd name="T73" fmla="*/ 38 h 69"/>
                  <a:gd name="T74" fmla="*/ 300 w 337"/>
                  <a:gd name="T75" fmla="*/ 42 h 69"/>
                  <a:gd name="T76" fmla="*/ 300 w 337"/>
                  <a:gd name="T77" fmla="*/ 38 h 69"/>
                  <a:gd name="T78" fmla="*/ 303 w 337"/>
                  <a:gd name="T79" fmla="*/ 38 h 69"/>
                  <a:gd name="T80" fmla="*/ 311 w 337"/>
                  <a:gd name="T81" fmla="*/ 40 h 69"/>
                  <a:gd name="T82" fmla="*/ 309 w 337"/>
                  <a:gd name="T83" fmla="*/ 43 h 69"/>
                  <a:gd name="T84" fmla="*/ 307 w 337"/>
                  <a:gd name="T85" fmla="*/ 39 h 69"/>
                  <a:gd name="T86" fmla="*/ 307 w 337"/>
                  <a:gd name="T87" fmla="*/ 37 h 69"/>
                  <a:gd name="T88" fmla="*/ 305 w 337"/>
                  <a:gd name="T89" fmla="*/ 42 h 69"/>
                  <a:gd name="T90" fmla="*/ 309 w 337"/>
                  <a:gd name="T91" fmla="*/ 46 h 69"/>
                  <a:gd name="T92" fmla="*/ 304 w 337"/>
                  <a:gd name="T93" fmla="*/ 45 h 69"/>
                  <a:gd name="T94" fmla="*/ 305 w 337"/>
                  <a:gd name="T95" fmla="*/ 40 h 69"/>
                  <a:gd name="T96" fmla="*/ 307 w 337"/>
                  <a:gd name="T97" fmla="*/ 40 h 69"/>
                  <a:gd name="T98" fmla="*/ 337 w 337"/>
                  <a:gd name="T99" fmla="*/ 68 h 69"/>
                  <a:gd name="T100" fmla="*/ 336 w 337"/>
                  <a:gd name="T101" fmla="*/ 67 h 69"/>
                  <a:gd name="T102" fmla="*/ 337 w 337"/>
                  <a:gd name="T103"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 h="69">
                    <a:moveTo>
                      <a:pt x="19" y="24"/>
                    </a:moveTo>
                    <a:lnTo>
                      <a:pt x="22" y="23"/>
                    </a:lnTo>
                    <a:lnTo>
                      <a:pt x="25" y="22"/>
                    </a:lnTo>
                    <a:lnTo>
                      <a:pt x="27" y="21"/>
                    </a:lnTo>
                    <a:lnTo>
                      <a:pt x="30" y="20"/>
                    </a:lnTo>
                    <a:lnTo>
                      <a:pt x="27" y="17"/>
                    </a:lnTo>
                    <a:lnTo>
                      <a:pt x="25" y="18"/>
                    </a:lnTo>
                    <a:lnTo>
                      <a:pt x="27" y="17"/>
                    </a:lnTo>
                    <a:lnTo>
                      <a:pt x="30" y="17"/>
                    </a:lnTo>
                    <a:lnTo>
                      <a:pt x="33" y="18"/>
                    </a:lnTo>
                    <a:lnTo>
                      <a:pt x="35" y="16"/>
                    </a:lnTo>
                    <a:lnTo>
                      <a:pt x="33" y="15"/>
                    </a:lnTo>
                    <a:lnTo>
                      <a:pt x="32" y="12"/>
                    </a:lnTo>
                    <a:lnTo>
                      <a:pt x="32" y="9"/>
                    </a:lnTo>
                    <a:lnTo>
                      <a:pt x="30" y="9"/>
                    </a:lnTo>
                    <a:lnTo>
                      <a:pt x="26" y="11"/>
                    </a:lnTo>
                    <a:lnTo>
                      <a:pt x="24" y="8"/>
                    </a:lnTo>
                    <a:lnTo>
                      <a:pt x="21" y="7"/>
                    </a:lnTo>
                    <a:lnTo>
                      <a:pt x="23" y="9"/>
                    </a:lnTo>
                    <a:lnTo>
                      <a:pt x="22" y="13"/>
                    </a:lnTo>
                    <a:lnTo>
                      <a:pt x="19" y="11"/>
                    </a:lnTo>
                    <a:lnTo>
                      <a:pt x="18" y="13"/>
                    </a:lnTo>
                    <a:lnTo>
                      <a:pt x="17" y="11"/>
                    </a:lnTo>
                    <a:lnTo>
                      <a:pt x="14" y="9"/>
                    </a:lnTo>
                    <a:lnTo>
                      <a:pt x="12" y="12"/>
                    </a:lnTo>
                    <a:lnTo>
                      <a:pt x="14" y="13"/>
                    </a:lnTo>
                    <a:lnTo>
                      <a:pt x="15" y="16"/>
                    </a:lnTo>
                    <a:lnTo>
                      <a:pt x="13" y="18"/>
                    </a:lnTo>
                    <a:lnTo>
                      <a:pt x="16" y="21"/>
                    </a:lnTo>
                    <a:lnTo>
                      <a:pt x="13" y="20"/>
                    </a:lnTo>
                    <a:lnTo>
                      <a:pt x="12" y="16"/>
                    </a:lnTo>
                    <a:lnTo>
                      <a:pt x="10" y="14"/>
                    </a:lnTo>
                    <a:lnTo>
                      <a:pt x="7" y="14"/>
                    </a:lnTo>
                    <a:lnTo>
                      <a:pt x="3" y="17"/>
                    </a:lnTo>
                    <a:lnTo>
                      <a:pt x="0" y="20"/>
                    </a:lnTo>
                    <a:lnTo>
                      <a:pt x="3" y="22"/>
                    </a:lnTo>
                    <a:lnTo>
                      <a:pt x="4" y="25"/>
                    </a:lnTo>
                    <a:lnTo>
                      <a:pt x="6" y="28"/>
                    </a:lnTo>
                    <a:lnTo>
                      <a:pt x="8" y="28"/>
                    </a:lnTo>
                    <a:lnTo>
                      <a:pt x="9" y="25"/>
                    </a:lnTo>
                    <a:lnTo>
                      <a:pt x="7" y="24"/>
                    </a:lnTo>
                    <a:lnTo>
                      <a:pt x="9" y="24"/>
                    </a:lnTo>
                    <a:lnTo>
                      <a:pt x="9" y="26"/>
                    </a:lnTo>
                    <a:lnTo>
                      <a:pt x="12" y="25"/>
                    </a:lnTo>
                    <a:lnTo>
                      <a:pt x="14" y="24"/>
                    </a:lnTo>
                    <a:lnTo>
                      <a:pt x="12" y="26"/>
                    </a:lnTo>
                    <a:lnTo>
                      <a:pt x="10" y="29"/>
                    </a:lnTo>
                    <a:lnTo>
                      <a:pt x="8" y="32"/>
                    </a:lnTo>
                    <a:lnTo>
                      <a:pt x="12" y="32"/>
                    </a:lnTo>
                    <a:lnTo>
                      <a:pt x="14" y="30"/>
                    </a:lnTo>
                    <a:lnTo>
                      <a:pt x="17" y="28"/>
                    </a:lnTo>
                    <a:lnTo>
                      <a:pt x="14" y="26"/>
                    </a:lnTo>
                    <a:lnTo>
                      <a:pt x="17" y="25"/>
                    </a:lnTo>
                    <a:lnTo>
                      <a:pt x="19" y="24"/>
                    </a:lnTo>
                    <a:lnTo>
                      <a:pt x="19" y="24"/>
                    </a:lnTo>
                    <a:close/>
                    <a:moveTo>
                      <a:pt x="278" y="0"/>
                    </a:moveTo>
                    <a:lnTo>
                      <a:pt x="280" y="3"/>
                    </a:lnTo>
                    <a:lnTo>
                      <a:pt x="278" y="3"/>
                    </a:lnTo>
                    <a:lnTo>
                      <a:pt x="278" y="0"/>
                    </a:lnTo>
                    <a:lnTo>
                      <a:pt x="278" y="0"/>
                    </a:lnTo>
                    <a:close/>
                    <a:moveTo>
                      <a:pt x="251" y="5"/>
                    </a:moveTo>
                    <a:lnTo>
                      <a:pt x="252" y="8"/>
                    </a:lnTo>
                    <a:lnTo>
                      <a:pt x="251" y="5"/>
                    </a:lnTo>
                    <a:lnTo>
                      <a:pt x="251" y="5"/>
                    </a:lnTo>
                    <a:lnTo>
                      <a:pt x="251" y="5"/>
                    </a:lnTo>
                    <a:close/>
                    <a:moveTo>
                      <a:pt x="302" y="31"/>
                    </a:moveTo>
                    <a:lnTo>
                      <a:pt x="304" y="33"/>
                    </a:lnTo>
                    <a:lnTo>
                      <a:pt x="303" y="37"/>
                    </a:lnTo>
                    <a:lnTo>
                      <a:pt x="299" y="37"/>
                    </a:lnTo>
                    <a:lnTo>
                      <a:pt x="299" y="33"/>
                    </a:lnTo>
                    <a:lnTo>
                      <a:pt x="299" y="31"/>
                    </a:lnTo>
                    <a:lnTo>
                      <a:pt x="302" y="31"/>
                    </a:lnTo>
                    <a:lnTo>
                      <a:pt x="302" y="31"/>
                    </a:lnTo>
                    <a:close/>
                    <a:moveTo>
                      <a:pt x="303" y="38"/>
                    </a:moveTo>
                    <a:lnTo>
                      <a:pt x="304" y="40"/>
                    </a:lnTo>
                    <a:lnTo>
                      <a:pt x="300" y="42"/>
                    </a:lnTo>
                    <a:lnTo>
                      <a:pt x="298" y="40"/>
                    </a:lnTo>
                    <a:lnTo>
                      <a:pt x="300" y="38"/>
                    </a:lnTo>
                    <a:lnTo>
                      <a:pt x="303" y="38"/>
                    </a:lnTo>
                    <a:lnTo>
                      <a:pt x="303" y="38"/>
                    </a:lnTo>
                    <a:close/>
                    <a:moveTo>
                      <a:pt x="307" y="37"/>
                    </a:moveTo>
                    <a:lnTo>
                      <a:pt x="311" y="40"/>
                    </a:lnTo>
                    <a:lnTo>
                      <a:pt x="313" y="42"/>
                    </a:lnTo>
                    <a:lnTo>
                      <a:pt x="309" y="43"/>
                    </a:lnTo>
                    <a:lnTo>
                      <a:pt x="307" y="41"/>
                    </a:lnTo>
                    <a:lnTo>
                      <a:pt x="307" y="39"/>
                    </a:lnTo>
                    <a:lnTo>
                      <a:pt x="307" y="37"/>
                    </a:lnTo>
                    <a:lnTo>
                      <a:pt x="307" y="37"/>
                    </a:lnTo>
                    <a:close/>
                    <a:moveTo>
                      <a:pt x="307" y="40"/>
                    </a:moveTo>
                    <a:lnTo>
                      <a:pt x="305" y="42"/>
                    </a:lnTo>
                    <a:lnTo>
                      <a:pt x="308" y="42"/>
                    </a:lnTo>
                    <a:lnTo>
                      <a:pt x="309" y="46"/>
                    </a:lnTo>
                    <a:lnTo>
                      <a:pt x="307" y="47"/>
                    </a:lnTo>
                    <a:lnTo>
                      <a:pt x="304" y="45"/>
                    </a:lnTo>
                    <a:lnTo>
                      <a:pt x="303" y="42"/>
                    </a:lnTo>
                    <a:lnTo>
                      <a:pt x="305" y="40"/>
                    </a:lnTo>
                    <a:lnTo>
                      <a:pt x="307" y="40"/>
                    </a:lnTo>
                    <a:lnTo>
                      <a:pt x="307" y="40"/>
                    </a:lnTo>
                    <a:close/>
                    <a:moveTo>
                      <a:pt x="337" y="65"/>
                    </a:moveTo>
                    <a:lnTo>
                      <a:pt x="337" y="68"/>
                    </a:lnTo>
                    <a:lnTo>
                      <a:pt x="333" y="69"/>
                    </a:lnTo>
                    <a:lnTo>
                      <a:pt x="336" y="67"/>
                    </a:lnTo>
                    <a:lnTo>
                      <a:pt x="337" y="65"/>
                    </a:lnTo>
                    <a:lnTo>
                      <a:pt x="33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4" name="Freeform 210">
                <a:extLst>
                  <a:ext uri="{FF2B5EF4-FFF2-40B4-BE49-F238E27FC236}">
                    <a16:creationId xmlns:a16="http://schemas.microsoft.com/office/drawing/2014/main" id="{E0842D6D-EF3F-C049-F76F-169F2AB8B5AF}"/>
                  </a:ext>
                </a:extLst>
              </p:cNvPr>
              <p:cNvSpPr>
                <a:spLocks noEditPoints="1"/>
              </p:cNvSpPr>
              <p:nvPr/>
            </p:nvSpPr>
            <p:spPr bwMode="auto">
              <a:xfrm>
                <a:off x="2346325" y="2619375"/>
                <a:ext cx="2997200" cy="390525"/>
              </a:xfrm>
              <a:custGeom>
                <a:avLst/>
                <a:gdLst>
                  <a:gd name="T0" fmla="*/ 1622 w 1888"/>
                  <a:gd name="T1" fmla="*/ 198 h 246"/>
                  <a:gd name="T2" fmla="*/ 1619 w 1888"/>
                  <a:gd name="T3" fmla="*/ 198 h 246"/>
                  <a:gd name="T4" fmla="*/ 1575 w 1888"/>
                  <a:gd name="T5" fmla="*/ 198 h 246"/>
                  <a:gd name="T6" fmla="*/ 1569 w 1888"/>
                  <a:gd name="T7" fmla="*/ 201 h 246"/>
                  <a:gd name="T8" fmla="*/ 1569 w 1888"/>
                  <a:gd name="T9" fmla="*/ 199 h 246"/>
                  <a:gd name="T10" fmla="*/ 1575 w 1888"/>
                  <a:gd name="T11" fmla="*/ 197 h 246"/>
                  <a:gd name="T12" fmla="*/ 1575 w 1888"/>
                  <a:gd name="T13" fmla="*/ 198 h 246"/>
                  <a:gd name="T14" fmla="*/ 1550 w 1888"/>
                  <a:gd name="T15" fmla="*/ 203 h 246"/>
                  <a:gd name="T16" fmla="*/ 1550 w 1888"/>
                  <a:gd name="T17" fmla="*/ 199 h 246"/>
                  <a:gd name="T18" fmla="*/ 1553 w 1888"/>
                  <a:gd name="T19" fmla="*/ 201 h 246"/>
                  <a:gd name="T20" fmla="*/ 1570 w 1888"/>
                  <a:gd name="T21" fmla="*/ 203 h 246"/>
                  <a:gd name="T22" fmla="*/ 1573 w 1888"/>
                  <a:gd name="T23" fmla="*/ 201 h 246"/>
                  <a:gd name="T24" fmla="*/ 1575 w 1888"/>
                  <a:gd name="T25" fmla="*/ 204 h 246"/>
                  <a:gd name="T26" fmla="*/ 1578 w 1888"/>
                  <a:gd name="T27" fmla="*/ 203 h 246"/>
                  <a:gd name="T28" fmla="*/ 1577 w 1888"/>
                  <a:gd name="T29" fmla="*/ 204 h 246"/>
                  <a:gd name="T30" fmla="*/ 1579 w 1888"/>
                  <a:gd name="T31" fmla="*/ 203 h 246"/>
                  <a:gd name="T32" fmla="*/ 1587 w 1888"/>
                  <a:gd name="T33" fmla="*/ 212 h 246"/>
                  <a:gd name="T34" fmla="*/ 1588 w 1888"/>
                  <a:gd name="T35" fmla="*/ 210 h 246"/>
                  <a:gd name="T36" fmla="*/ 1704 w 1888"/>
                  <a:gd name="T37" fmla="*/ 93 h 246"/>
                  <a:gd name="T38" fmla="*/ 1706 w 1888"/>
                  <a:gd name="T39" fmla="*/ 88 h 246"/>
                  <a:gd name="T40" fmla="*/ 1704 w 1888"/>
                  <a:gd name="T41" fmla="*/ 93 h 246"/>
                  <a:gd name="T42" fmla="*/ 1703 w 1888"/>
                  <a:gd name="T43" fmla="*/ 94 h 246"/>
                  <a:gd name="T44" fmla="*/ 1703 w 1888"/>
                  <a:gd name="T45" fmla="*/ 94 h 246"/>
                  <a:gd name="T46" fmla="*/ 1700 w 1888"/>
                  <a:gd name="T47" fmla="*/ 97 h 246"/>
                  <a:gd name="T48" fmla="*/ 1700 w 1888"/>
                  <a:gd name="T49" fmla="*/ 95 h 246"/>
                  <a:gd name="T50" fmla="*/ 1700 w 1888"/>
                  <a:gd name="T51" fmla="*/ 97 h 246"/>
                  <a:gd name="T52" fmla="*/ 1687 w 1888"/>
                  <a:gd name="T53" fmla="*/ 96 h 246"/>
                  <a:gd name="T54" fmla="*/ 1688 w 1888"/>
                  <a:gd name="T55" fmla="*/ 92 h 246"/>
                  <a:gd name="T56" fmla="*/ 1693 w 1888"/>
                  <a:gd name="T57" fmla="*/ 92 h 246"/>
                  <a:gd name="T58" fmla="*/ 1690 w 1888"/>
                  <a:gd name="T59" fmla="*/ 95 h 246"/>
                  <a:gd name="T60" fmla="*/ 1690 w 1888"/>
                  <a:gd name="T61" fmla="*/ 97 h 246"/>
                  <a:gd name="T62" fmla="*/ 1662 w 1888"/>
                  <a:gd name="T63" fmla="*/ 103 h 246"/>
                  <a:gd name="T64" fmla="*/ 1664 w 1888"/>
                  <a:gd name="T65" fmla="*/ 104 h 246"/>
                  <a:gd name="T66" fmla="*/ 1888 w 1888"/>
                  <a:gd name="T67" fmla="*/ 0 h 246"/>
                  <a:gd name="T68" fmla="*/ 1888 w 1888"/>
                  <a:gd name="T69" fmla="*/ 0 h 246"/>
                  <a:gd name="T70" fmla="*/ 1888 w 1888"/>
                  <a:gd name="T71" fmla="*/ 0 h 246"/>
                  <a:gd name="T72" fmla="*/ 3 w 1888"/>
                  <a:gd name="T73" fmla="*/ 242 h 246"/>
                  <a:gd name="T74" fmla="*/ 5 w 1888"/>
                  <a:gd name="T75" fmla="*/ 244 h 246"/>
                  <a:gd name="T76" fmla="*/ 0 w 1888"/>
                  <a:gd name="T77" fmla="*/ 24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8" h="246">
                    <a:moveTo>
                      <a:pt x="1619" y="198"/>
                    </a:moveTo>
                    <a:lnTo>
                      <a:pt x="1622" y="198"/>
                    </a:lnTo>
                    <a:lnTo>
                      <a:pt x="1619" y="199"/>
                    </a:lnTo>
                    <a:lnTo>
                      <a:pt x="1619" y="198"/>
                    </a:lnTo>
                    <a:lnTo>
                      <a:pt x="1619" y="198"/>
                    </a:lnTo>
                    <a:close/>
                    <a:moveTo>
                      <a:pt x="1575" y="198"/>
                    </a:moveTo>
                    <a:lnTo>
                      <a:pt x="1571" y="199"/>
                    </a:lnTo>
                    <a:lnTo>
                      <a:pt x="1569" y="201"/>
                    </a:lnTo>
                    <a:lnTo>
                      <a:pt x="1565" y="202"/>
                    </a:lnTo>
                    <a:lnTo>
                      <a:pt x="1569" y="199"/>
                    </a:lnTo>
                    <a:lnTo>
                      <a:pt x="1571" y="198"/>
                    </a:lnTo>
                    <a:lnTo>
                      <a:pt x="1575" y="197"/>
                    </a:lnTo>
                    <a:lnTo>
                      <a:pt x="1575" y="198"/>
                    </a:lnTo>
                    <a:lnTo>
                      <a:pt x="1575" y="198"/>
                    </a:lnTo>
                    <a:close/>
                    <a:moveTo>
                      <a:pt x="1553" y="201"/>
                    </a:moveTo>
                    <a:lnTo>
                      <a:pt x="1550" y="203"/>
                    </a:lnTo>
                    <a:lnTo>
                      <a:pt x="1547" y="202"/>
                    </a:lnTo>
                    <a:lnTo>
                      <a:pt x="1550" y="199"/>
                    </a:lnTo>
                    <a:lnTo>
                      <a:pt x="1553" y="201"/>
                    </a:lnTo>
                    <a:lnTo>
                      <a:pt x="1553" y="201"/>
                    </a:lnTo>
                    <a:close/>
                    <a:moveTo>
                      <a:pt x="1573" y="201"/>
                    </a:moveTo>
                    <a:lnTo>
                      <a:pt x="1570" y="203"/>
                    </a:lnTo>
                    <a:lnTo>
                      <a:pt x="1573" y="201"/>
                    </a:lnTo>
                    <a:lnTo>
                      <a:pt x="1573" y="201"/>
                    </a:lnTo>
                    <a:close/>
                    <a:moveTo>
                      <a:pt x="1578" y="203"/>
                    </a:moveTo>
                    <a:lnTo>
                      <a:pt x="1575" y="204"/>
                    </a:lnTo>
                    <a:lnTo>
                      <a:pt x="1578" y="203"/>
                    </a:lnTo>
                    <a:lnTo>
                      <a:pt x="1578" y="203"/>
                    </a:lnTo>
                    <a:close/>
                    <a:moveTo>
                      <a:pt x="1579" y="203"/>
                    </a:moveTo>
                    <a:lnTo>
                      <a:pt x="1577" y="204"/>
                    </a:lnTo>
                    <a:lnTo>
                      <a:pt x="1579" y="203"/>
                    </a:lnTo>
                    <a:lnTo>
                      <a:pt x="1579" y="203"/>
                    </a:lnTo>
                    <a:close/>
                    <a:moveTo>
                      <a:pt x="1588" y="210"/>
                    </a:moveTo>
                    <a:lnTo>
                      <a:pt x="1587" y="212"/>
                    </a:lnTo>
                    <a:lnTo>
                      <a:pt x="1586" y="210"/>
                    </a:lnTo>
                    <a:lnTo>
                      <a:pt x="1588" y="210"/>
                    </a:lnTo>
                    <a:lnTo>
                      <a:pt x="1588" y="210"/>
                    </a:lnTo>
                    <a:close/>
                    <a:moveTo>
                      <a:pt x="1704" y="93"/>
                    </a:moveTo>
                    <a:lnTo>
                      <a:pt x="1704" y="90"/>
                    </a:lnTo>
                    <a:lnTo>
                      <a:pt x="1706" y="88"/>
                    </a:lnTo>
                    <a:lnTo>
                      <a:pt x="1706" y="92"/>
                    </a:lnTo>
                    <a:lnTo>
                      <a:pt x="1704" y="93"/>
                    </a:lnTo>
                    <a:lnTo>
                      <a:pt x="1704" y="93"/>
                    </a:lnTo>
                    <a:close/>
                    <a:moveTo>
                      <a:pt x="1703" y="94"/>
                    </a:moveTo>
                    <a:lnTo>
                      <a:pt x="1701" y="91"/>
                    </a:lnTo>
                    <a:lnTo>
                      <a:pt x="1703" y="94"/>
                    </a:lnTo>
                    <a:lnTo>
                      <a:pt x="1703" y="94"/>
                    </a:lnTo>
                    <a:close/>
                    <a:moveTo>
                      <a:pt x="1700" y="97"/>
                    </a:moveTo>
                    <a:lnTo>
                      <a:pt x="1698" y="94"/>
                    </a:lnTo>
                    <a:lnTo>
                      <a:pt x="1700" y="95"/>
                    </a:lnTo>
                    <a:lnTo>
                      <a:pt x="1700" y="97"/>
                    </a:lnTo>
                    <a:lnTo>
                      <a:pt x="1700" y="97"/>
                    </a:lnTo>
                    <a:close/>
                    <a:moveTo>
                      <a:pt x="1690" y="97"/>
                    </a:moveTo>
                    <a:lnTo>
                      <a:pt x="1687" y="96"/>
                    </a:lnTo>
                    <a:lnTo>
                      <a:pt x="1687" y="94"/>
                    </a:lnTo>
                    <a:lnTo>
                      <a:pt x="1688" y="92"/>
                    </a:lnTo>
                    <a:lnTo>
                      <a:pt x="1691" y="90"/>
                    </a:lnTo>
                    <a:lnTo>
                      <a:pt x="1693" y="92"/>
                    </a:lnTo>
                    <a:lnTo>
                      <a:pt x="1693" y="94"/>
                    </a:lnTo>
                    <a:lnTo>
                      <a:pt x="1690" y="95"/>
                    </a:lnTo>
                    <a:lnTo>
                      <a:pt x="1690" y="97"/>
                    </a:lnTo>
                    <a:lnTo>
                      <a:pt x="1690" y="97"/>
                    </a:lnTo>
                    <a:close/>
                    <a:moveTo>
                      <a:pt x="1664" y="104"/>
                    </a:moveTo>
                    <a:lnTo>
                      <a:pt x="1662" y="103"/>
                    </a:lnTo>
                    <a:lnTo>
                      <a:pt x="1664" y="103"/>
                    </a:lnTo>
                    <a:lnTo>
                      <a:pt x="1664" y="104"/>
                    </a:lnTo>
                    <a:lnTo>
                      <a:pt x="1664" y="104"/>
                    </a:lnTo>
                    <a:close/>
                    <a:moveTo>
                      <a:pt x="1888" y="0"/>
                    </a:moveTo>
                    <a:lnTo>
                      <a:pt x="1885" y="2"/>
                    </a:lnTo>
                    <a:lnTo>
                      <a:pt x="1888" y="0"/>
                    </a:lnTo>
                    <a:lnTo>
                      <a:pt x="1888" y="0"/>
                    </a:lnTo>
                    <a:lnTo>
                      <a:pt x="1888" y="0"/>
                    </a:lnTo>
                    <a:close/>
                    <a:moveTo>
                      <a:pt x="0" y="244"/>
                    </a:moveTo>
                    <a:lnTo>
                      <a:pt x="3" y="242"/>
                    </a:lnTo>
                    <a:lnTo>
                      <a:pt x="6" y="241"/>
                    </a:lnTo>
                    <a:lnTo>
                      <a:pt x="5" y="244"/>
                    </a:lnTo>
                    <a:lnTo>
                      <a:pt x="2" y="246"/>
                    </a:lnTo>
                    <a:lnTo>
                      <a:pt x="0" y="244"/>
                    </a:lnTo>
                    <a:lnTo>
                      <a:pt x="0"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5" name="Freeform 211">
                <a:extLst>
                  <a:ext uri="{FF2B5EF4-FFF2-40B4-BE49-F238E27FC236}">
                    <a16:creationId xmlns:a16="http://schemas.microsoft.com/office/drawing/2014/main" id="{A2E92BC5-F3D6-2665-8E10-63CC0E4A4E81}"/>
                  </a:ext>
                </a:extLst>
              </p:cNvPr>
              <p:cNvSpPr>
                <a:spLocks noEditPoints="1"/>
              </p:cNvSpPr>
              <p:nvPr/>
            </p:nvSpPr>
            <p:spPr bwMode="auto">
              <a:xfrm>
                <a:off x="4165600" y="2620963"/>
                <a:ext cx="331787" cy="258763"/>
              </a:xfrm>
              <a:custGeom>
                <a:avLst/>
                <a:gdLst>
                  <a:gd name="T0" fmla="*/ 8 w 209"/>
                  <a:gd name="T1" fmla="*/ 139 h 163"/>
                  <a:gd name="T2" fmla="*/ 3 w 209"/>
                  <a:gd name="T3" fmla="*/ 138 h 163"/>
                  <a:gd name="T4" fmla="*/ 3 w 209"/>
                  <a:gd name="T5" fmla="*/ 141 h 163"/>
                  <a:gd name="T6" fmla="*/ 7 w 209"/>
                  <a:gd name="T7" fmla="*/ 144 h 163"/>
                  <a:gd name="T8" fmla="*/ 11 w 209"/>
                  <a:gd name="T9" fmla="*/ 143 h 163"/>
                  <a:gd name="T10" fmla="*/ 33 w 209"/>
                  <a:gd name="T11" fmla="*/ 33 h 163"/>
                  <a:gd name="T12" fmla="*/ 29 w 209"/>
                  <a:gd name="T13" fmla="*/ 29 h 163"/>
                  <a:gd name="T14" fmla="*/ 31 w 209"/>
                  <a:gd name="T15" fmla="*/ 24 h 163"/>
                  <a:gd name="T16" fmla="*/ 34 w 209"/>
                  <a:gd name="T17" fmla="*/ 27 h 163"/>
                  <a:gd name="T18" fmla="*/ 37 w 209"/>
                  <a:gd name="T19" fmla="*/ 33 h 163"/>
                  <a:gd name="T20" fmla="*/ 33 w 209"/>
                  <a:gd name="T21" fmla="*/ 33 h 163"/>
                  <a:gd name="T22" fmla="*/ 97 w 209"/>
                  <a:gd name="T23" fmla="*/ 159 h 163"/>
                  <a:gd name="T24" fmla="*/ 97 w 209"/>
                  <a:gd name="T25" fmla="*/ 163 h 163"/>
                  <a:gd name="T26" fmla="*/ 91 w 209"/>
                  <a:gd name="T27" fmla="*/ 161 h 163"/>
                  <a:gd name="T28" fmla="*/ 88 w 209"/>
                  <a:gd name="T29" fmla="*/ 158 h 163"/>
                  <a:gd name="T30" fmla="*/ 93 w 209"/>
                  <a:gd name="T31" fmla="*/ 156 h 163"/>
                  <a:gd name="T32" fmla="*/ 94 w 209"/>
                  <a:gd name="T33" fmla="*/ 158 h 163"/>
                  <a:gd name="T34" fmla="*/ 49 w 209"/>
                  <a:gd name="T35" fmla="*/ 40 h 163"/>
                  <a:gd name="T36" fmla="*/ 43 w 209"/>
                  <a:gd name="T37" fmla="*/ 39 h 163"/>
                  <a:gd name="T38" fmla="*/ 40 w 209"/>
                  <a:gd name="T39" fmla="*/ 39 h 163"/>
                  <a:gd name="T40" fmla="*/ 37 w 209"/>
                  <a:gd name="T41" fmla="*/ 42 h 163"/>
                  <a:gd name="T42" fmla="*/ 41 w 209"/>
                  <a:gd name="T43" fmla="*/ 46 h 163"/>
                  <a:gd name="T44" fmla="*/ 47 w 209"/>
                  <a:gd name="T45" fmla="*/ 46 h 163"/>
                  <a:gd name="T46" fmla="*/ 52 w 209"/>
                  <a:gd name="T47" fmla="*/ 46 h 163"/>
                  <a:gd name="T48" fmla="*/ 56 w 209"/>
                  <a:gd name="T49" fmla="*/ 43 h 163"/>
                  <a:gd name="T50" fmla="*/ 52 w 209"/>
                  <a:gd name="T51" fmla="*/ 41 h 163"/>
                  <a:gd name="T52" fmla="*/ 132 w 209"/>
                  <a:gd name="T53" fmla="*/ 0 h 163"/>
                  <a:gd name="T54" fmla="*/ 128 w 209"/>
                  <a:gd name="T55" fmla="*/ 4 h 163"/>
                  <a:gd name="T56" fmla="*/ 128 w 209"/>
                  <a:gd name="T57" fmla="*/ 0 h 163"/>
                  <a:gd name="T58" fmla="*/ 132 w 209"/>
                  <a:gd name="T59" fmla="*/ 0 h 163"/>
                  <a:gd name="T60" fmla="*/ 124 w 209"/>
                  <a:gd name="T61" fmla="*/ 22 h 163"/>
                  <a:gd name="T62" fmla="*/ 132 w 209"/>
                  <a:gd name="T63" fmla="*/ 23 h 163"/>
                  <a:gd name="T64" fmla="*/ 126 w 209"/>
                  <a:gd name="T65" fmla="*/ 23 h 163"/>
                  <a:gd name="T66" fmla="*/ 124 w 209"/>
                  <a:gd name="T67" fmla="*/ 22 h 163"/>
                  <a:gd name="T68" fmla="*/ 185 w 209"/>
                  <a:gd name="T69" fmla="*/ 49 h 163"/>
                  <a:gd name="T70" fmla="*/ 185 w 209"/>
                  <a:gd name="T71" fmla="*/ 52 h 163"/>
                  <a:gd name="T72" fmla="*/ 185 w 209"/>
                  <a:gd name="T73" fmla="*/ 49 h 163"/>
                  <a:gd name="T74" fmla="*/ 192 w 209"/>
                  <a:gd name="T75" fmla="*/ 58 h 163"/>
                  <a:gd name="T76" fmla="*/ 192 w 209"/>
                  <a:gd name="T77" fmla="*/ 56 h 163"/>
                  <a:gd name="T78" fmla="*/ 192 w 209"/>
                  <a:gd name="T79" fmla="*/ 58 h 163"/>
                  <a:gd name="T80" fmla="*/ 202 w 209"/>
                  <a:gd name="T81" fmla="*/ 61 h 163"/>
                  <a:gd name="T82" fmla="*/ 203 w 209"/>
                  <a:gd name="T83" fmla="*/ 62 h 163"/>
                  <a:gd name="T84" fmla="*/ 200 w 209"/>
                  <a:gd name="T85" fmla="*/ 62 h 163"/>
                  <a:gd name="T86" fmla="*/ 208 w 209"/>
                  <a:gd name="T87" fmla="*/ 93 h 163"/>
                  <a:gd name="T88" fmla="*/ 207 w 209"/>
                  <a:gd name="T89" fmla="*/ 94 h 163"/>
                  <a:gd name="T90" fmla="*/ 208 w 209"/>
                  <a:gd name="T91" fmla="*/ 93 h 163"/>
                  <a:gd name="T92" fmla="*/ 166 w 209"/>
                  <a:gd name="T93" fmla="*/ 119 h 163"/>
                  <a:gd name="T94" fmla="*/ 163 w 209"/>
                  <a:gd name="T95" fmla="*/ 117 h 163"/>
                  <a:gd name="T96" fmla="*/ 167 w 209"/>
                  <a:gd name="T97" fmla="*/ 116 h 163"/>
                  <a:gd name="T98" fmla="*/ 179 w 209"/>
                  <a:gd name="T99" fmla="*/ 139 h 163"/>
                  <a:gd name="T100" fmla="*/ 182 w 209"/>
                  <a:gd name="T101" fmla="*/ 145 h 163"/>
                  <a:gd name="T102" fmla="*/ 177 w 209"/>
                  <a:gd name="T103" fmla="*/ 139 h 163"/>
                  <a:gd name="T104" fmla="*/ 179 w 209"/>
                  <a:gd name="T105" fmla="*/ 13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163">
                    <a:moveTo>
                      <a:pt x="11" y="143"/>
                    </a:moveTo>
                    <a:lnTo>
                      <a:pt x="8" y="139"/>
                    </a:lnTo>
                    <a:lnTo>
                      <a:pt x="6" y="138"/>
                    </a:lnTo>
                    <a:lnTo>
                      <a:pt x="3" y="138"/>
                    </a:lnTo>
                    <a:lnTo>
                      <a:pt x="0" y="138"/>
                    </a:lnTo>
                    <a:lnTo>
                      <a:pt x="3" y="141"/>
                    </a:lnTo>
                    <a:lnTo>
                      <a:pt x="5" y="143"/>
                    </a:lnTo>
                    <a:lnTo>
                      <a:pt x="7" y="144"/>
                    </a:lnTo>
                    <a:lnTo>
                      <a:pt x="11" y="145"/>
                    </a:lnTo>
                    <a:lnTo>
                      <a:pt x="11" y="143"/>
                    </a:lnTo>
                    <a:lnTo>
                      <a:pt x="11" y="143"/>
                    </a:lnTo>
                    <a:close/>
                    <a:moveTo>
                      <a:pt x="33" y="33"/>
                    </a:moveTo>
                    <a:lnTo>
                      <a:pt x="31" y="31"/>
                    </a:lnTo>
                    <a:lnTo>
                      <a:pt x="29" y="29"/>
                    </a:lnTo>
                    <a:lnTo>
                      <a:pt x="29" y="26"/>
                    </a:lnTo>
                    <a:lnTo>
                      <a:pt x="31" y="24"/>
                    </a:lnTo>
                    <a:lnTo>
                      <a:pt x="33" y="25"/>
                    </a:lnTo>
                    <a:lnTo>
                      <a:pt x="34" y="27"/>
                    </a:lnTo>
                    <a:lnTo>
                      <a:pt x="35" y="30"/>
                    </a:lnTo>
                    <a:lnTo>
                      <a:pt x="37" y="33"/>
                    </a:lnTo>
                    <a:lnTo>
                      <a:pt x="33" y="33"/>
                    </a:lnTo>
                    <a:lnTo>
                      <a:pt x="33" y="33"/>
                    </a:lnTo>
                    <a:close/>
                    <a:moveTo>
                      <a:pt x="94" y="158"/>
                    </a:moveTo>
                    <a:lnTo>
                      <a:pt x="97" y="159"/>
                    </a:lnTo>
                    <a:lnTo>
                      <a:pt x="99" y="161"/>
                    </a:lnTo>
                    <a:lnTo>
                      <a:pt x="97" y="163"/>
                    </a:lnTo>
                    <a:lnTo>
                      <a:pt x="93" y="162"/>
                    </a:lnTo>
                    <a:lnTo>
                      <a:pt x="91" y="161"/>
                    </a:lnTo>
                    <a:lnTo>
                      <a:pt x="90" y="159"/>
                    </a:lnTo>
                    <a:lnTo>
                      <a:pt x="88" y="158"/>
                    </a:lnTo>
                    <a:lnTo>
                      <a:pt x="90" y="156"/>
                    </a:lnTo>
                    <a:lnTo>
                      <a:pt x="93" y="156"/>
                    </a:lnTo>
                    <a:lnTo>
                      <a:pt x="94" y="158"/>
                    </a:lnTo>
                    <a:lnTo>
                      <a:pt x="94" y="158"/>
                    </a:lnTo>
                    <a:close/>
                    <a:moveTo>
                      <a:pt x="52" y="41"/>
                    </a:moveTo>
                    <a:lnTo>
                      <a:pt x="49" y="40"/>
                    </a:lnTo>
                    <a:lnTo>
                      <a:pt x="47" y="40"/>
                    </a:lnTo>
                    <a:lnTo>
                      <a:pt x="43" y="39"/>
                    </a:lnTo>
                    <a:lnTo>
                      <a:pt x="42" y="36"/>
                    </a:lnTo>
                    <a:lnTo>
                      <a:pt x="40" y="39"/>
                    </a:lnTo>
                    <a:lnTo>
                      <a:pt x="38" y="39"/>
                    </a:lnTo>
                    <a:lnTo>
                      <a:pt x="37" y="42"/>
                    </a:lnTo>
                    <a:lnTo>
                      <a:pt x="39" y="44"/>
                    </a:lnTo>
                    <a:lnTo>
                      <a:pt x="41" y="46"/>
                    </a:lnTo>
                    <a:lnTo>
                      <a:pt x="45" y="46"/>
                    </a:lnTo>
                    <a:lnTo>
                      <a:pt x="47" y="46"/>
                    </a:lnTo>
                    <a:lnTo>
                      <a:pt x="50" y="46"/>
                    </a:lnTo>
                    <a:lnTo>
                      <a:pt x="52" y="46"/>
                    </a:lnTo>
                    <a:lnTo>
                      <a:pt x="55" y="47"/>
                    </a:lnTo>
                    <a:lnTo>
                      <a:pt x="56" y="43"/>
                    </a:lnTo>
                    <a:lnTo>
                      <a:pt x="55" y="41"/>
                    </a:lnTo>
                    <a:lnTo>
                      <a:pt x="52" y="41"/>
                    </a:lnTo>
                    <a:lnTo>
                      <a:pt x="52" y="41"/>
                    </a:lnTo>
                    <a:close/>
                    <a:moveTo>
                      <a:pt x="132" y="0"/>
                    </a:moveTo>
                    <a:lnTo>
                      <a:pt x="132" y="2"/>
                    </a:lnTo>
                    <a:lnTo>
                      <a:pt x="128" y="4"/>
                    </a:lnTo>
                    <a:lnTo>
                      <a:pt x="126" y="4"/>
                    </a:lnTo>
                    <a:lnTo>
                      <a:pt x="128" y="0"/>
                    </a:lnTo>
                    <a:lnTo>
                      <a:pt x="132" y="1"/>
                    </a:lnTo>
                    <a:lnTo>
                      <a:pt x="132" y="0"/>
                    </a:lnTo>
                    <a:lnTo>
                      <a:pt x="132" y="0"/>
                    </a:lnTo>
                    <a:close/>
                    <a:moveTo>
                      <a:pt x="124" y="22"/>
                    </a:moveTo>
                    <a:lnTo>
                      <a:pt x="126" y="22"/>
                    </a:lnTo>
                    <a:lnTo>
                      <a:pt x="132" y="23"/>
                    </a:lnTo>
                    <a:lnTo>
                      <a:pt x="129" y="23"/>
                    </a:lnTo>
                    <a:lnTo>
                      <a:pt x="126" y="23"/>
                    </a:lnTo>
                    <a:lnTo>
                      <a:pt x="124" y="22"/>
                    </a:lnTo>
                    <a:lnTo>
                      <a:pt x="124" y="22"/>
                    </a:lnTo>
                    <a:lnTo>
                      <a:pt x="124" y="22"/>
                    </a:lnTo>
                    <a:close/>
                    <a:moveTo>
                      <a:pt x="185" y="49"/>
                    </a:moveTo>
                    <a:lnTo>
                      <a:pt x="187" y="52"/>
                    </a:lnTo>
                    <a:lnTo>
                      <a:pt x="185" y="52"/>
                    </a:lnTo>
                    <a:lnTo>
                      <a:pt x="185" y="50"/>
                    </a:lnTo>
                    <a:lnTo>
                      <a:pt x="185" y="49"/>
                    </a:lnTo>
                    <a:lnTo>
                      <a:pt x="185" y="49"/>
                    </a:lnTo>
                    <a:close/>
                    <a:moveTo>
                      <a:pt x="192" y="58"/>
                    </a:moveTo>
                    <a:lnTo>
                      <a:pt x="190" y="58"/>
                    </a:lnTo>
                    <a:lnTo>
                      <a:pt x="192" y="56"/>
                    </a:lnTo>
                    <a:lnTo>
                      <a:pt x="192" y="58"/>
                    </a:lnTo>
                    <a:lnTo>
                      <a:pt x="192" y="58"/>
                    </a:lnTo>
                    <a:close/>
                    <a:moveTo>
                      <a:pt x="200" y="62"/>
                    </a:moveTo>
                    <a:lnTo>
                      <a:pt x="202" y="61"/>
                    </a:lnTo>
                    <a:lnTo>
                      <a:pt x="204" y="60"/>
                    </a:lnTo>
                    <a:lnTo>
                      <a:pt x="203" y="62"/>
                    </a:lnTo>
                    <a:lnTo>
                      <a:pt x="200" y="64"/>
                    </a:lnTo>
                    <a:lnTo>
                      <a:pt x="200" y="62"/>
                    </a:lnTo>
                    <a:lnTo>
                      <a:pt x="200" y="62"/>
                    </a:lnTo>
                    <a:close/>
                    <a:moveTo>
                      <a:pt x="208" y="93"/>
                    </a:moveTo>
                    <a:lnTo>
                      <a:pt x="209" y="95"/>
                    </a:lnTo>
                    <a:lnTo>
                      <a:pt x="207" y="94"/>
                    </a:lnTo>
                    <a:lnTo>
                      <a:pt x="208" y="93"/>
                    </a:lnTo>
                    <a:lnTo>
                      <a:pt x="208" y="93"/>
                    </a:lnTo>
                    <a:close/>
                    <a:moveTo>
                      <a:pt x="167" y="116"/>
                    </a:moveTo>
                    <a:lnTo>
                      <a:pt x="166" y="119"/>
                    </a:lnTo>
                    <a:lnTo>
                      <a:pt x="163" y="120"/>
                    </a:lnTo>
                    <a:lnTo>
                      <a:pt x="163" y="117"/>
                    </a:lnTo>
                    <a:lnTo>
                      <a:pt x="166" y="116"/>
                    </a:lnTo>
                    <a:lnTo>
                      <a:pt x="167" y="116"/>
                    </a:lnTo>
                    <a:lnTo>
                      <a:pt x="167" y="116"/>
                    </a:lnTo>
                    <a:close/>
                    <a:moveTo>
                      <a:pt x="179" y="139"/>
                    </a:moveTo>
                    <a:lnTo>
                      <a:pt x="180" y="142"/>
                    </a:lnTo>
                    <a:lnTo>
                      <a:pt x="182" y="145"/>
                    </a:lnTo>
                    <a:lnTo>
                      <a:pt x="178" y="143"/>
                    </a:lnTo>
                    <a:lnTo>
                      <a:pt x="177" y="139"/>
                    </a:lnTo>
                    <a:lnTo>
                      <a:pt x="179" y="139"/>
                    </a:lnTo>
                    <a:lnTo>
                      <a:pt x="179"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6" name="Freeform 212">
                <a:extLst>
                  <a:ext uri="{FF2B5EF4-FFF2-40B4-BE49-F238E27FC236}">
                    <a16:creationId xmlns:a16="http://schemas.microsoft.com/office/drawing/2014/main" id="{88B73246-B971-8CDE-1A2D-118B5DD8E45B}"/>
                  </a:ext>
                </a:extLst>
              </p:cNvPr>
              <p:cNvSpPr>
                <a:spLocks noEditPoints="1"/>
              </p:cNvSpPr>
              <p:nvPr/>
            </p:nvSpPr>
            <p:spPr bwMode="auto">
              <a:xfrm>
                <a:off x="3686175" y="2614613"/>
                <a:ext cx="381000" cy="269875"/>
              </a:xfrm>
              <a:custGeom>
                <a:avLst/>
                <a:gdLst>
                  <a:gd name="T0" fmla="*/ 58 w 240"/>
                  <a:gd name="T1" fmla="*/ 62 h 170"/>
                  <a:gd name="T2" fmla="*/ 120 w 240"/>
                  <a:gd name="T3" fmla="*/ 146 h 170"/>
                  <a:gd name="T4" fmla="*/ 120 w 240"/>
                  <a:gd name="T5" fmla="*/ 146 h 170"/>
                  <a:gd name="T6" fmla="*/ 117 w 240"/>
                  <a:gd name="T7" fmla="*/ 164 h 170"/>
                  <a:gd name="T8" fmla="*/ 101 w 240"/>
                  <a:gd name="T9" fmla="*/ 170 h 170"/>
                  <a:gd name="T10" fmla="*/ 101 w 240"/>
                  <a:gd name="T11" fmla="*/ 170 h 170"/>
                  <a:gd name="T12" fmla="*/ 43 w 240"/>
                  <a:gd name="T13" fmla="*/ 34 h 170"/>
                  <a:gd name="T14" fmla="*/ 51 w 240"/>
                  <a:gd name="T15" fmla="*/ 27 h 170"/>
                  <a:gd name="T16" fmla="*/ 59 w 240"/>
                  <a:gd name="T17" fmla="*/ 25 h 170"/>
                  <a:gd name="T18" fmla="*/ 50 w 240"/>
                  <a:gd name="T19" fmla="*/ 23 h 170"/>
                  <a:gd name="T20" fmla="*/ 47 w 240"/>
                  <a:gd name="T21" fmla="*/ 16 h 170"/>
                  <a:gd name="T22" fmla="*/ 44 w 240"/>
                  <a:gd name="T23" fmla="*/ 13 h 170"/>
                  <a:gd name="T24" fmla="*/ 36 w 240"/>
                  <a:gd name="T25" fmla="*/ 9 h 170"/>
                  <a:gd name="T26" fmla="*/ 28 w 240"/>
                  <a:gd name="T27" fmla="*/ 5 h 170"/>
                  <a:gd name="T28" fmla="*/ 23 w 240"/>
                  <a:gd name="T29" fmla="*/ 0 h 170"/>
                  <a:gd name="T30" fmla="*/ 16 w 240"/>
                  <a:gd name="T31" fmla="*/ 4 h 170"/>
                  <a:gd name="T32" fmla="*/ 17 w 240"/>
                  <a:gd name="T33" fmla="*/ 9 h 170"/>
                  <a:gd name="T34" fmla="*/ 15 w 240"/>
                  <a:gd name="T35" fmla="*/ 12 h 170"/>
                  <a:gd name="T36" fmla="*/ 8 w 240"/>
                  <a:gd name="T37" fmla="*/ 17 h 170"/>
                  <a:gd name="T38" fmla="*/ 0 w 240"/>
                  <a:gd name="T39" fmla="*/ 19 h 170"/>
                  <a:gd name="T40" fmla="*/ 6 w 240"/>
                  <a:gd name="T41" fmla="*/ 25 h 170"/>
                  <a:gd name="T42" fmla="*/ 11 w 240"/>
                  <a:gd name="T43" fmla="*/ 26 h 170"/>
                  <a:gd name="T44" fmla="*/ 17 w 240"/>
                  <a:gd name="T45" fmla="*/ 27 h 170"/>
                  <a:gd name="T46" fmla="*/ 25 w 240"/>
                  <a:gd name="T47" fmla="*/ 30 h 170"/>
                  <a:gd name="T48" fmla="*/ 33 w 240"/>
                  <a:gd name="T49" fmla="*/ 31 h 170"/>
                  <a:gd name="T50" fmla="*/ 41 w 240"/>
                  <a:gd name="T51" fmla="*/ 34 h 170"/>
                  <a:gd name="T52" fmla="*/ 234 w 240"/>
                  <a:gd name="T53" fmla="*/ 1 h 170"/>
                  <a:gd name="T54" fmla="*/ 231 w 240"/>
                  <a:gd name="T55" fmla="*/ 0 h 170"/>
                  <a:gd name="T56" fmla="*/ 219 w 240"/>
                  <a:gd name="T57" fmla="*/ 2 h 170"/>
                  <a:gd name="T58" fmla="*/ 240 w 240"/>
                  <a:gd name="T59" fmla="*/ 37 h 170"/>
                  <a:gd name="T60" fmla="*/ 240 w 240"/>
                  <a:gd name="T61" fmla="*/ 37 h 170"/>
                  <a:gd name="T62" fmla="*/ 179 w 240"/>
                  <a:gd name="T63" fmla="*/ 44 h 170"/>
                  <a:gd name="T64" fmla="*/ 177 w 240"/>
                  <a:gd name="T65" fmla="*/ 51 h 170"/>
                  <a:gd name="T66" fmla="*/ 173 w 240"/>
                  <a:gd name="T67" fmla="*/ 44 h 170"/>
                  <a:gd name="T68" fmla="*/ 177 w 240"/>
                  <a:gd name="T69" fmla="*/ 38 h 170"/>
                  <a:gd name="T70" fmla="*/ 179 w 240"/>
                  <a:gd name="T71" fmla="*/ 40 h 170"/>
                  <a:gd name="T72" fmla="*/ 222 w 240"/>
                  <a:gd name="T73" fmla="*/ 83 h 170"/>
                  <a:gd name="T74" fmla="*/ 226 w 240"/>
                  <a:gd name="T75" fmla="*/ 85 h 170"/>
                  <a:gd name="T76" fmla="*/ 222 w 240"/>
                  <a:gd name="T77" fmla="*/ 94 h 170"/>
                  <a:gd name="T78" fmla="*/ 213 w 240"/>
                  <a:gd name="T79" fmla="*/ 90 h 170"/>
                  <a:gd name="T80" fmla="*/ 219 w 240"/>
                  <a:gd name="T81" fmla="*/ 96 h 170"/>
                  <a:gd name="T82" fmla="*/ 215 w 240"/>
                  <a:gd name="T83" fmla="*/ 98 h 170"/>
                  <a:gd name="T84" fmla="*/ 211 w 240"/>
                  <a:gd name="T85" fmla="*/ 94 h 170"/>
                  <a:gd name="T86" fmla="*/ 206 w 240"/>
                  <a:gd name="T87" fmla="*/ 88 h 170"/>
                  <a:gd name="T88" fmla="*/ 213 w 240"/>
                  <a:gd name="T89" fmla="*/ 9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0" h="170">
                    <a:moveTo>
                      <a:pt x="58" y="62"/>
                    </a:moveTo>
                    <a:lnTo>
                      <a:pt x="54" y="63"/>
                    </a:lnTo>
                    <a:lnTo>
                      <a:pt x="58" y="62"/>
                    </a:lnTo>
                    <a:lnTo>
                      <a:pt x="58" y="62"/>
                    </a:lnTo>
                    <a:lnTo>
                      <a:pt x="58" y="62"/>
                    </a:lnTo>
                    <a:close/>
                    <a:moveTo>
                      <a:pt x="120" y="146"/>
                    </a:moveTo>
                    <a:lnTo>
                      <a:pt x="118" y="146"/>
                    </a:lnTo>
                    <a:lnTo>
                      <a:pt x="120" y="146"/>
                    </a:lnTo>
                    <a:lnTo>
                      <a:pt x="120" y="146"/>
                    </a:lnTo>
                    <a:close/>
                    <a:moveTo>
                      <a:pt x="117" y="164"/>
                    </a:moveTo>
                    <a:lnTo>
                      <a:pt x="113" y="164"/>
                    </a:lnTo>
                    <a:lnTo>
                      <a:pt x="117" y="164"/>
                    </a:lnTo>
                    <a:lnTo>
                      <a:pt x="117" y="164"/>
                    </a:lnTo>
                    <a:lnTo>
                      <a:pt x="117" y="164"/>
                    </a:lnTo>
                    <a:close/>
                    <a:moveTo>
                      <a:pt x="101" y="170"/>
                    </a:moveTo>
                    <a:lnTo>
                      <a:pt x="97" y="170"/>
                    </a:lnTo>
                    <a:lnTo>
                      <a:pt x="101" y="170"/>
                    </a:lnTo>
                    <a:lnTo>
                      <a:pt x="101" y="170"/>
                    </a:lnTo>
                    <a:lnTo>
                      <a:pt x="101" y="170"/>
                    </a:lnTo>
                    <a:close/>
                    <a:moveTo>
                      <a:pt x="41" y="34"/>
                    </a:moveTo>
                    <a:lnTo>
                      <a:pt x="43" y="34"/>
                    </a:lnTo>
                    <a:lnTo>
                      <a:pt x="46" y="31"/>
                    </a:lnTo>
                    <a:lnTo>
                      <a:pt x="49" y="30"/>
                    </a:lnTo>
                    <a:lnTo>
                      <a:pt x="51" y="27"/>
                    </a:lnTo>
                    <a:lnTo>
                      <a:pt x="53" y="27"/>
                    </a:lnTo>
                    <a:lnTo>
                      <a:pt x="57" y="27"/>
                    </a:lnTo>
                    <a:lnTo>
                      <a:pt x="59" y="25"/>
                    </a:lnTo>
                    <a:lnTo>
                      <a:pt x="55" y="23"/>
                    </a:lnTo>
                    <a:lnTo>
                      <a:pt x="53" y="25"/>
                    </a:lnTo>
                    <a:lnTo>
                      <a:pt x="50" y="23"/>
                    </a:lnTo>
                    <a:lnTo>
                      <a:pt x="49" y="21"/>
                    </a:lnTo>
                    <a:lnTo>
                      <a:pt x="49" y="19"/>
                    </a:lnTo>
                    <a:lnTo>
                      <a:pt x="47" y="16"/>
                    </a:lnTo>
                    <a:lnTo>
                      <a:pt x="46" y="19"/>
                    </a:lnTo>
                    <a:lnTo>
                      <a:pt x="45" y="16"/>
                    </a:lnTo>
                    <a:lnTo>
                      <a:pt x="44" y="13"/>
                    </a:lnTo>
                    <a:lnTo>
                      <a:pt x="42" y="11"/>
                    </a:lnTo>
                    <a:lnTo>
                      <a:pt x="38" y="10"/>
                    </a:lnTo>
                    <a:lnTo>
                      <a:pt x="36" y="9"/>
                    </a:lnTo>
                    <a:lnTo>
                      <a:pt x="33" y="6"/>
                    </a:lnTo>
                    <a:lnTo>
                      <a:pt x="30" y="4"/>
                    </a:lnTo>
                    <a:lnTo>
                      <a:pt x="28" y="5"/>
                    </a:lnTo>
                    <a:lnTo>
                      <a:pt x="28" y="3"/>
                    </a:lnTo>
                    <a:lnTo>
                      <a:pt x="26" y="2"/>
                    </a:lnTo>
                    <a:lnTo>
                      <a:pt x="23" y="0"/>
                    </a:lnTo>
                    <a:lnTo>
                      <a:pt x="20" y="0"/>
                    </a:lnTo>
                    <a:lnTo>
                      <a:pt x="17" y="2"/>
                    </a:lnTo>
                    <a:lnTo>
                      <a:pt x="16" y="4"/>
                    </a:lnTo>
                    <a:lnTo>
                      <a:pt x="17" y="8"/>
                    </a:lnTo>
                    <a:lnTo>
                      <a:pt x="20" y="10"/>
                    </a:lnTo>
                    <a:lnTo>
                      <a:pt x="17" y="9"/>
                    </a:lnTo>
                    <a:lnTo>
                      <a:pt x="15" y="6"/>
                    </a:lnTo>
                    <a:lnTo>
                      <a:pt x="15" y="10"/>
                    </a:lnTo>
                    <a:lnTo>
                      <a:pt x="15" y="12"/>
                    </a:lnTo>
                    <a:lnTo>
                      <a:pt x="12" y="13"/>
                    </a:lnTo>
                    <a:lnTo>
                      <a:pt x="10" y="17"/>
                    </a:lnTo>
                    <a:lnTo>
                      <a:pt x="8" y="17"/>
                    </a:lnTo>
                    <a:lnTo>
                      <a:pt x="6" y="18"/>
                    </a:lnTo>
                    <a:lnTo>
                      <a:pt x="2" y="17"/>
                    </a:lnTo>
                    <a:lnTo>
                      <a:pt x="0" y="19"/>
                    </a:lnTo>
                    <a:lnTo>
                      <a:pt x="0" y="21"/>
                    </a:lnTo>
                    <a:lnTo>
                      <a:pt x="3" y="25"/>
                    </a:lnTo>
                    <a:lnTo>
                      <a:pt x="6" y="25"/>
                    </a:lnTo>
                    <a:lnTo>
                      <a:pt x="8" y="22"/>
                    </a:lnTo>
                    <a:lnTo>
                      <a:pt x="9" y="25"/>
                    </a:lnTo>
                    <a:lnTo>
                      <a:pt x="11" y="26"/>
                    </a:lnTo>
                    <a:lnTo>
                      <a:pt x="15" y="27"/>
                    </a:lnTo>
                    <a:lnTo>
                      <a:pt x="16" y="25"/>
                    </a:lnTo>
                    <a:lnTo>
                      <a:pt x="17" y="27"/>
                    </a:lnTo>
                    <a:lnTo>
                      <a:pt x="19" y="29"/>
                    </a:lnTo>
                    <a:lnTo>
                      <a:pt x="23" y="29"/>
                    </a:lnTo>
                    <a:lnTo>
                      <a:pt x="25" y="30"/>
                    </a:lnTo>
                    <a:lnTo>
                      <a:pt x="28" y="33"/>
                    </a:lnTo>
                    <a:lnTo>
                      <a:pt x="30" y="33"/>
                    </a:lnTo>
                    <a:lnTo>
                      <a:pt x="33" y="31"/>
                    </a:lnTo>
                    <a:lnTo>
                      <a:pt x="36" y="33"/>
                    </a:lnTo>
                    <a:lnTo>
                      <a:pt x="38" y="34"/>
                    </a:lnTo>
                    <a:lnTo>
                      <a:pt x="41" y="34"/>
                    </a:lnTo>
                    <a:lnTo>
                      <a:pt x="41" y="34"/>
                    </a:lnTo>
                    <a:close/>
                    <a:moveTo>
                      <a:pt x="231" y="0"/>
                    </a:moveTo>
                    <a:lnTo>
                      <a:pt x="234" y="1"/>
                    </a:lnTo>
                    <a:lnTo>
                      <a:pt x="231" y="1"/>
                    </a:lnTo>
                    <a:lnTo>
                      <a:pt x="231" y="0"/>
                    </a:lnTo>
                    <a:lnTo>
                      <a:pt x="231" y="0"/>
                    </a:lnTo>
                    <a:close/>
                    <a:moveTo>
                      <a:pt x="219" y="2"/>
                    </a:moveTo>
                    <a:lnTo>
                      <a:pt x="215" y="3"/>
                    </a:lnTo>
                    <a:lnTo>
                      <a:pt x="219" y="2"/>
                    </a:lnTo>
                    <a:lnTo>
                      <a:pt x="219" y="2"/>
                    </a:lnTo>
                    <a:lnTo>
                      <a:pt x="219" y="2"/>
                    </a:lnTo>
                    <a:close/>
                    <a:moveTo>
                      <a:pt x="240" y="37"/>
                    </a:moveTo>
                    <a:lnTo>
                      <a:pt x="237" y="37"/>
                    </a:lnTo>
                    <a:lnTo>
                      <a:pt x="239" y="36"/>
                    </a:lnTo>
                    <a:lnTo>
                      <a:pt x="240" y="37"/>
                    </a:lnTo>
                    <a:lnTo>
                      <a:pt x="240" y="37"/>
                    </a:lnTo>
                    <a:close/>
                    <a:moveTo>
                      <a:pt x="179" y="40"/>
                    </a:moveTo>
                    <a:lnTo>
                      <a:pt x="179" y="44"/>
                    </a:lnTo>
                    <a:lnTo>
                      <a:pt x="180" y="46"/>
                    </a:lnTo>
                    <a:lnTo>
                      <a:pt x="179" y="50"/>
                    </a:lnTo>
                    <a:lnTo>
                      <a:pt x="177" y="51"/>
                    </a:lnTo>
                    <a:lnTo>
                      <a:pt x="173" y="50"/>
                    </a:lnTo>
                    <a:lnTo>
                      <a:pt x="172" y="47"/>
                    </a:lnTo>
                    <a:lnTo>
                      <a:pt x="173" y="44"/>
                    </a:lnTo>
                    <a:lnTo>
                      <a:pt x="173" y="42"/>
                    </a:lnTo>
                    <a:lnTo>
                      <a:pt x="174" y="38"/>
                    </a:lnTo>
                    <a:lnTo>
                      <a:pt x="177" y="38"/>
                    </a:lnTo>
                    <a:lnTo>
                      <a:pt x="179" y="40"/>
                    </a:lnTo>
                    <a:lnTo>
                      <a:pt x="179" y="40"/>
                    </a:lnTo>
                    <a:lnTo>
                      <a:pt x="179" y="40"/>
                    </a:lnTo>
                    <a:close/>
                    <a:moveTo>
                      <a:pt x="226" y="85"/>
                    </a:moveTo>
                    <a:lnTo>
                      <a:pt x="224" y="86"/>
                    </a:lnTo>
                    <a:lnTo>
                      <a:pt x="222" y="83"/>
                    </a:lnTo>
                    <a:lnTo>
                      <a:pt x="225" y="85"/>
                    </a:lnTo>
                    <a:lnTo>
                      <a:pt x="226" y="85"/>
                    </a:lnTo>
                    <a:lnTo>
                      <a:pt x="226" y="85"/>
                    </a:lnTo>
                    <a:close/>
                    <a:moveTo>
                      <a:pt x="222" y="95"/>
                    </a:moveTo>
                    <a:lnTo>
                      <a:pt x="219" y="95"/>
                    </a:lnTo>
                    <a:lnTo>
                      <a:pt x="222" y="94"/>
                    </a:lnTo>
                    <a:lnTo>
                      <a:pt x="222" y="95"/>
                    </a:lnTo>
                    <a:lnTo>
                      <a:pt x="222" y="95"/>
                    </a:lnTo>
                    <a:close/>
                    <a:moveTo>
                      <a:pt x="213" y="90"/>
                    </a:moveTo>
                    <a:lnTo>
                      <a:pt x="216" y="93"/>
                    </a:lnTo>
                    <a:lnTo>
                      <a:pt x="215" y="95"/>
                    </a:lnTo>
                    <a:lnTo>
                      <a:pt x="219" y="96"/>
                    </a:lnTo>
                    <a:lnTo>
                      <a:pt x="221" y="97"/>
                    </a:lnTo>
                    <a:lnTo>
                      <a:pt x="219" y="98"/>
                    </a:lnTo>
                    <a:lnTo>
                      <a:pt x="215" y="98"/>
                    </a:lnTo>
                    <a:lnTo>
                      <a:pt x="215" y="96"/>
                    </a:lnTo>
                    <a:lnTo>
                      <a:pt x="213" y="97"/>
                    </a:lnTo>
                    <a:lnTo>
                      <a:pt x="211" y="94"/>
                    </a:lnTo>
                    <a:lnTo>
                      <a:pt x="209" y="91"/>
                    </a:lnTo>
                    <a:lnTo>
                      <a:pt x="207" y="90"/>
                    </a:lnTo>
                    <a:lnTo>
                      <a:pt x="206" y="88"/>
                    </a:lnTo>
                    <a:lnTo>
                      <a:pt x="208" y="88"/>
                    </a:lnTo>
                    <a:lnTo>
                      <a:pt x="212" y="89"/>
                    </a:lnTo>
                    <a:lnTo>
                      <a:pt x="213" y="90"/>
                    </a:lnTo>
                    <a:lnTo>
                      <a:pt x="21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7" name="Freeform 213">
                <a:extLst>
                  <a:ext uri="{FF2B5EF4-FFF2-40B4-BE49-F238E27FC236}">
                    <a16:creationId xmlns:a16="http://schemas.microsoft.com/office/drawing/2014/main" id="{B2CD4DD7-8085-8116-18C4-303ACD5C6315}"/>
                  </a:ext>
                </a:extLst>
              </p:cNvPr>
              <p:cNvSpPr>
                <a:spLocks noEditPoints="1"/>
              </p:cNvSpPr>
              <p:nvPr/>
            </p:nvSpPr>
            <p:spPr bwMode="auto">
              <a:xfrm>
                <a:off x="3308350" y="2622550"/>
                <a:ext cx="468312" cy="306388"/>
              </a:xfrm>
              <a:custGeom>
                <a:avLst/>
                <a:gdLst>
                  <a:gd name="T0" fmla="*/ 65 w 295"/>
                  <a:gd name="T1" fmla="*/ 175 h 193"/>
                  <a:gd name="T2" fmla="*/ 59 w 295"/>
                  <a:gd name="T3" fmla="*/ 178 h 193"/>
                  <a:gd name="T4" fmla="*/ 59 w 295"/>
                  <a:gd name="T5" fmla="*/ 177 h 193"/>
                  <a:gd name="T6" fmla="*/ 65 w 295"/>
                  <a:gd name="T7" fmla="*/ 174 h 193"/>
                  <a:gd name="T8" fmla="*/ 68 w 295"/>
                  <a:gd name="T9" fmla="*/ 174 h 193"/>
                  <a:gd name="T10" fmla="*/ 60 w 295"/>
                  <a:gd name="T11" fmla="*/ 178 h 193"/>
                  <a:gd name="T12" fmla="*/ 60 w 295"/>
                  <a:gd name="T13" fmla="*/ 178 h 193"/>
                  <a:gd name="T14" fmla="*/ 63 w 295"/>
                  <a:gd name="T15" fmla="*/ 177 h 193"/>
                  <a:gd name="T16" fmla="*/ 59 w 295"/>
                  <a:gd name="T17" fmla="*/ 182 h 193"/>
                  <a:gd name="T18" fmla="*/ 63 w 295"/>
                  <a:gd name="T19" fmla="*/ 178 h 193"/>
                  <a:gd name="T20" fmla="*/ 63 w 295"/>
                  <a:gd name="T21" fmla="*/ 177 h 193"/>
                  <a:gd name="T22" fmla="*/ 6 w 295"/>
                  <a:gd name="T23" fmla="*/ 192 h 193"/>
                  <a:gd name="T24" fmla="*/ 0 w 295"/>
                  <a:gd name="T25" fmla="*/ 192 h 193"/>
                  <a:gd name="T26" fmla="*/ 3 w 295"/>
                  <a:gd name="T27" fmla="*/ 191 h 193"/>
                  <a:gd name="T28" fmla="*/ 227 w 295"/>
                  <a:gd name="T29" fmla="*/ 16 h 193"/>
                  <a:gd name="T30" fmla="*/ 228 w 295"/>
                  <a:gd name="T31" fmla="*/ 21 h 193"/>
                  <a:gd name="T32" fmla="*/ 223 w 295"/>
                  <a:gd name="T33" fmla="*/ 22 h 193"/>
                  <a:gd name="T34" fmla="*/ 225 w 295"/>
                  <a:gd name="T35" fmla="*/ 15 h 193"/>
                  <a:gd name="T36" fmla="*/ 227 w 295"/>
                  <a:gd name="T37" fmla="*/ 16 h 193"/>
                  <a:gd name="T38" fmla="*/ 208 w 295"/>
                  <a:gd name="T39" fmla="*/ 24 h 193"/>
                  <a:gd name="T40" fmla="*/ 203 w 295"/>
                  <a:gd name="T41" fmla="*/ 25 h 193"/>
                  <a:gd name="T42" fmla="*/ 203 w 295"/>
                  <a:gd name="T43" fmla="*/ 22 h 193"/>
                  <a:gd name="T44" fmla="*/ 208 w 295"/>
                  <a:gd name="T45" fmla="*/ 22 h 193"/>
                  <a:gd name="T46" fmla="*/ 168 w 295"/>
                  <a:gd name="T47" fmla="*/ 26 h 193"/>
                  <a:gd name="T48" fmla="*/ 169 w 295"/>
                  <a:gd name="T49" fmla="*/ 30 h 193"/>
                  <a:gd name="T50" fmla="*/ 164 w 295"/>
                  <a:gd name="T51" fmla="*/ 29 h 193"/>
                  <a:gd name="T52" fmla="*/ 168 w 295"/>
                  <a:gd name="T53" fmla="*/ 26 h 193"/>
                  <a:gd name="T54" fmla="*/ 293 w 295"/>
                  <a:gd name="T55" fmla="*/ 3 h 193"/>
                  <a:gd name="T56" fmla="*/ 293 w 295"/>
                  <a:gd name="T57" fmla="*/ 7 h 193"/>
                  <a:gd name="T58" fmla="*/ 290 w 295"/>
                  <a:gd name="T59" fmla="*/ 6 h 193"/>
                  <a:gd name="T60" fmla="*/ 289 w 295"/>
                  <a:gd name="T61" fmla="*/ 5 h 193"/>
                  <a:gd name="T62" fmla="*/ 287 w 295"/>
                  <a:gd name="T63" fmla="*/ 3 h 193"/>
                  <a:gd name="T64" fmla="*/ 292 w 295"/>
                  <a:gd name="T65" fmla="*/ 3 h 193"/>
                  <a:gd name="T66" fmla="*/ 293 w 295"/>
                  <a:gd name="T67" fmla="*/ 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5" h="193">
                    <a:moveTo>
                      <a:pt x="68" y="174"/>
                    </a:moveTo>
                    <a:lnTo>
                      <a:pt x="65" y="175"/>
                    </a:lnTo>
                    <a:lnTo>
                      <a:pt x="62" y="177"/>
                    </a:lnTo>
                    <a:lnTo>
                      <a:pt x="59" y="178"/>
                    </a:lnTo>
                    <a:lnTo>
                      <a:pt x="57" y="178"/>
                    </a:lnTo>
                    <a:lnTo>
                      <a:pt x="59" y="177"/>
                    </a:lnTo>
                    <a:lnTo>
                      <a:pt x="62" y="175"/>
                    </a:lnTo>
                    <a:lnTo>
                      <a:pt x="65" y="174"/>
                    </a:lnTo>
                    <a:lnTo>
                      <a:pt x="68" y="174"/>
                    </a:lnTo>
                    <a:lnTo>
                      <a:pt x="68" y="174"/>
                    </a:lnTo>
                    <a:lnTo>
                      <a:pt x="68" y="174"/>
                    </a:lnTo>
                    <a:close/>
                    <a:moveTo>
                      <a:pt x="60" y="178"/>
                    </a:moveTo>
                    <a:lnTo>
                      <a:pt x="58" y="180"/>
                    </a:lnTo>
                    <a:lnTo>
                      <a:pt x="60" y="178"/>
                    </a:lnTo>
                    <a:lnTo>
                      <a:pt x="60" y="178"/>
                    </a:lnTo>
                    <a:close/>
                    <a:moveTo>
                      <a:pt x="63" y="177"/>
                    </a:moveTo>
                    <a:lnTo>
                      <a:pt x="62" y="180"/>
                    </a:lnTo>
                    <a:lnTo>
                      <a:pt x="59" y="182"/>
                    </a:lnTo>
                    <a:lnTo>
                      <a:pt x="60" y="179"/>
                    </a:lnTo>
                    <a:lnTo>
                      <a:pt x="63" y="178"/>
                    </a:lnTo>
                    <a:lnTo>
                      <a:pt x="63" y="177"/>
                    </a:lnTo>
                    <a:lnTo>
                      <a:pt x="63" y="177"/>
                    </a:lnTo>
                    <a:close/>
                    <a:moveTo>
                      <a:pt x="3" y="191"/>
                    </a:moveTo>
                    <a:lnTo>
                      <a:pt x="6" y="192"/>
                    </a:lnTo>
                    <a:lnTo>
                      <a:pt x="3" y="193"/>
                    </a:lnTo>
                    <a:lnTo>
                      <a:pt x="0" y="192"/>
                    </a:lnTo>
                    <a:lnTo>
                      <a:pt x="3" y="191"/>
                    </a:lnTo>
                    <a:lnTo>
                      <a:pt x="3" y="191"/>
                    </a:lnTo>
                    <a:lnTo>
                      <a:pt x="3" y="191"/>
                    </a:lnTo>
                    <a:close/>
                    <a:moveTo>
                      <a:pt x="227" y="16"/>
                    </a:moveTo>
                    <a:lnTo>
                      <a:pt x="229" y="18"/>
                    </a:lnTo>
                    <a:lnTo>
                      <a:pt x="228" y="21"/>
                    </a:lnTo>
                    <a:lnTo>
                      <a:pt x="225" y="23"/>
                    </a:lnTo>
                    <a:lnTo>
                      <a:pt x="223" y="22"/>
                    </a:lnTo>
                    <a:lnTo>
                      <a:pt x="223" y="16"/>
                    </a:lnTo>
                    <a:lnTo>
                      <a:pt x="225" y="15"/>
                    </a:lnTo>
                    <a:lnTo>
                      <a:pt x="227" y="16"/>
                    </a:lnTo>
                    <a:lnTo>
                      <a:pt x="227" y="16"/>
                    </a:lnTo>
                    <a:close/>
                    <a:moveTo>
                      <a:pt x="208" y="22"/>
                    </a:moveTo>
                    <a:lnTo>
                      <a:pt x="208" y="24"/>
                    </a:lnTo>
                    <a:lnTo>
                      <a:pt x="205" y="26"/>
                    </a:lnTo>
                    <a:lnTo>
                      <a:pt x="203" y="25"/>
                    </a:lnTo>
                    <a:lnTo>
                      <a:pt x="199" y="24"/>
                    </a:lnTo>
                    <a:lnTo>
                      <a:pt x="203" y="22"/>
                    </a:lnTo>
                    <a:lnTo>
                      <a:pt x="205" y="21"/>
                    </a:lnTo>
                    <a:lnTo>
                      <a:pt x="208" y="22"/>
                    </a:lnTo>
                    <a:lnTo>
                      <a:pt x="208" y="22"/>
                    </a:lnTo>
                    <a:close/>
                    <a:moveTo>
                      <a:pt x="168" y="26"/>
                    </a:moveTo>
                    <a:lnTo>
                      <a:pt x="170" y="28"/>
                    </a:lnTo>
                    <a:lnTo>
                      <a:pt x="169" y="30"/>
                    </a:lnTo>
                    <a:lnTo>
                      <a:pt x="167" y="30"/>
                    </a:lnTo>
                    <a:lnTo>
                      <a:pt x="164" y="29"/>
                    </a:lnTo>
                    <a:lnTo>
                      <a:pt x="163" y="26"/>
                    </a:lnTo>
                    <a:lnTo>
                      <a:pt x="168" y="26"/>
                    </a:lnTo>
                    <a:lnTo>
                      <a:pt x="168" y="26"/>
                    </a:lnTo>
                    <a:close/>
                    <a:moveTo>
                      <a:pt x="293" y="3"/>
                    </a:moveTo>
                    <a:lnTo>
                      <a:pt x="295" y="5"/>
                    </a:lnTo>
                    <a:lnTo>
                      <a:pt x="293" y="7"/>
                    </a:lnTo>
                    <a:lnTo>
                      <a:pt x="290" y="8"/>
                    </a:lnTo>
                    <a:lnTo>
                      <a:pt x="290" y="6"/>
                    </a:lnTo>
                    <a:lnTo>
                      <a:pt x="290" y="3"/>
                    </a:lnTo>
                    <a:lnTo>
                      <a:pt x="289" y="5"/>
                    </a:lnTo>
                    <a:lnTo>
                      <a:pt x="285" y="5"/>
                    </a:lnTo>
                    <a:lnTo>
                      <a:pt x="287" y="3"/>
                    </a:lnTo>
                    <a:lnTo>
                      <a:pt x="290" y="0"/>
                    </a:lnTo>
                    <a:lnTo>
                      <a:pt x="292" y="3"/>
                    </a:lnTo>
                    <a:lnTo>
                      <a:pt x="293" y="3"/>
                    </a:lnTo>
                    <a:lnTo>
                      <a:pt x="29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8" name="Freeform 214">
                <a:extLst>
                  <a:ext uri="{FF2B5EF4-FFF2-40B4-BE49-F238E27FC236}">
                    <a16:creationId xmlns:a16="http://schemas.microsoft.com/office/drawing/2014/main" id="{45BD2398-590A-C183-93B6-DF95F613278E}"/>
                  </a:ext>
                </a:extLst>
              </p:cNvPr>
              <p:cNvSpPr>
                <a:spLocks noEditPoints="1"/>
              </p:cNvSpPr>
              <p:nvPr/>
            </p:nvSpPr>
            <p:spPr bwMode="auto">
              <a:xfrm>
                <a:off x="5246688" y="2574925"/>
                <a:ext cx="36512" cy="15875"/>
              </a:xfrm>
              <a:custGeom>
                <a:avLst/>
                <a:gdLst>
                  <a:gd name="T0" fmla="*/ 6 w 23"/>
                  <a:gd name="T1" fmla="*/ 0 h 10"/>
                  <a:gd name="T2" fmla="*/ 4 w 23"/>
                  <a:gd name="T3" fmla="*/ 2 h 10"/>
                  <a:gd name="T4" fmla="*/ 0 w 23"/>
                  <a:gd name="T5" fmla="*/ 3 h 10"/>
                  <a:gd name="T6" fmla="*/ 0 w 23"/>
                  <a:gd name="T7" fmla="*/ 1 h 10"/>
                  <a:gd name="T8" fmla="*/ 2 w 23"/>
                  <a:gd name="T9" fmla="*/ 0 h 10"/>
                  <a:gd name="T10" fmla="*/ 5 w 23"/>
                  <a:gd name="T11" fmla="*/ 0 h 10"/>
                  <a:gd name="T12" fmla="*/ 6 w 23"/>
                  <a:gd name="T13" fmla="*/ 0 h 10"/>
                  <a:gd name="T14" fmla="*/ 6 w 23"/>
                  <a:gd name="T15" fmla="*/ 0 h 10"/>
                  <a:gd name="T16" fmla="*/ 23 w 23"/>
                  <a:gd name="T17" fmla="*/ 9 h 10"/>
                  <a:gd name="T18" fmla="*/ 19 w 23"/>
                  <a:gd name="T19" fmla="*/ 10 h 10"/>
                  <a:gd name="T20" fmla="*/ 22 w 23"/>
                  <a:gd name="T21" fmla="*/ 9 h 10"/>
                  <a:gd name="T22" fmla="*/ 23 w 23"/>
                  <a:gd name="T23" fmla="*/ 9 h 10"/>
                  <a:gd name="T24" fmla="*/ 23 w 23"/>
                  <a:gd name="T25"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0">
                    <a:moveTo>
                      <a:pt x="6" y="0"/>
                    </a:moveTo>
                    <a:lnTo>
                      <a:pt x="4" y="2"/>
                    </a:lnTo>
                    <a:lnTo>
                      <a:pt x="0" y="3"/>
                    </a:lnTo>
                    <a:lnTo>
                      <a:pt x="0" y="1"/>
                    </a:lnTo>
                    <a:lnTo>
                      <a:pt x="2" y="0"/>
                    </a:lnTo>
                    <a:lnTo>
                      <a:pt x="5" y="0"/>
                    </a:lnTo>
                    <a:lnTo>
                      <a:pt x="6" y="0"/>
                    </a:lnTo>
                    <a:lnTo>
                      <a:pt x="6" y="0"/>
                    </a:lnTo>
                    <a:close/>
                    <a:moveTo>
                      <a:pt x="23" y="9"/>
                    </a:moveTo>
                    <a:lnTo>
                      <a:pt x="19" y="10"/>
                    </a:lnTo>
                    <a:lnTo>
                      <a:pt x="22" y="9"/>
                    </a:lnTo>
                    <a:lnTo>
                      <a:pt x="23" y="9"/>
                    </a:lnTo>
                    <a:lnTo>
                      <a:pt x="2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19" name="Freeform 215">
                <a:extLst>
                  <a:ext uri="{FF2B5EF4-FFF2-40B4-BE49-F238E27FC236}">
                    <a16:creationId xmlns:a16="http://schemas.microsoft.com/office/drawing/2014/main" id="{15076CDC-86A7-7FDD-03E2-3BD51BFAB3E0}"/>
                  </a:ext>
                </a:extLst>
              </p:cNvPr>
              <p:cNvSpPr>
                <a:spLocks/>
              </p:cNvSpPr>
              <p:nvPr/>
            </p:nvSpPr>
            <p:spPr bwMode="auto">
              <a:xfrm>
                <a:off x="3892550" y="2454275"/>
                <a:ext cx="623887" cy="447675"/>
              </a:xfrm>
              <a:custGeom>
                <a:avLst/>
                <a:gdLst>
                  <a:gd name="T0" fmla="*/ 17 w 393"/>
                  <a:gd name="T1" fmla="*/ 72 h 282"/>
                  <a:gd name="T2" fmla="*/ 43 w 393"/>
                  <a:gd name="T3" fmla="*/ 88 h 282"/>
                  <a:gd name="T4" fmla="*/ 79 w 393"/>
                  <a:gd name="T5" fmla="*/ 98 h 282"/>
                  <a:gd name="T6" fmla="*/ 108 w 393"/>
                  <a:gd name="T7" fmla="*/ 95 h 282"/>
                  <a:gd name="T8" fmla="*/ 139 w 393"/>
                  <a:gd name="T9" fmla="*/ 100 h 282"/>
                  <a:gd name="T10" fmla="*/ 159 w 393"/>
                  <a:gd name="T11" fmla="*/ 89 h 282"/>
                  <a:gd name="T12" fmla="*/ 185 w 393"/>
                  <a:gd name="T13" fmla="*/ 110 h 282"/>
                  <a:gd name="T14" fmla="*/ 207 w 393"/>
                  <a:gd name="T15" fmla="*/ 120 h 282"/>
                  <a:gd name="T16" fmla="*/ 234 w 393"/>
                  <a:gd name="T17" fmla="*/ 144 h 282"/>
                  <a:gd name="T18" fmla="*/ 258 w 393"/>
                  <a:gd name="T19" fmla="*/ 169 h 282"/>
                  <a:gd name="T20" fmla="*/ 265 w 393"/>
                  <a:gd name="T21" fmla="*/ 184 h 282"/>
                  <a:gd name="T22" fmla="*/ 227 w 393"/>
                  <a:gd name="T23" fmla="*/ 180 h 282"/>
                  <a:gd name="T24" fmla="*/ 195 w 393"/>
                  <a:gd name="T25" fmla="*/ 209 h 282"/>
                  <a:gd name="T26" fmla="*/ 168 w 393"/>
                  <a:gd name="T27" fmla="*/ 212 h 282"/>
                  <a:gd name="T28" fmla="*/ 203 w 393"/>
                  <a:gd name="T29" fmla="*/ 226 h 282"/>
                  <a:gd name="T30" fmla="*/ 229 w 393"/>
                  <a:gd name="T31" fmla="*/ 224 h 282"/>
                  <a:gd name="T32" fmla="*/ 249 w 393"/>
                  <a:gd name="T33" fmla="*/ 252 h 282"/>
                  <a:gd name="T34" fmla="*/ 301 w 393"/>
                  <a:gd name="T35" fmla="*/ 275 h 282"/>
                  <a:gd name="T36" fmla="*/ 312 w 393"/>
                  <a:gd name="T37" fmla="*/ 261 h 282"/>
                  <a:gd name="T38" fmla="*/ 306 w 393"/>
                  <a:gd name="T39" fmla="*/ 246 h 282"/>
                  <a:gd name="T40" fmla="*/ 340 w 393"/>
                  <a:gd name="T41" fmla="*/ 267 h 282"/>
                  <a:gd name="T42" fmla="*/ 349 w 393"/>
                  <a:gd name="T43" fmla="*/ 249 h 282"/>
                  <a:gd name="T44" fmla="*/ 331 w 393"/>
                  <a:gd name="T45" fmla="*/ 220 h 282"/>
                  <a:gd name="T46" fmla="*/ 303 w 393"/>
                  <a:gd name="T47" fmla="*/ 201 h 282"/>
                  <a:gd name="T48" fmla="*/ 305 w 393"/>
                  <a:gd name="T49" fmla="*/ 184 h 282"/>
                  <a:gd name="T50" fmla="*/ 329 w 393"/>
                  <a:gd name="T51" fmla="*/ 189 h 282"/>
                  <a:gd name="T52" fmla="*/ 339 w 393"/>
                  <a:gd name="T53" fmla="*/ 194 h 282"/>
                  <a:gd name="T54" fmla="*/ 350 w 393"/>
                  <a:gd name="T55" fmla="*/ 208 h 282"/>
                  <a:gd name="T56" fmla="*/ 369 w 393"/>
                  <a:gd name="T57" fmla="*/ 200 h 282"/>
                  <a:gd name="T58" fmla="*/ 379 w 393"/>
                  <a:gd name="T59" fmla="*/ 186 h 282"/>
                  <a:gd name="T60" fmla="*/ 386 w 393"/>
                  <a:gd name="T61" fmla="*/ 172 h 282"/>
                  <a:gd name="T62" fmla="*/ 363 w 393"/>
                  <a:gd name="T63" fmla="*/ 171 h 282"/>
                  <a:gd name="T64" fmla="*/ 350 w 393"/>
                  <a:gd name="T65" fmla="*/ 164 h 282"/>
                  <a:gd name="T66" fmla="*/ 342 w 393"/>
                  <a:gd name="T67" fmla="*/ 152 h 282"/>
                  <a:gd name="T68" fmla="*/ 320 w 393"/>
                  <a:gd name="T69" fmla="*/ 148 h 282"/>
                  <a:gd name="T70" fmla="*/ 312 w 393"/>
                  <a:gd name="T71" fmla="*/ 136 h 282"/>
                  <a:gd name="T72" fmla="*/ 297 w 393"/>
                  <a:gd name="T73" fmla="*/ 129 h 282"/>
                  <a:gd name="T74" fmla="*/ 300 w 393"/>
                  <a:gd name="T75" fmla="*/ 119 h 282"/>
                  <a:gd name="T76" fmla="*/ 291 w 393"/>
                  <a:gd name="T77" fmla="*/ 114 h 282"/>
                  <a:gd name="T78" fmla="*/ 289 w 393"/>
                  <a:gd name="T79" fmla="*/ 109 h 282"/>
                  <a:gd name="T80" fmla="*/ 312 w 393"/>
                  <a:gd name="T81" fmla="*/ 100 h 282"/>
                  <a:gd name="T82" fmla="*/ 284 w 393"/>
                  <a:gd name="T83" fmla="*/ 100 h 282"/>
                  <a:gd name="T84" fmla="*/ 282 w 393"/>
                  <a:gd name="T85" fmla="*/ 92 h 282"/>
                  <a:gd name="T86" fmla="*/ 274 w 393"/>
                  <a:gd name="T87" fmla="*/ 77 h 282"/>
                  <a:gd name="T88" fmla="*/ 253 w 393"/>
                  <a:gd name="T89" fmla="*/ 84 h 282"/>
                  <a:gd name="T90" fmla="*/ 238 w 393"/>
                  <a:gd name="T91" fmla="*/ 78 h 282"/>
                  <a:gd name="T92" fmla="*/ 228 w 393"/>
                  <a:gd name="T93" fmla="*/ 73 h 282"/>
                  <a:gd name="T94" fmla="*/ 220 w 393"/>
                  <a:gd name="T95" fmla="*/ 59 h 282"/>
                  <a:gd name="T96" fmla="*/ 205 w 393"/>
                  <a:gd name="T97" fmla="*/ 57 h 282"/>
                  <a:gd name="T98" fmla="*/ 201 w 393"/>
                  <a:gd name="T99" fmla="*/ 45 h 282"/>
                  <a:gd name="T100" fmla="*/ 184 w 393"/>
                  <a:gd name="T101" fmla="*/ 32 h 282"/>
                  <a:gd name="T102" fmla="*/ 166 w 393"/>
                  <a:gd name="T103" fmla="*/ 41 h 282"/>
                  <a:gd name="T104" fmla="*/ 156 w 393"/>
                  <a:gd name="T105" fmla="*/ 44 h 282"/>
                  <a:gd name="T106" fmla="*/ 137 w 393"/>
                  <a:gd name="T107" fmla="*/ 43 h 282"/>
                  <a:gd name="T108" fmla="*/ 127 w 393"/>
                  <a:gd name="T109" fmla="*/ 34 h 282"/>
                  <a:gd name="T110" fmla="*/ 95 w 393"/>
                  <a:gd name="T111" fmla="*/ 4 h 282"/>
                  <a:gd name="T112" fmla="*/ 83 w 393"/>
                  <a:gd name="T113" fmla="*/ 20 h 282"/>
                  <a:gd name="T114" fmla="*/ 67 w 393"/>
                  <a:gd name="T115" fmla="*/ 24 h 282"/>
                  <a:gd name="T116" fmla="*/ 69 w 393"/>
                  <a:gd name="T117" fmla="*/ 42 h 282"/>
                  <a:gd name="T118" fmla="*/ 69 w 393"/>
                  <a:gd name="T119" fmla="*/ 72 h 282"/>
                  <a:gd name="T120" fmla="*/ 64 w 393"/>
                  <a:gd name="T121" fmla="*/ 61 h 282"/>
                  <a:gd name="T122" fmla="*/ 70 w 393"/>
                  <a:gd name="T123" fmla="*/ 2 h 282"/>
                  <a:gd name="T124" fmla="*/ 9 w 393"/>
                  <a:gd name="T125" fmla="*/ 2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3" h="282">
                    <a:moveTo>
                      <a:pt x="0" y="61"/>
                    </a:moveTo>
                    <a:lnTo>
                      <a:pt x="1" y="64"/>
                    </a:lnTo>
                    <a:lnTo>
                      <a:pt x="5" y="66"/>
                    </a:lnTo>
                    <a:lnTo>
                      <a:pt x="7" y="66"/>
                    </a:lnTo>
                    <a:lnTo>
                      <a:pt x="10" y="66"/>
                    </a:lnTo>
                    <a:lnTo>
                      <a:pt x="18" y="67"/>
                    </a:lnTo>
                    <a:lnTo>
                      <a:pt x="21" y="67"/>
                    </a:lnTo>
                    <a:lnTo>
                      <a:pt x="24" y="67"/>
                    </a:lnTo>
                    <a:lnTo>
                      <a:pt x="26" y="68"/>
                    </a:lnTo>
                    <a:lnTo>
                      <a:pt x="30" y="67"/>
                    </a:lnTo>
                    <a:lnTo>
                      <a:pt x="31" y="69"/>
                    </a:lnTo>
                    <a:lnTo>
                      <a:pt x="33" y="70"/>
                    </a:lnTo>
                    <a:lnTo>
                      <a:pt x="36" y="72"/>
                    </a:lnTo>
                    <a:lnTo>
                      <a:pt x="39" y="72"/>
                    </a:lnTo>
                    <a:lnTo>
                      <a:pt x="36" y="75"/>
                    </a:lnTo>
                    <a:lnTo>
                      <a:pt x="33" y="75"/>
                    </a:lnTo>
                    <a:lnTo>
                      <a:pt x="31" y="73"/>
                    </a:lnTo>
                    <a:lnTo>
                      <a:pt x="27" y="75"/>
                    </a:lnTo>
                    <a:lnTo>
                      <a:pt x="25" y="75"/>
                    </a:lnTo>
                    <a:lnTo>
                      <a:pt x="22" y="72"/>
                    </a:lnTo>
                    <a:lnTo>
                      <a:pt x="19" y="72"/>
                    </a:lnTo>
                    <a:lnTo>
                      <a:pt x="17" y="72"/>
                    </a:lnTo>
                    <a:lnTo>
                      <a:pt x="14" y="72"/>
                    </a:lnTo>
                    <a:lnTo>
                      <a:pt x="11" y="72"/>
                    </a:lnTo>
                    <a:lnTo>
                      <a:pt x="8" y="71"/>
                    </a:lnTo>
                    <a:lnTo>
                      <a:pt x="10" y="73"/>
                    </a:lnTo>
                    <a:lnTo>
                      <a:pt x="8" y="75"/>
                    </a:lnTo>
                    <a:lnTo>
                      <a:pt x="9" y="78"/>
                    </a:lnTo>
                    <a:lnTo>
                      <a:pt x="11" y="80"/>
                    </a:lnTo>
                    <a:lnTo>
                      <a:pt x="14" y="83"/>
                    </a:lnTo>
                    <a:lnTo>
                      <a:pt x="16" y="85"/>
                    </a:lnTo>
                    <a:lnTo>
                      <a:pt x="18" y="87"/>
                    </a:lnTo>
                    <a:lnTo>
                      <a:pt x="22" y="87"/>
                    </a:lnTo>
                    <a:lnTo>
                      <a:pt x="24" y="87"/>
                    </a:lnTo>
                    <a:lnTo>
                      <a:pt x="27" y="89"/>
                    </a:lnTo>
                    <a:lnTo>
                      <a:pt x="24" y="89"/>
                    </a:lnTo>
                    <a:lnTo>
                      <a:pt x="27" y="90"/>
                    </a:lnTo>
                    <a:lnTo>
                      <a:pt x="30" y="92"/>
                    </a:lnTo>
                    <a:lnTo>
                      <a:pt x="35" y="89"/>
                    </a:lnTo>
                    <a:lnTo>
                      <a:pt x="38" y="90"/>
                    </a:lnTo>
                    <a:lnTo>
                      <a:pt x="41" y="90"/>
                    </a:lnTo>
                    <a:lnTo>
                      <a:pt x="39" y="88"/>
                    </a:lnTo>
                    <a:lnTo>
                      <a:pt x="41" y="86"/>
                    </a:lnTo>
                    <a:lnTo>
                      <a:pt x="43" y="88"/>
                    </a:lnTo>
                    <a:lnTo>
                      <a:pt x="47" y="88"/>
                    </a:lnTo>
                    <a:lnTo>
                      <a:pt x="49" y="86"/>
                    </a:lnTo>
                    <a:lnTo>
                      <a:pt x="48" y="89"/>
                    </a:lnTo>
                    <a:lnTo>
                      <a:pt x="48" y="92"/>
                    </a:lnTo>
                    <a:lnTo>
                      <a:pt x="50" y="94"/>
                    </a:lnTo>
                    <a:lnTo>
                      <a:pt x="53" y="96"/>
                    </a:lnTo>
                    <a:lnTo>
                      <a:pt x="57" y="97"/>
                    </a:lnTo>
                    <a:lnTo>
                      <a:pt x="59" y="97"/>
                    </a:lnTo>
                    <a:lnTo>
                      <a:pt x="62" y="97"/>
                    </a:lnTo>
                    <a:lnTo>
                      <a:pt x="62" y="97"/>
                    </a:lnTo>
                    <a:lnTo>
                      <a:pt x="65" y="97"/>
                    </a:lnTo>
                    <a:lnTo>
                      <a:pt x="62" y="96"/>
                    </a:lnTo>
                    <a:lnTo>
                      <a:pt x="59" y="96"/>
                    </a:lnTo>
                    <a:lnTo>
                      <a:pt x="57" y="96"/>
                    </a:lnTo>
                    <a:lnTo>
                      <a:pt x="59" y="95"/>
                    </a:lnTo>
                    <a:lnTo>
                      <a:pt x="62" y="95"/>
                    </a:lnTo>
                    <a:lnTo>
                      <a:pt x="65" y="95"/>
                    </a:lnTo>
                    <a:lnTo>
                      <a:pt x="68" y="96"/>
                    </a:lnTo>
                    <a:lnTo>
                      <a:pt x="70" y="95"/>
                    </a:lnTo>
                    <a:lnTo>
                      <a:pt x="74" y="97"/>
                    </a:lnTo>
                    <a:lnTo>
                      <a:pt x="76" y="97"/>
                    </a:lnTo>
                    <a:lnTo>
                      <a:pt x="79" y="98"/>
                    </a:lnTo>
                    <a:lnTo>
                      <a:pt x="82" y="98"/>
                    </a:lnTo>
                    <a:lnTo>
                      <a:pt x="85" y="98"/>
                    </a:lnTo>
                    <a:lnTo>
                      <a:pt x="87" y="100"/>
                    </a:lnTo>
                    <a:lnTo>
                      <a:pt x="90" y="98"/>
                    </a:lnTo>
                    <a:lnTo>
                      <a:pt x="92" y="97"/>
                    </a:lnTo>
                    <a:lnTo>
                      <a:pt x="95" y="97"/>
                    </a:lnTo>
                    <a:lnTo>
                      <a:pt x="99" y="100"/>
                    </a:lnTo>
                    <a:lnTo>
                      <a:pt x="101" y="100"/>
                    </a:lnTo>
                    <a:lnTo>
                      <a:pt x="103" y="102"/>
                    </a:lnTo>
                    <a:lnTo>
                      <a:pt x="107" y="102"/>
                    </a:lnTo>
                    <a:lnTo>
                      <a:pt x="109" y="101"/>
                    </a:lnTo>
                    <a:lnTo>
                      <a:pt x="112" y="101"/>
                    </a:lnTo>
                    <a:lnTo>
                      <a:pt x="111" y="98"/>
                    </a:lnTo>
                    <a:lnTo>
                      <a:pt x="110" y="97"/>
                    </a:lnTo>
                    <a:lnTo>
                      <a:pt x="108" y="96"/>
                    </a:lnTo>
                    <a:lnTo>
                      <a:pt x="102" y="94"/>
                    </a:lnTo>
                    <a:lnTo>
                      <a:pt x="99" y="93"/>
                    </a:lnTo>
                    <a:lnTo>
                      <a:pt x="96" y="90"/>
                    </a:lnTo>
                    <a:lnTo>
                      <a:pt x="99" y="92"/>
                    </a:lnTo>
                    <a:lnTo>
                      <a:pt x="102" y="93"/>
                    </a:lnTo>
                    <a:lnTo>
                      <a:pt x="104" y="94"/>
                    </a:lnTo>
                    <a:lnTo>
                      <a:pt x="108" y="95"/>
                    </a:lnTo>
                    <a:lnTo>
                      <a:pt x="110" y="96"/>
                    </a:lnTo>
                    <a:lnTo>
                      <a:pt x="112" y="97"/>
                    </a:lnTo>
                    <a:lnTo>
                      <a:pt x="115" y="98"/>
                    </a:lnTo>
                    <a:lnTo>
                      <a:pt x="118" y="100"/>
                    </a:lnTo>
                    <a:lnTo>
                      <a:pt x="120" y="102"/>
                    </a:lnTo>
                    <a:lnTo>
                      <a:pt x="124" y="104"/>
                    </a:lnTo>
                    <a:lnTo>
                      <a:pt x="126" y="104"/>
                    </a:lnTo>
                    <a:lnTo>
                      <a:pt x="125" y="101"/>
                    </a:lnTo>
                    <a:lnTo>
                      <a:pt x="123" y="100"/>
                    </a:lnTo>
                    <a:lnTo>
                      <a:pt x="120" y="97"/>
                    </a:lnTo>
                    <a:lnTo>
                      <a:pt x="118" y="97"/>
                    </a:lnTo>
                    <a:lnTo>
                      <a:pt x="115" y="96"/>
                    </a:lnTo>
                    <a:lnTo>
                      <a:pt x="118" y="95"/>
                    </a:lnTo>
                    <a:lnTo>
                      <a:pt x="120" y="95"/>
                    </a:lnTo>
                    <a:lnTo>
                      <a:pt x="123" y="96"/>
                    </a:lnTo>
                    <a:lnTo>
                      <a:pt x="126" y="96"/>
                    </a:lnTo>
                    <a:lnTo>
                      <a:pt x="128" y="96"/>
                    </a:lnTo>
                    <a:lnTo>
                      <a:pt x="132" y="97"/>
                    </a:lnTo>
                    <a:lnTo>
                      <a:pt x="132" y="97"/>
                    </a:lnTo>
                    <a:lnTo>
                      <a:pt x="135" y="97"/>
                    </a:lnTo>
                    <a:lnTo>
                      <a:pt x="137" y="100"/>
                    </a:lnTo>
                    <a:lnTo>
                      <a:pt x="139" y="100"/>
                    </a:lnTo>
                    <a:lnTo>
                      <a:pt x="143" y="102"/>
                    </a:lnTo>
                    <a:lnTo>
                      <a:pt x="145" y="101"/>
                    </a:lnTo>
                    <a:lnTo>
                      <a:pt x="151" y="101"/>
                    </a:lnTo>
                    <a:lnTo>
                      <a:pt x="153" y="101"/>
                    </a:lnTo>
                    <a:lnTo>
                      <a:pt x="155" y="98"/>
                    </a:lnTo>
                    <a:lnTo>
                      <a:pt x="155" y="97"/>
                    </a:lnTo>
                    <a:lnTo>
                      <a:pt x="154" y="95"/>
                    </a:lnTo>
                    <a:lnTo>
                      <a:pt x="153" y="92"/>
                    </a:lnTo>
                    <a:lnTo>
                      <a:pt x="151" y="89"/>
                    </a:lnTo>
                    <a:lnTo>
                      <a:pt x="147" y="90"/>
                    </a:lnTo>
                    <a:lnTo>
                      <a:pt x="145" y="88"/>
                    </a:lnTo>
                    <a:lnTo>
                      <a:pt x="145" y="86"/>
                    </a:lnTo>
                    <a:lnTo>
                      <a:pt x="147" y="87"/>
                    </a:lnTo>
                    <a:lnTo>
                      <a:pt x="149" y="85"/>
                    </a:lnTo>
                    <a:lnTo>
                      <a:pt x="149" y="81"/>
                    </a:lnTo>
                    <a:lnTo>
                      <a:pt x="152" y="83"/>
                    </a:lnTo>
                    <a:lnTo>
                      <a:pt x="154" y="84"/>
                    </a:lnTo>
                    <a:lnTo>
                      <a:pt x="152" y="84"/>
                    </a:lnTo>
                    <a:lnTo>
                      <a:pt x="150" y="86"/>
                    </a:lnTo>
                    <a:lnTo>
                      <a:pt x="153" y="86"/>
                    </a:lnTo>
                    <a:lnTo>
                      <a:pt x="155" y="88"/>
                    </a:lnTo>
                    <a:lnTo>
                      <a:pt x="159" y="89"/>
                    </a:lnTo>
                    <a:lnTo>
                      <a:pt x="159" y="92"/>
                    </a:lnTo>
                    <a:lnTo>
                      <a:pt x="162" y="93"/>
                    </a:lnTo>
                    <a:lnTo>
                      <a:pt x="164" y="92"/>
                    </a:lnTo>
                    <a:lnTo>
                      <a:pt x="167" y="92"/>
                    </a:lnTo>
                    <a:lnTo>
                      <a:pt x="169" y="95"/>
                    </a:lnTo>
                    <a:lnTo>
                      <a:pt x="169" y="97"/>
                    </a:lnTo>
                    <a:lnTo>
                      <a:pt x="169" y="101"/>
                    </a:lnTo>
                    <a:lnTo>
                      <a:pt x="169" y="103"/>
                    </a:lnTo>
                    <a:lnTo>
                      <a:pt x="172" y="103"/>
                    </a:lnTo>
                    <a:lnTo>
                      <a:pt x="175" y="101"/>
                    </a:lnTo>
                    <a:lnTo>
                      <a:pt x="178" y="100"/>
                    </a:lnTo>
                    <a:lnTo>
                      <a:pt x="175" y="101"/>
                    </a:lnTo>
                    <a:lnTo>
                      <a:pt x="178" y="101"/>
                    </a:lnTo>
                    <a:lnTo>
                      <a:pt x="180" y="102"/>
                    </a:lnTo>
                    <a:lnTo>
                      <a:pt x="180" y="105"/>
                    </a:lnTo>
                    <a:lnTo>
                      <a:pt x="178" y="105"/>
                    </a:lnTo>
                    <a:lnTo>
                      <a:pt x="178" y="107"/>
                    </a:lnTo>
                    <a:lnTo>
                      <a:pt x="181" y="109"/>
                    </a:lnTo>
                    <a:lnTo>
                      <a:pt x="184" y="107"/>
                    </a:lnTo>
                    <a:lnTo>
                      <a:pt x="187" y="105"/>
                    </a:lnTo>
                    <a:lnTo>
                      <a:pt x="184" y="107"/>
                    </a:lnTo>
                    <a:lnTo>
                      <a:pt x="185" y="110"/>
                    </a:lnTo>
                    <a:lnTo>
                      <a:pt x="188" y="112"/>
                    </a:lnTo>
                    <a:lnTo>
                      <a:pt x="190" y="113"/>
                    </a:lnTo>
                    <a:lnTo>
                      <a:pt x="193" y="113"/>
                    </a:lnTo>
                    <a:lnTo>
                      <a:pt x="196" y="115"/>
                    </a:lnTo>
                    <a:lnTo>
                      <a:pt x="197" y="118"/>
                    </a:lnTo>
                    <a:lnTo>
                      <a:pt x="193" y="121"/>
                    </a:lnTo>
                    <a:lnTo>
                      <a:pt x="189" y="121"/>
                    </a:lnTo>
                    <a:lnTo>
                      <a:pt x="187" y="121"/>
                    </a:lnTo>
                    <a:lnTo>
                      <a:pt x="184" y="121"/>
                    </a:lnTo>
                    <a:lnTo>
                      <a:pt x="184" y="123"/>
                    </a:lnTo>
                    <a:lnTo>
                      <a:pt x="184" y="127"/>
                    </a:lnTo>
                    <a:lnTo>
                      <a:pt x="184" y="129"/>
                    </a:lnTo>
                    <a:lnTo>
                      <a:pt x="186" y="130"/>
                    </a:lnTo>
                    <a:lnTo>
                      <a:pt x="188" y="129"/>
                    </a:lnTo>
                    <a:lnTo>
                      <a:pt x="192" y="128"/>
                    </a:lnTo>
                    <a:lnTo>
                      <a:pt x="194" y="126"/>
                    </a:lnTo>
                    <a:lnTo>
                      <a:pt x="197" y="124"/>
                    </a:lnTo>
                    <a:lnTo>
                      <a:pt x="197" y="122"/>
                    </a:lnTo>
                    <a:lnTo>
                      <a:pt x="201" y="122"/>
                    </a:lnTo>
                    <a:lnTo>
                      <a:pt x="203" y="124"/>
                    </a:lnTo>
                    <a:lnTo>
                      <a:pt x="205" y="122"/>
                    </a:lnTo>
                    <a:lnTo>
                      <a:pt x="207" y="120"/>
                    </a:lnTo>
                    <a:lnTo>
                      <a:pt x="211" y="121"/>
                    </a:lnTo>
                    <a:lnTo>
                      <a:pt x="207" y="121"/>
                    </a:lnTo>
                    <a:lnTo>
                      <a:pt x="210" y="124"/>
                    </a:lnTo>
                    <a:lnTo>
                      <a:pt x="207" y="126"/>
                    </a:lnTo>
                    <a:lnTo>
                      <a:pt x="210" y="127"/>
                    </a:lnTo>
                    <a:lnTo>
                      <a:pt x="211" y="130"/>
                    </a:lnTo>
                    <a:lnTo>
                      <a:pt x="213" y="132"/>
                    </a:lnTo>
                    <a:lnTo>
                      <a:pt x="217" y="134"/>
                    </a:lnTo>
                    <a:lnTo>
                      <a:pt x="219" y="134"/>
                    </a:lnTo>
                    <a:lnTo>
                      <a:pt x="219" y="130"/>
                    </a:lnTo>
                    <a:lnTo>
                      <a:pt x="222" y="129"/>
                    </a:lnTo>
                    <a:lnTo>
                      <a:pt x="222" y="132"/>
                    </a:lnTo>
                    <a:lnTo>
                      <a:pt x="221" y="135"/>
                    </a:lnTo>
                    <a:lnTo>
                      <a:pt x="221" y="137"/>
                    </a:lnTo>
                    <a:lnTo>
                      <a:pt x="224" y="138"/>
                    </a:lnTo>
                    <a:lnTo>
                      <a:pt x="224" y="139"/>
                    </a:lnTo>
                    <a:lnTo>
                      <a:pt x="227" y="139"/>
                    </a:lnTo>
                    <a:lnTo>
                      <a:pt x="229" y="137"/>
                    </a:lnTo>
                    <a:lnTo>
                      <a:pt x="228" y="139"/>
                    </a:lnTo>
                    <a:lnTo>
                      <a:pt x="230" y="140"/>
                    </a:lnTo>
                    <a:lnTo>
                      <a:pt x="234" y="141"/>
                    </a:lnTo>
                    <a:lnTo>
                      <a:pt x="234" y="144"/>
                    </a:lnTo>
                    <a:lnTo>
                      <a:pt x="235" y="146"/>
                    </a:lnTo>
                    <a:lnTo>
                      <a:pt x="236" y="149"/>
                    </a:lnTo>
                    <a:lnTo>
                      <a:pt x="238" y="151"/>
                    </a:lnTo>
                    <a:lnTo>
                      <a:pt x="238" y="153"/>
                    </a:lnTo>
                    <a:lnTo>
                      <a:pt x="240" y="156"/>
                    </a:lnTo>
                    <a:lnTo>
                      <a:pt x="240" y="158"/>
                    </a:lnTo>
                    <a:lnTo>
                      <a:pt x="241" y="161"/>
                    </a:lnTo>
                    <a:lnTo>
                      <a:pt x="243" y="164"/>
                    </a:lnTo>
                    <a:lnTo>
                      <a:pt x="240" y="166"/>
                    </a:lnTo>
                    <a:lnTo>
                      <a:pt x="238" y="167"/>
                    </a:lnTo>
                    <a:lnTo>
                      <a:pt x="236" y="170"/>
                    </a:lnTo>
                    <a:lnTo>
                      <a:pt x="234" y="172"/>
                    </a:lnTo>
                    <a:lnTo>
                      <a:pt x="234" y="174"/>
                    </a:lnTo>
                    <a:lnTo>
                      <a:pt x="236" y="175"/>
                    </a:lnTo>
                    <a:lnTo>
                      <a:pt x="241" y="175"/>
                    </a:lnTo>
                    <a:lnTo>
                      <a:pt x="247" y="177"/>
                    </a:lnTo>
                    <a:lnTo>
                      <a:pt x="249" y="177"/>
                    </a:lnTo>
                    <a:lnTo>
                      <a:pt x="253" y="178"/>
                    </a:lnTo>
                    <a:lnTo>
                      <a:pt x="255" y="177"/>
                    </a:lnTo>
                    <a:lnTo>
                      <a:pt x="256" y="174"/>
                    </a:lnTo>
                    <a:lnTo>
                      <a:pt x="258" y="171"/>
                    </a:lnTo>
                    <a:lnTo>
                      <a:pt x="258" y="169"/>
                    </a:lnTo>
                    <a:lnTo>
                      <a:pt x="261" y="170"/>
                    </a:lnTo>
                    <a:lnTo>
                      <a:pt x="264" y="171"/>
                    </a:lnTo>
                    <a:lnTo>
                      <a:pt x="265" y="173"/>
                    </a:lnTo>
                    <a:lnTo>
                      <a:pt x="269" y="174"/>
                    </a:lnTo>
                    <a:lnTo>
                      <a:pt x="271" y="175"/>
                    </a:lnTo>
                    <a:lnTo>
                      <a:pt x="274" y="175"/>
                    </a:lnTo>
                    <a:lnTo>
                      <a:pt x="277" y="177"/>
                    </a:lnTo>
                    <a:lnTo>
                      <a:pt x="279" y="178"/>
                    </a:lnTo>
                    <a:lnTo>
                      <a:pt x="282" y="180"/>
                    </a:lnTo>
                    <a:lnTo>
                      <a:pt x="284" y="179"/>
                    </a:lnTo>
                    <a:lnTo>
                      <a:pt x="282" y="180"/>
                    </a:lnTo>
                    <a:lnTo>
                      <a:pt x="279" y="182"/>
                    </a:lnTo>
                    <a:lnTo>
                      <a:pt x="282" y="181"/>
                    </a:lnTo>
                    <a:lnTo>
                      <a:pt x="284" y="183"/>
                    </a:lnTo>
                    <a:lnTo>
                      <a:pt x="282" y="184"/>
                    </a:lnTo>
                    <a:lnTo>
                      <a:pt x="279" y="187"/>
                    </a:lnTo>
                    <a:lnTo>
                      <a:pt x="277" y="187"/>
                    </a:lnTo>
                    <a:lnTo>
                      <a:pt x="274" y="186"/>
                    </a:lnTo>
                    <a:lnTo>
                      <a:pt x="274" y="186"/>
                    </a:lnTo>
                    <a:lnTo>
                      <a:pt x="271" y="187"/>
                    </a:lnTo>
                    <a:lnTo>
                      <a:pt x="269" y="187"/>
                    </a:lnTo>
                    <a:lnTo>
                      <a:pt x="265" y="184"/>
                    </a:lnTo>
                    <a:lnTo>
                      <a:pt x="264" y="187"/>
                    </a:lnTo>
                    <a:lnTo>
                      <a:pt x="262" y="189"/>
                    </a:lnTo>
                    <a:lnTo>
                      <a:pt x="260" y="191"/>
                    </a:lnTo>
                    <a:lnTo>
                      <a:pt x="256" y="192"/>
                    </a:lnTo>
                    <a:lnTo>
                      <a:pt x="256" y="191"/>
                    </a:lnTo>
                    <a:lnTo>
                      <a:pt x="260" y="190"/>
                    </a:lnTo>
                    <a:lnTo>
                      <a:pt x="256" y="190"/>
                    </a:lnTo>
                    <a:lnTo>
                      <a:pt x="258" y="187"/>
                    </a:lnTo>
                    <a:lnTo>
                      <a:pt x="258" y="184"/>
                    </a:lnTo>
                    <a:lnTo>
                      <a:pt x="257" y="182"/>
                    </a:lnTo>
                    <a:lnTo>
                      <a:pt x="256" y="179"/>
                    </a:lnTo>
                    <a:lnTo>
                      <a:pt x="253" y="179"/>
                    </a:lnTo>
                    <a:lnTo>
                      <a:pt x="251" y="178"/>
                    </a:lnTo>
                    <a:lnTo>
                      <a:pt x="247" y="177"/>
                    </a:lnTo>
                    <a:lnTo>
                      <a:pt x="245" y="177"/>
                    </a:lnTo>
                    <a:lnTo>
                      <a:pt x="241" y="177"/>
                    </a:lnTo>
                    <a:lnTo>
                      <a:pt x="239" y="177"/>
                    </a:lnTo>
                    <a:lnTo>
                      <a:pt x="237" y="177"/>
                    </a:lnTo>
                    <a:lnTo>
                      <a:pt x="234" y="175"/>
                    </a:lnTo>
                    <a:lnTo>
                      <a:pt x="231" y="175"/>
                    </a:lnTo>
                    <a:lnTo>
                      <a:pt x="228" y="177"/>
                    </a:lnTo>
                    <a:lnTo>
                      <a:pt x="227" y="180"/>
                    </a:lnTo>
                    <a:lnTo>
                      <a:pt x="223" y="181"/>
                    </a:lnTo>
                    <a:lnTo>
                      <a:pt x="218" y="184"/>
                    </a:lnTo>
                    <a:lnTo>
                      <a:pt x="215" y="187"/>
                    </a:lnTo>
                    <a:lnTo>
                      <a:pt x="213" y="189"/>
                    </a:lnTo>
                    <a:lnTo>
                      <a:pt x="215" y="191"/>
                    </a:lnTo>
                    <a:lnTo>
                      <a:pt x="218" y="194"/>
                    </a:lnTo>
                    <a:lnTo>
                      <a:pt x="221" y="196"/>
                    </a:lnTo>
                    <a:lnTo>
                      <a:pt x="223" y="198"/>
                    </a:lnTo>
                    <a:lnTo>
                      <a:pt x="224" y="201"/>
                    </a:lnTo>
                    <a:lnTo>
                      <a:pt x="224" y="204"/>
                    </a:lnTo>
                    <a:lnTo>
                      <a:pt x="222" y="203"/>
                    </a:lnTo>
                    <a:lnTo>
                      <a:pt x="219" y="203"/>
                    </a:lnTo>
                    <a:lnTo>
                      <a:pt x="217" y="204"/>
                    </a:lnTo>
                    <a:lnTo>
                      <a:pt x="213" y="206"/>
                    </a:lnTo>
                    <a:lnTo>
                      <a:pt x="211" y="207"/>
                    </a:lnTo>
                    <a:lnTo>
                      <a:pt x="209" y="206"/>
                    </a:lnTo>
                    <a:lnTo>
                      <a:pt x="205" y="206"/>
                    </a:lnTo>
                    <a:lnTo>
                      <a:pt x="204" y="206"/>
                    </a:lnTo>
                    <a:lnTo>
                      <a:pt x="203" y="208"/>
                    </a:lnTo>
                    <a:lnTo>
                      <a:pt x="201" y="208"/>
                    </a:lnTo>
                    <a:lnTo>
                      <a:pt x="197" y="208"/>
                    </a:lnTo>
                    <a:lnTo>
                      <a:pt x="195" y="209"/>
                    </a:lnTo>
                    <a:lnTo>
                      <a:pt x="197" y="211"/>
                    </a:lnTo>
                    <a:lnTo>
                      <a:pt x="201" y="213"/>
                    </a:lnTo>
                    <a:lnTo>
                      <a:pt x="203" y="213"/>
                    </a:lnTo>
                    <a:lnTo>
                      <a:pt x="202" y="215"/>
                    </a:lnTo>
                    <a:lnTo>
                      <a:pt x="200" y="217"/>
                    </a:lnTo>
                    <a:lnTo>
                      <a:pt x="200" y="218"/>
                    </a:lnTo>
                    <a:lnTo>
                      <a:pt x="197" y="215"/>
                    </a:lnTo>
                    <a:lnTo>
                      <a:pt x="200" y="214"/>
                    </a:lnTo>
                    <a:lnTo>
                      <a:pt x="198" y="212"/>
                    </a:lnTo>
                    <a:lnTo>
                      <a:pt x="196" y="211"/>
                    </a:lnTo>
                    <a:lnTo>
                      <a:pt x="193" y="208"/>
                    </a:lnTo>
                    <a:lnTo>
                      <a:pt x="190" y="208"/>
                    </a:lnTo>
                    <a:lnTo>
                      <a:pt x="187" y="207"/>
                    </a:lnTo>
                    <a:lnTo>
                      <a:pt x="185" y="206"/>
                    </a:lnTo>
                    <a:lnTo>
                      <a:pt x="183" y="205"/>
                    </a:lnTo>
                    <a:lnTo>
                      <a:pt x="179" y="205"/>
                    </a:lnTo>
                    <a:lnTo>
                      <a:pt x="177" y="205"/>
                    </a:lnTo>
                    <a:lnTo>
                      <a:pt x="176" y="204"/>
                    </a:lnTo>
                    <a:lnTo>
                      <a:pt x="173" y="205"/>
                    </a:lnTo>
                    <a:lnTo>
                      <a:pt x="171" y="208"/>
                    </a:lnTo>
                    <a:lnTo>
                      <a:pt x="173" y="211"/>
                    </a:lnTo>
                    <a:lnTo>
                      <a:pt x="168" y="212"/>
                    </a:lnTo>
                    <a:lnTo>
                      <a:pt x="166" y="213"/>
                    </a:lnTo>
                    <a:lnTo>
                      <a:pt x="162" y="215"/>
                    </a:lnTo>
                    <a:lnTo>
                      <a:pt x="163" y="217"/>
                    </a:lnTo>
                    <a:lnTo>
                      <a:pt x="161" y="221"/>
                    </a:lnTo>
                    <a:lnTo>
                      <a:pt x="162" y="223"/>
                    </a:lnTo>
                    <a:lnTo>
                      <a:pt x="164" y="225"/>
                    </a:lnTo>
                    <a:lnTo>
                      <a:pt x="167" y="229"/>
                    </a:lnTo>
                    <a:lnTo>
                      <a:pt x="169" y="228"/>
                    </a:lnTo>
                    <a:lnTo>
                      <a:pt x="172" y="230"/>
                    </a:lnTo>
                    <a:lnTo>
                      <a:pt x="175" y="231"/>
                    </a:lnTo>
                    <a:lnTo>
                      <a:pt x="177" y="231"/>
                    </a:lnTo>
                    <a:lnTo>
                      <a:pt x="180" y="231"/>
                    </a:lnTo>
                    <a:lnTo>
                      <a:pt x="183" y="230"/>
                    </a:lnTo>
                    <a:lnTo>
                      <a:pt x="186" y="230"/>
                    </a:lnTo>
                    <a:lnTo>
                      <a:pt x="188" y="230"/>
                    </a:lnTo>
                    <a:lnTo>
                      <a:pt x="190" y="229"/>
                    </a:lnTo>
                    <a:lnTo>
                      <a:pt x="194" y="228"/>
                    </a:lnTo>
                    <a:lnTo>
                      <a:pt x="196" y="226"/>
                    </a:lnTo>
                    <a:lnTo>
                      <a:pt x="195" y="224"/>
                    </a:lnTo>
                    <a:lnTo>
                      <a:pt x="197" y="224"/>
                    </a:lnTo>
                    <a:lnTo>
                      <a:pt x="201" y="225"/>
                    </a:lnTo>
                    <a:lnTo>
                      <a:pt x="203" y="226"/>
                    </a:lnTo>
                    <a:lnTo>
                      <a:pt x="205" y="226"/>
                    </a:lnTo>
                    <a:lnTo>
                      <a:pt x="209" y="228"/>
                    </a:lnTo>
                    <a:lnTo>
                      <a:pt x="211" y="226"/>
                    </a:lnTo>
                    <a:lnTo>
                      <a:pt x="213" y="224"/>
                    </a:lnTo>
                    <a:lnTo>
                      <a:pt x="210" y="222"/>
                    </a:lnTo>
                    <a:lnTo>
                      <a:pt x="207" y="220"/>
                    </a:lnTo>
                    <a:lnTo>
                      <a:pt x="210" y="217"/>
                    </a:lnTo>
                    <a:lnTo>
                      <a:pt x="210" y="220"/>
                    </a:lnTo>
                    <a:lnTo>
                      <a:pt x="212" y="223"/>
                    </a:lnTo>
                    <a:lnTo>
                      <a:pt x="214" y="222"/>
                    </a:lnTo>
                    <a:lnTo>
                      <a:pt x="218" y="222"/>
                    </a:lnTo>
                    <a:lnTo>
                      <a:pt x="218" y="224"/>
                    </a:lnTo>
                    <a:lnTo>
                      <a:pt x="220" y="225"/>
                    </a:lnTo>
                    <a:lnTo>
                      <a:pt x="218" y="226"/>
                    </a:lnTo>
                    <a:lnTo>
                      <a:pt x="218" y="229"/>
                    </a:lnTo>
                    <a:lnTo>
                      <a:pt x="220" y="226"/>
                    </a:lnTo>
                    <a:lnTo>
                      <a:pt x="220" y="223"/>
                    </a:lnTo>
                    <a:lnTo>
                      <a:pt x="223" y="224"/>
                    </a:lnTo>
                    <a:lnTo>
                      <a:pt x="226" y="223"/>
                    </a:lnTo>
                    <a:lnTo>
                      <a:pt x="228" y="225"/>
                    </a:lnTo>
                    <a:lnTo>
                      <a:pt x="229" y="222"/>
                    </a:lnTo>
                    <a:lnTo>
                      <a:pt x="229" y="224"/>
                    </a:lnTo>
                    <a:lnTo>
                      <a:pt x="227" y="226"/>
                    </a:lnTo>
                    <a:lnTo>
                      <a:pt x="229" y="229"/>
                    </a:lnTo>
                    <a:lnTo>
                      <a:pt x="231" y="231"/>
                    </a:lnTo>
                    <a:lnTo>
                      <a:pt x="235" y="233"/>
                    </a:lnTo>
                    <a:lnTo>
                      <a:pt x="235" y="235"/>
                    </a:lnTo>
                    <a:lnTo>
                      <a:pt x="238" y="237"/>
                    </a:lnTo>
                    <a:lnTo>
                      <a:pt x="238" y="239"/>
                    </a:lnTo>
                    <a:lnTo>
                      <a:pt x="240" y="240"/>
                    </a:lnTo>
                    <a:lnTo>
                      <a:pt x="244" y="239"/>
                    </a:lnTo>
                    <a:lnTo>
                      <a:pt x="241" y="241"/>
                    </a:lnTo>
                    <a:lnTo>
                      <a:pt x="244" y="242"/>
                    </a:lnTo>
                    <a:lnTo>
                      <a:pt x="247" y="242"/>
                    </a:lnTo>
                    <a:lnTo>
                      <a:pt x="249" y="242"/>
                    </a:lnTo>
                    <a:lnTo>
                      <a:pt x="253" y="243"/>
                    </a:lnTo>
                    <a:lnTo>
                      <a:pt x="255" y="244"/>
                    </a:lnTo>
                    <a:lnTo>
                      <a:pt x="257" y="244"/>
                    </a:lnTo>
                    <a:lnTo>
                      <a:pt x="255" y="248"/>
                    </a:lnTo>
                    <a:lnTo>
                      <a:pt x="252" y="249"/>
                    </a:lnTo>
                    <a:lnTo>
                      <a:pt x="249" y="249"/>
                    </a:lnTo>
                    <a:lnTo>
                      <a:pt x="247" y="248"/>
                    </a:lnTo>
                    <a:lnTo>
                      <a:pt x="249" y="250"/>
                    </a:lnTo>
                    <a:lnTo>
                      <a:pt x="249" y="252"/>
                    </a:lnTo>
                    <a:lnTo>
                      <a:pt x="253" y="255"/>
                    </a:lnTo>
                    <a:lnTo>
                      <a:pt x="255" y="256"/>
                    </a:lnTo>
                    <a:lnTo>
                      <a:pt x="257" y="257"/>
                    </a:lnTo>
                    <a:lnTo>
                      <a:pt x="257" y="257"/>
                    </a:lnTo>
                    <a:lnTo>
                      <a:pt x="261" y="256"/>
                    </a:lnTo>
                    <a:lnTo>
                      <a:pt x="261" y="258"/>
                    </a:lnTo>
                    <a:lnTo>
                      <a:pt x="264" y="260"/>
                    </a:lnTo>
                    <a:lnTo>
                      <a:pt x="266" y="260"/>
                    </a:lnTo>
                    <a:lnTo>
                      <a:pt x="270" y="263"/>
                    </a:lnTo>
                    <a:lnTo>
                      <a:pt x="272" y="264"/>
                    </a:lnTo>
                    <a:lnTo>
                      <a:pt x="274" y="263"/>
                    </a:lnTo>
                    <a:lnTo>
                      <a:pt x="277" y="264"/>
                    </a:lnTo>
                    <a:lnTo>
                      <a:pt x="279" y="263"/>
                    </a:lnTo>
                    <a:lnTo>
                      <a:pt x="282" y="263"/>
                    </a:lnTo>
                    <a:lnTo>
                      <a:pt x="280" y="266"/>
                    </a:lnTo>
                    <a:lnTo>
                      <a:pt x="283" y="268"/>
                    </a:lnTo>
                    <a:lnTo>
                      <a:pt x="286" y="271"/>
                    </a:lnTo>
                    <a:lnTo>
                      <a:pt x="288" y="271"/>
                    </a:lnTo>
                    <a:lnTo>
                      <a:pt x="291" y="273"/>
                    </a:lnTo>
                    <a:lnTo>
                      <a:pt x="294" y="274"/>
                    </a:lnTo>
                    <a:lnTo>
                      <a:pt x="296" y="274"/>
                    </a:lnTo>
                    <a:lnTo>
                      <a:pt x="301" y="275"/>
                    </a:lnTo>
                    <a:lnTo>
                      <a:pt x="305" y="276"/>
                    </a:lnTo>
                    <a:lnTo>
                      <a:pt x="307" y="275"/>
                    </a:lnTo>
                    <a:lnTo>
                      <a:pt x="309" y="276"/>
                    </a:lnTo>
                    <a:lnTo>
                      <a:pt x="313" y="277"/>
                    </a:lnTo>
                    <a:lnTo>
                      <a:pt x="315" y="278"/>
                    </a:lnTo>
                    <a:lnTo>
                      <a:pt x="318" y="278"/>
                    </a:lnTo>
                    <a:lnTo>
                      <a:pt x="321" y="281"/>
                    </a:lnTo>
                    <a:lnTo>
                      <a:pt x="323" y="282"/>
                    </a:lnTo>
                    <a:lnTo>
                      <a:pt x="324" y="282"/>
                    </a:lnTo>
                    <a:lnTo>
                      <a:pt x="328" y="282"/>
                    </a:lnTo>
                    <a:lnTo>
                      <a:pt x="328" y="280"/>
                    </a:lnTo>
                    <a:lnTo>
                      <a:pt x="326" y="276"/>
                    </a:lnTo>
                    <a:lnTo>
                      <a:pt x="329" y="275"/>
                    </a:lnTo>
                    <a:lnTo>
                      <a:pt x="326" y="274"/>
                    </a:lnTo>
                    <a:lnTo>
                      <a:pt x="323" y="273"/>
                    </a:lnTo>
                    <a:lnTo>
                      <a:pt x="323" y="271"/>
                    </a:lnTo>
                    <a:lnTo>
                      <a:pt x="322" y="271"/>
                    </a:lnTo>
                    <a:lnTo>
                      <a:pt x="322" y="268"/>
                    </a:lnTo>
                    <a:lnTo>
                      <a:pt x="318" y="266"/>
                    </a:lnTo>
                    <a:lnTo>
                      <a:pt x="316" y="265"/>
                    </a:lnTo>
                    <a:lnTo>
                      <a:pt x="314" y="263"/>
                    </a:lnTo>
                    <a:lnTo>
                      <a:pt x="312" y="261"/>
                    </a:lnTo>
                    <a:lnTo>
                      <a:pt x="309" y="258"/>
                    </a:lnTo>
                    <a:lnTo>
                      <a:pt x="306" y="259"/>
                    </a:lnTo>
                    <a:lnTo>
                      <a:pt x="307" y="257"/>
                    </a:lnTo>
                    <a:lnTo>
                      <a:pt x="305" y="259"/>
                    </a:lnTo>
                    <a:lnTo>
                      <a:pt x="307" y="256"/>
                    </a:lnTo>
                    <a:lnTo>
                      <a:pt x="305" y="256"/>
                    </a:lnTo>
                    <a:lnTo>
                      <a:pt x="301" y="255"/>
                    </a:lnTo>
                    <a:lnTo>
                      <a:pt x="299" y="254"/>
                    </a:lnTo>
                    <a:lnTo>
                      <a:pt x="297" y="251"/>
                    </a:lnTo>
                    <a:lnTo>
                      <a:pt x="296" y="248"/>
                    </a:lnTo>
                    <a:lnTo>
                      <a:pt x="292" y="247"/>
                    </a:lnTo>
                    <a:lnTo>
                      <a:pt x="290" y="244"/>
                    </a:lnTo>
                    <a:lnTo>
                      <a:pt x="288" y="242"/>
                    </a:lnTo>
                    <a:lnTo>
                      <a:pt x="291" y="242"/>
                    </a:lnTo>
                    <a:lnTo>
                      <a:pt x="294" y="242"/>
                    </a:lnTo>
                    <a:lnTo>
                      <a:pt x="296" y="243"/>
                    </a:lnTo>
                    <a:lnTo>
                      <a:pt x="299" y="244"/>
                    </a:lnTo>
                    <a:lnTo>
                      <a:pt x="301" y="247"/>
                    </a:lnTo>
                    <a:lnTo>
                      <a:pt x="304" y="249"/>
                    </a:lnTo>
                    <a:lnTo>
                      <a:pt x="305" y="247"/>
                    </a:lnTo>
                    <a:lnTo>
                      <a:pt x="304" y="243"/>
                    </a:lnTo>
                    <a:lnTo>
                      <a:pt x="306" y="246"/>
                    </a:lnTo>
                    <a:lnTo>
                      <a:pt x="308" y="249"/>
                    </a:lnTo>
                    <a:lnTo>
                      <a:pt x="312" y="250"/>
                    </a:lnTo>
                    <a:lnTo>
                      <a:pt x="314" y="252"/>
                    </a:lnTo>
                    <a:lnTo>
                      <a:pt x="315" y="249"/>
                    </a:lnTo>
                    <a:lnTo>
                      <a:pt x="315" y="252"/>
                    </a:lnTo>
                    <a:lnTo>
                      <a:pt x="316" y="255"/>
                    </a:lnTo>
                    <a:lnTo>
                      <a:pt x="320" y="257"/>
                    </a:lnTo>
                    <a:lnTo>
                      <a:pt x="321" y="255"/>
                    </a:lnTo>
                    <a:lnTo>
                      <a:pt x="318" y="251"/>
                    </a:lnTo>
                    <a:lnTo>
                      <a:pt x="321" y="254"/>
                    </a:lnTo>
                    <a:lnTo>
                      <a:pt x="322" y="257"/>
                    </a:lnTo>
                    <a:lnTo>
                      <a:pt x="325" y="258"/>
                    </a:lnTo>
                    <a:lnTo>
                      <a:pt x="326" y="259"/>
                    </a:lnTo>
                    <a:lnTo>
                      <a:pt x="326" y="257"/>
                    </a:lnTo>
                    <a:lnTo>
                      <a:pt x="329" y="258"/>
                    </a:lnTo>
                    <a:lnTo>
                      <a:pt x="331" y="260"/>
                    </a:lnTo>
                    <a:lnTo>
                      <a:pt x="332" y="258"/>
                    </a:lnTo>
                    <a:lnTo>
                      <a:pt x="333" y="260"/>
                    </a:lnTo>
                    <a:lnTo>
                      <a:pt x="337" y="261"/>
                    </a:lnTo>
                    <a:lnTo>
                      <a:pt x="339" y="261"/>
                    </a:lnTo>
                    <a:lnTo>
                      <a:pt x="338" y="264"/>
                    </a:lnTo>
                    <a:lnTo>
                      <a:pt x="340" y="267"/>
                    </a:lnTo>
                    <a:lnTo>
                      <a:pt x="342" y="266"/>
                    </a:lnTo>
                    <a:lnTo>
                      <a:pt x="342" y="264"/>
                    </a:lnTo>
                    <a:lnTo>
                      <a:pt x="340" y="261"/>
                    </a:lnTo>
                    <a:lnTo>
                      <a:pt x="339" y="258"/>
                    </a:lnTo>
                    <a:lnTo>
                      <a:pt x="341" y="259"/>
                    </a:lnTo>
                    <a:lnTo>
                      <a:pt x="345" y="260"/>
                    </a:lnTo>
                    <a:lnTo>
                      <a:pt x="347" y="260"/>
                    </a:lnTo>
                    <a:lnTo>
                      <a:pt x="346" y="257"/>
                    </a:lnTo>
                    <a:lnTo>
                      <a:pt x="345" y="255"/>
                    </a:lnTo>
                    <a:lnTo>
                      <a:pt x="341" y="252"/>
                    </a:lnTo>
                    <a:lnTo>
                      <a:pt x="345" y="252"/>
                    </a:lnTo>
                    <a:lnTo>
                      <a:pt x="343" y="250"/>
                    </a:lnTo>
                    <a:lnTo>
                      <a:pt x="341" y="248"/>
                    </a:lnTo>
                    <a:lnTo>
                      <a:pt x="342" y="244"/>
                    </a:lnTo>
                    <a:lnTo>
                      <a:pt x="340" y="242"/>
                    </a:lnTo>
                    <a:lnTo>
                      <a:pt x="342" y="243"/>
                    </a:lnTo>
                    <a:lnTo>
                      <a:pt x="345" y="247"/>
                    </a:lnTo>
                    <a:lnTo>
                      <a:pt x="346" y="249"/>
                    </a:lnTo>
                    <a:lnTo>
                      <a:pt x="347" y="252"/>
                    </a:lnTo>
                    <a:lnTo>
                      <a:pt x="349" y="252"/>
                    </a:lnTo>
                    <a:lnTo>
                      <a:pt x="349" y="251"/>
                    </a:lnTo>
                    <a:lnTo>
                      <a:pt x="349" y="249"/>
                    </a:lnTo>
                    <a:lnTo>
                      <a:pt x="349" y="246"/>
                    </a:lnTo>
                    <a:lnTo>
                      <a:pt x="349" y="243"/>
                    </a:lnTo>
                    <a:lnTo>
                      <a:pt x="347" y="242"/>
                    </a:lnTo>
                    <a:lnTo>
                      <a:pt x="343" y="241"/>
                    </a:lnTo>
                    <a:lnTo>
                      <a:pt x="345" y="239"/>
                    </a:lnTo>
                    <a:lnTo>
                      <a:pt x="347" y="237"/>
                    </a:lnTo>
                    <a:lnTo>
                      <a:pt x="345" y="237"/>
                    </a:lnTo>
                    <a:lnTo>
                      <a:pt x="341" y="235"/>
                    </a:lnTo>
                    <a:lnTo>
                      <a:pt x="340" y="233"/>
                    </a:lnTo>
                    <a:lnTo>
                      <a:pt x="338" y="233"/>
                    </a:lnTo>
                    <a:lnTo>
                      <a:pt x="338" y="231"/>
                    </a:lnTo>
                    <a:lnTo>
                      <a:pt x="335" y="231"/>
                    </a:lnTo>
                    <a:lnTo>
                      <a:pt x="338" y="230"/>
                    </a:lnTo>
                    <a:lnTo>
                      <a:pt x="340" y="228"/>
                    </a:lnTo>
                    <a:lnTo>
                      <a:pt x="340" y="225"/>
                    </a:lnTo>
                    <a:lnTo>
                      <a:pt x="337" y="226"/>
                    </a:lnTo>
                    <a:lnTo>
                      <a:pt x="334" y="225"/>
                    </a:lnTo>
                    <a:lnTo>
                      <a:pt x="334" y="223"/>
                    </a:lnTo>
                    <a:lnTo>
                      <a:pt x="334" y="220"/>
                    </a:lnTo>
                    <a:lnTo>
                      <a:pt x="332" y="218"/>
                    </a:lnTo>
                    <a:lnTo>
                      <a:pt x="330" y="217"/>
                    </a:lnTo>
                    <a:lnTo>
                      <a:pt x="331" y="220"/>
                    </a:lnTo>
                    <a:lnTo>
                      <a:pt x="331" y="222"/>
                    </a:lnTo>
                    <a:lnTo>
                      <a:pt x="330" y="220"/>
                    </a:lnTo>
                    <a:lnTo>
                      <a:pt x="326" y="221"/>
                    </a:lnTo>
                    <a:lnTo>
                      <a:pt x="326" y="222"/>
                    </a:lnTo>
                    <a:lnTo>
                      <a:pt x="326" y="218"/>
                    </a:lnTo>
                    <a:lnTo>
                      <a:pt x="324" y="216"/>
                    </a:lnTo>
                    <a:lnTo>
                      <a:pt x="322" y="215"/>
                    </a:lnTo>
                    <a:lnTo>
                      <a:pt x="320" y="217"/>
                    </a:lnTo>
                    <a:lnTo>
                      <a:pt x="318" y="215"/>
                    </a:lnTo>
                    <a:lnTo>
                      <a:pt x="316" y="213"/>
                    </a:lnTo>
                    <a:lnTo>
                      <a:pt x="318" y="211"/>
                    </a:lnTo>
                    <a:lnTo>
                      <a:pt x="316" y="213"/>
                    </a:lnTo>
                    <a:lnTo>
                      <a:pt x="316" y="211"/>
                    </a:lnTo>
                    <a:lnTo>
                      <a:pt x="313" y="209"/>
                    </a:lnTo>
                    <a:lnTo>
                      <a:pt x="312" y="206"/>
                    </a:lnTo>
                    <a:lnTo>
                      <a:pt x="314" y="205"/>
                    </a:lnTo>
                    <a:lnTo>
                      <a:pt x="314" y="204"/>
                    </a:lnTo>
                    <a:lnTo>
                      <a:pt x="312" y="204"/>
                    </a:lnTo>
                    <a:lnTo>
                      <a:pt x="311" y="201"/>
                    </a:lnTo>
                    <a:lnTo>
                      <a:pt x="308" y="200"/>
                    </a:lnTo>
                    <a:lnTo>
                      <a:pt x="305" y="200"/>
                    </a:lnTo>
                    <a:lnTo>
                      <a:pt x="303" y="201"/>
                    </a:lnTo>
                    <a:lnTo>
                      <a:pt x="303" y="199"/>
                    </a:lnTo>
                    <a:lnTo>
                      <a:pt x="304" y="197"/>
                    </a:lnTo>
                    <a:lnTo>
                      <a:pt x="300" y="197"/>
                    </a:lnTo>
                    <a:lnTo>
                      <a:pt x="299" y="195"/>
                    </a:lnTo>
                    <a:lnTo>
                      <a:pt x="297" y="191"/>
                    </a:lnTo>
                    <a:lnTo>
                      <a:pt x="299" y="192"/>
                    </a:lnTo>
                    <a:lnTo>
                      <a:pt x="300" y="190"/>
                    </a:lnTo>
                    <a:lnTo>
                      <a:pt x="297" y="190"/>
                    </a:lnTo>
                    <a:lnTo>
                      <a:pt x="295" y="188"/>
                    </a:lnTo>
                    <a:lnTo>
                      <a:pt x="292" y="188"/>
                    </a:lnTo>
                    <a:lnTo>
                      <a:pt x="295" y="187"/>
                    </a:lnTo>
                    <a:lnTo>
                      <a:pt x="297" y="187"/>
                    </a:lnTo>
                    <a:lnTo>
                      <a:pt x="300" y="189"/>
                    </a:lnTo>
                    <a:lnTo>
                      <a:pt x="301" y="191"/>
                    </a:lnTo>
                    <a:lnTo>
                      <a:pt x="304" y="195"/>
                    </a:lnTo>
                    <a:lnTo>
                      <a:pt x="306" y="194"/>
                    </a:lnTo>
                    <a:lnTo>
                      <a:pt x="309" y="194"/>
                    </a:lnTo>
                    <a:lnTo>
                      <a:pt x="312" y="194"/>
                    </a:lnTo>
                    <a:lnTo>
                      <a:pt x="313" y="191"/>
                    </a:lnTo>
                    <a:lnTo>
                      <a:pt x="311" y="189"/>
                    </a:lnTo>
                    <a:lnTo>
                      <a:pt x="307" y="188"/>
                    </a:lnTo>
                    <a:lnTo>
                      <a:pt x="305" y="184"/>
                    </a:lnTo>
                    <a:lnTo>
                      <a:pt x="304" y="182"/>
                    </a:lnTo>
                    <a:lnTo>
                      <a:pt x="306" y="182"/>
                    </a:lnTo>
                    <a:lnTo>
                      <a:pt x="307" y="182"/>
                    </a:lnTo>
                    <a:lnTo>
                      <a:pt x="309" y="186"/>
                    </a:lnTo>
                    <a:lnTo>
                      <a:pt x="313" y="184"/>
                    </a:lnTo>
                    <a:lnTo>
                      <a:pt x="309" y="182"/>
                    </a:lnTo>
                    <a:lnTo>
                      <a:pt x="313" y="183"/>
                    </a:lnTo>
                    <a:lnTo>
                      <a:pt x="312" y="181"/>
                    </a:lnTo>
                    <a:lnTo>
                      <a:pt x="309" y="179"/>
                    </a:lnTo>
                    <a:lnTo>
                      <a:pt x="306" y="179"/>
                    </a:lnTo>
                    <a:lnTo>
                      <a:pt x="309" y="179"/>
                    </a:lnTo>
                    <a:lnTo>
                      <a:pt x="312" y="179"/>
                    </a:lnTo>
                    <a:lnTo>
                      <a:pt x="314" y="180"/>
                    </a:lnTo>
                    <a:lnTo>
                      <a:pt x="314" y="178"/>
                    </a:lnTo>
                    <a:lnTo>
                      <a:pt x="316" y="179"/>
                    </a:lnTo>
                    <a:lnTo>
                      <a:pt x="318" y="181"/>
                    </a:lnTo>
                    <a:lnTo>
                      <a:pt x="321" y="183"/>
                    </a:lnTo>
                    <a:lnTo>
                      <a:pt x="322" y="186"/>
                    </a:lnTo>
                    <a:lnTo>
                      <a:pt x="324" y="186"/>
                    </a:lnTo>
                    <a:lnTo>
                      <a:pt x="326" y="186"/>
                    </a:lnTo>
                    <a:lnTo>
                      <a:pt x="326" y="188"/>
                    </a:lnTo>
                    <a:lnTo>
                      <a:pt x="329" y="189"/>
                    </a:lnTo>
                    <a:lnTo>
                      <a:pt x="332" y="188"/>
                    </a:lnTo>
                    <a:lnTo>
                      <a:pt x="334" y="186"/>
                    </a:lnTo>
                    <a:lnTo>
                      <a:pt x="335" y="183"/>
                    </a:lnTo>
                    <a:lnTo>
                      <a:pt x="335" y="183"/>
                    </a:lnTo>
                    <a:lnTo>
                      <a:pt x="335" y="186"/>
                    </a:lnTo>
                    <a:lnTo>
                      <a:pt x="333" y="188"/>
                    </a:lnTo>
                    <a:lnTo>
                      <a:pt x="330" y="190"/>
                    </a:lnTo>
                    <a:lnTo>
                      <a:pt x="330" y="192"/>
                    </a:lnTo>
                    <a:lnTo>
                      <a:pt x="331" y="192"/>
                    </a:lnTo>
                    <a:lnTo>
                      <a:pt x="333" y="192"/>
                    </a:lnTo>
                    <a:lnTo>
                      <a:pt x="335" y="192"/>
                    </a:lnTo>
                    <a:lnTo>
                      <a:pt x="339" y="191"/>
                    </a:lnTo>
                    <a:lnTo>
                      <a:pt x="341" y="191"/>
                    </a:lnTo>
                    <a:lnTo>
                      <a:pt x="345" y="189"/>
                    </a:lnTo>
                    <a:lnTo>
                      <a:pt x="346" y="187"/>
                    </a:lnTo>
                    <a:lnTo>
                      <a:pt x="348" y="184"/>
                    </a:lnTo>
                    <a:lnTo>
                      <a:pt x="350" y="184"/>
                    </a:lnTo>
                    <a:lnTo>
                      <a:pt x="348" y="186"/>
                    </a:lnTo>
                    <a:lnTo>
                      <a:pt x="346" y="189"/>
                    </a:lnTo>
                    <a:lnTo>
                      <a:pt x="345" y="191"/>
                    </a:lnTo>
                    <a:lnTo>
                      <a:pt x="342" y="192"/>
                    </a:lnTo>
                    <a:lnTo>
                      <a:pt x="339" y="194"/>
                    </a:lnTo>
                    <a:lnTo>
                      <a:pt x="337" y="196"/>
                    </a:lnTo>
                    <a:lnTo>
                      <a:pt x="337" y="198"/>
                    </a:lnTo>
                    <a:lnTo>
                      <a:pt x="340" y="199"/>
                    </a:lnTo>
                    <a:lnTo>
                      <a:pt x="342" y="198"/>
                    </a:lnTo>
                    <a:lnTo>
                      <a:pt x="346" y="198"/>
                    </a:lnTo>
                    <a:lnTo>
                      <a:pt x="342" y="198"/>
                    </a:lnTo>
                    <a:lnTo>
                      <a:pt x="340" y="200"/>
                    </a:lnTo>
                    <a:lnTo>
                      <a:pt x="342" y="201"/>
                    </a:lnTo>
                    <a:lnTo>
                      <a:pt x="346" y="199"/>
                    </a:lnTo>
                    <a:lnTo>
                      <a:pt x="343" y="203"/>
                    </a:lnTo>
                    <a:lnTo>
                      <a:pt x="341" y="203"/>
                    </a:lnTo>
                    <a:lnTo>
                      <a:pt x="341" y="205"/>
                    </a:lnTo>
                    <a:lnTo>
                      <a:pt x="345" y="205"/>
                    </a:lnTo>
                    <a:lnTo>
                      <a:pt x="347" y="205"/>
                    </a:lnTo>
                    <a:lnTo>
                      <a:pt x="349" y="204"/>
                    </a:lnTo>
                    <a:lnTo>
                      <a:pt x="347" y="206"/>
                    </a:lnTo>
                    <a:lnTo>
                      <a:pt x="345" y="206"/>
                    </a:lnTo>
                    <a:lnTo>
                      <a:pt x="347" y="207"/>
                    </a:lnTo>
                    <a:lnTo>
                      <a:pt x="345" y="207"/>
                    </a:lnTo>
                    <a:lnTo>
                      <a:pt x="347" y="208"/>
                    </a:lnTo>
                    <a:lnTo>
                      <a:pt x="348" y="212"/>
                    </a:lnTo>
                    <a:lnTo>
                      <a:pt x="350" y="208"/>
                    </a:lnTo>
                    <a:lnTo>
                      <a:pt x="351" y="206"/>
                    </a:lnTo>
                    <a:lnTo>
                      <a:pt x="351" y="208"/>
                    </a:lnTo>
                    <a:lnTo>
                      <a:pt x="354" y="209"/>
                    </a:lnTo>
                    <a:lnTo>
                      <a:pt x="354" y="213"/>
                    </a:lnTo>
                    <a:lnTo>
                      <a:pt x="357" y="212"/>
                    </a:lnTo>
                    <a:lnTo>
                      <a:pt x="359" y="213"/>
                    </a:lnTo>
                    <a:lnTo>
                      <a:pt x="362" y="216"/>
                    </a:lnTo>
                    <a:lnTo>
                      <a:pt x="364" y="214"/>
                    </a:lnTo>
                    <a:lnTo>
                      <a:pt x="364" y="211"/>
                    </a:lnTo>
                    <a:lnTo>
                      <a:pt x="365" y="208"/>
                    </a:lnTo>
                    <a:lnTo>
                      <a:pt x="364" y="206"/>
                    </a:lnTo>
                    <a:lnTo>
                      <a:pt x="366" y="205"/>
                    </a:lnTo>
                    <a:lnTo>
                      <a:pt x="364" y="204"/>
                    </a:lnTo>
                    <a:lnTo>
                      <a:pt x="366" y="200"/>
                    </a:lnTo>
                    <a:lnTo>
                      <a:pt x="363" y="200"/>
                    </a:lnTo>
                    <a:lnTo>
                      <a:pt x="360" y="199"/>
                    </a:lnTo>
                    <a:lnTo>
                      <a:pt x="363" y="199"/>
                    </a:lnTo>
                    <a:lnTo>
                      <a:pt x="364" y="196"/>
                    </a:lnTo>
                    <a:lnTo>
                      <a:pt x="363" y="194"/>
                    </a:lnTo>
                    <a:lnTo>
                      <a:pt x="365" y="196"/>
                    </a:lnTo>
                    <a:lnTo>
                      <a:pt x="367" y="199"/>
                    </a:lnTo>
                    <a:lnTo>
                      <a:pt x="369" y="200"/>
                    </a:lnTo>
                    <a:lnTo>
                      <a:pt x="371" y="201"/>
                    </a:lnTo>
                    <a:lnTo>
                      <a:pt x="371" y="198"/>
                    </a:lnTo>
                    <a:lnTo>
                      <a:pt x="374" y="200"/>
                    </a:lnTo>
                    <a:lnTo>
                      <a:pt x="372" y="197"/>
                    </a:lnTo>
                    <a:lnTo>
                      <a:pt x="375" y="198"/>
                    </a:lnTo>
                    <a:lnTo>
                      <a:pt x="373" y="196"/>
                    </a:lnTo>
                    <a:lnTo>
                      <a:pt x="375" y="196"/>
                    </a:lnTo>
                    <a:lnTo>
                      <a:pt x="379" y="196"/>
                    </a:lnTo>
                    <a:lnTo>
                      <a:pt x="377" y="194"/>
                    </a:lnTo>
                    <a:lnTo>
                      <a:pt x="375" y="191"/>
                    </a:lnTo>
                    <a:lnTo>
                      <a:pt x="372" y="191"/>
                    </a:lnTo>
                    <a:lnTo>
                      <a:pt x="371" y="189"/>
                    </a:lnTo>
                    <a:lnTo>
                      <a:pt x="374" y="191"/>
                    </a:lnTo>
                    <a:lnTo>
                      <a:pt x="376" y="191"/>
                    </a:lnTo>
                    <a:lnTo>
                      <a:pt x="379" y="192"/>
                    </a:lnTo>
                    <a:lnTo>
                      <a:pt x="382" y="191"/>
                    </a:lnTo>
                    <a:lnTo>
                      <a:pt x="382" y="189"/>
                    </a:lnTo>
                    <a:lnTo>
                      <a:pt x="379" y="188"/>
                    </a:lnTo>
                    <a:lnTo>
                      <a:pt x="376" y="187"/>
                    </a:lnTo>
                    <a:lnTo>
                      <a:pt x="373" y="187"/>
                    </a:lnTo>
                    <a:lnTo>
                      <a:pt x="376" y="187"/>
                    </a:lnTo>
                    <a:lnTo>
                      <a:pt x="379" y="186"/>
                    </a:lnTo>
                    <a:lnTo>
                      <a:pt x="377" y="182"/>
                    </a:lnTo>
                    <a:lnTo>
                      <a:pt x="374" y="182"/>
                    </a:lnTo>
                    <a:lnTo>
                      <a:pt x="377" y="182"/>
                    </a:lnTo>
                    <a:lnTo>
                      <a:pt x="379" y="182"/>
                    </a:lnTo>
                    <a:lnTo>
                      <a:pt x="382" y="184"/>
                    </a:lnTo>
                    <a:lnTo>
                      <a:pt x="384" y="186"/>
                    </a:lnTo>
                    <a:lnTo>
                      <a:pt x="388" y="184"/>
                    </a:lnTo>
                    <a:lnTo>
                      <a:pt x="390" y="183"/>
                    </a:lnTo>
                    <a:lnTo>
                      <a:pt x="388" y="182"/>
                    </a:lnTo>
                    <a:lnTo>
                      <a:pt x="384" y="182"/>
                    </a:lnTo>
                    <a:lnTo>
                      <a:pt x="388" y="181"/>
                    </a:lnTo>
                    <a:lnTo>
                      <a:pt x="388" y="179"/>
                    </a:lnTo>
                    <a:lnTo>
                      <a:pt x="384" y="178"/>
                    </a:lnTo>
                    <a:lnTo>
                      <a:pt x="382" y="178"/>
                    </a:lnTo>
                    <a:lnTo>
                      <a:pt x="384" y="177"/>
                    </a:lnTo>
                    <a:lnTo>
                      <a:pt x="388" y="177"/>
                    </a:lnTo>
                    <a:lnTo>
                      <a:pt x="390" y="179"/>
                    </a:lnTo>
                    <a:lnTo>
                      <a:pt x="392" y="179"/>
                    </a:lnTo>
                    <a:lnTo>
                      <a:pt x="393" y="178"/>
                    </a:lnTo>
                    <a:lnTo>
                      <a:pt x="392" y="175"/>
                    </a:lnTo>
                    <a:lnTo>
                      <a:pt x="389" y="173"/>
                    </a:lnTo>
                    <a:lnTo>
                      <a:pt x="386" y="172"/>
                    </a:lnTo>
                    <a:lnTo>
                      <a:pt x="383" y="172"/>
                    </a:lnTo>
                    <a:lnTo>
                      <a:pt x="386" y="171"/>
                    </a:lnTo>
                    <a:lnTo>
                      <a:pt x="383" y="171"/>
                    </a:lnTo>
                    <a:lnTo>
                      <a:pt x="383" y="167"/>
                    </a:lnTo>
                    <a:lnTo>
                      <a:pt x="381" y="169"/>
                    </a:lnTo>
                    <a:lnTo>
                      <a:pt x="377" y="171"/>
                    </a:lnTo>
                    <a:lnTo>
                      <a:pt x="379" y="173"/>
                    </a:lnTo>
                    <a:lnTo>
                      <a:pt x="376" y="171"/>
                    </a:lnTo>
                    <a:lnTo>
                      <a:pt x="374" y="170"/>
                    </a:lnTo>
                    <a:lnTo>
                      <a:pt x="373" y="173"/>
                    </a:lnTo>
                    <a:lnTo>
                      <a:pt x="372" y="175"/>
                    </a:lnTo>
                    <a:lnTo>
                      <a:pt x="372" y="177"/>
                    </a:lnTo>
                    <a:lnTo>
                      <a:pt x="372" y="174"/>
                    </a:lnTo>
                    <a:lnTo>
                      <a:pt x="372" y="171"/>
                    </a:lnTo>
                    <a:lnTo>
                      <a:pt x="369" y="170"/>
                    </a:lnTo>
                    <a:lnTo>
                      <a:pt x="366" y="171"/>
                    </a:lnTo>
                    <a:lnTo>
                      <a:pt x="365" y="174"/>
                    </a:lnTo>
                    <a:lnTo>
                      <a:pt x="364" y="171"/>
                    </a:lnTo>
                    <a:lnTo>
                      <a:pt x="362" y="173"/>
                    </a:lnTo>
                    <a:lnTo>
                      <a:pt x="358" y="173"/>
                    </a:lnTo>
                    <a:lnTo>
                      <a:pt x="362" y="173"/>
                    </a:lnTo>
                    <a:lnTo>
                      <a:pt x="363" y="171"/>
                    </a:lnTo>
                    <a:lnTo>
                      <a:pt x="366" y="170"/>
                    </a:lnTo>
                    <a:lnTo>
                      <a:pt x="366" y="167"/>
                    </a:lnTo>
                    <a:lnTo>
                      <a:pt x="369" y="165"/>
                    </a:lnTo>
                    <a:lnTo>
                      <a:pt x="371" y="162"/>
                    </a:lnTo>
                    <a:lnTo>
                      <a:pt x="367" y="162"/>
                    </a:lnTo>
                    <a:lnTo>
                      <a:pt x="365" y="164"/>
                    </a:lnTo>
                    <a:lnTo>
                      <a:pt x="364" y="166"/>
                    </a:lnTo>
                    <a:lnTo>
                      <a:pt x="362" y="167"/>
                    </a:lnTo>
                    <a:lnTo>
                      <a:pt x="364" y="165"/>
                    </a:lnTo>
                    <a:lnTo>
                      <a:pt x="360" y="164"/>
                    </a:lnTo>
                    <a:lnTo>
                      <a:pt x="358" y="164"/>
                    </a:lnTo>
                    <a:lnTo>
                      <a:pt x="356" y="165"/>
                    </a:lnTo>
                    <a:lnTo>
                      <a:pt x="352" y="165"/>
                    </a:lnTo>
                    <a:lnTo>
                      <a:pt x="350" y="165"/>
                    </a:lnTo>
                    <a:lnTo>
                      <a:pt x="348" y="169"/>
                    </a:lnTo>
                    <a:lnTo>
                      <a:pt x="347" y="169"/>
                    </a:lnTo>
                    <a:lnTo>
                      <a:pt x="348" y="166"/>
                    </a:lnTo>
                    <a:lnTo>
                      <a:pt x="350" y="165"/>
                    </a:lnTo>
                    <a:lnTo>
                      <a:pt x="352" y="164"/>
                    </a:lnTo>
                    <a:lnTo>
                      <a:pt x="356" y="164"/>
                    </a:lnTo>
                    <a:lnTo>
                      <a:pt x="352" y="163"/>
                    </a:lnTo>
                    <a:lnTo>
                      <a:pt x="350" y="164"/>
                    </a:lnTo>
                    <a:lnTo>
                      <a:pt x="347" y="164"/>
                    </a:lnTo>
                    <a:lnTo>
                      <a:pt x="350" y="163"/>
                    </a:lnTo>
                    <a:lnTo>
                      <a:pt x="352" y="163"/>
                    </a:lnTo>
                    <a:lnTo>
                      <a:pt x="350" y="162"/>
                    </a:lnTo>
                    <a:lnTo>
                      <a:pt x="347" y="161"/>
                    </a:lnTo>
                    <a:lnTo>
                      <a:pt x="350" y="161"/>
                    </a:lnTo>
                    <a:lnTo>
                      <a:pt x="356" y="162"/>
                    </a:lnTo>
                    <a:lnTo>
                      <a:pt x="357" y="160"/>
                    </a:lnTo>
                    <a:lnTo>
                      <a:pt x="354" y="158"/>
                    </a:lnTo>
                    <a:lnTo>
                      <a:pt x="351" y="158"/>
                    </a:lnTo>
                    <a:lnTo>
                      <a:pt x="354" y="157"/>
                    </a:lnTo>
                    <a:lnTo>
                      <a:pt x="355" y="155"/>
                    </a:lnTo>
                    <a:lnTo>
                      <a:pt x="356" y="155"/>
                    </a:lnTo>
                    <a:lnTo>
                      <a:pt x="352" y="155"/>
                    </a:lnTo>
                    <a:lnTo>
                      <a:pt x="352" y="152"/>
                    </a:lnTo>
                    <a:lnTo>
                      <a:pt x="349" y="153"/>
                    </a:lnTo>
                    <a:lnTo>
                      <a:pt x="349" y="151"/>
                    </a:lnTo>
                    <a:lnTo>
                      <a:pt x="347" y="151"/>
                    </a:lnTo>
                    <a:lnTo>
                      <a:pt x="346" y="153"/>
                    </a:lnTo>
                    <a:lnTo>
                      <a:pt x="343" y="152"/>
                    </a:lnTo>
                    <a:lnTo>
                      <a:pt x="340" y="154"/>
                    </a:lnTo>
                    <a:lnTo>
                      <a:pt x="342" y="152"/>
                    </a:lnTo>
                    <a:lnTo>
                      <a:pt x="342" y="148"/>
                    </a:lnTo>
                    <a:lnTo>
                      <a:pt x="346" y="147"/>
                    </a:lnTo>
                    <a:lnTo>
                      <a:pt x="342" y="145"/>
                    </a:lnTo>
                    <a:lnTo>
                      <a:pt x="340" y="147"/>
                    </a:lnTo>
                    <a:lnTo>
                      <a:pt x="338" y="147"/>
                    </a:lnTo>
                    <a:lnTo>
                      <a:pt x="335" y="151"/>
                    </a:lnTo>
                    <a:lnTo>
                      <a:pt x="338" y="153"/>
                    </a:lnTo>
                    <a:lnTo>
                      <a:pt x="335" y="152"/>
                    </a:lnTo>
                    <a:lnTo>
                      <a:pt x="335" y="148"/>
                    </a:lnTo>
                    <a:lnTo>
                      <a:pt x="337" y="146"/>
                    </a:lnTo>
                    <a:lnTo>
                      <a:pt x="334" y="146"/>
                    </a:lnTo>
                    <a:lnTo>
                      <a:pt x="330" y="152"/>
                    </a:lnTo>
                    <a:lnTo>
                      <a:pt x="329" y="154"/>
                    </a:lnTo>
                    <a:lnTo>
                      <a:pt x="329" y="152"/>
                    </a:lnTo>
                    <a:lnTo>
                      <a:pt x="330" y="148"/>
                    </a:lnTo>
                    <a:lnTo>
                      <a:pt x="329" y="147"/>
                    </a:lnTo>
                    <a:lnTo>
                      <a:pt x="331" y="144"/>
                    </a:lnTo>
                    <a:lnTo>
                      <a:pt x="328" y="145"/>
                    </a:lnTo>
                    <a:lnTo>
                      <a:pt x="325" y="147"/>
                    </a:lnTo>
                    <a:lnTo>
                      <a:pt x="324" y="149"/>
                    </a:lnTo>
                    <a:lnTo>
                      <a:pt x="322" y="149"/>
                    </a:lnTo>
                    <a:lnTo>
                      <a:pt x="320" y="148"/>
                    </a:lnTo>
                    <a:lnTo>
                      <a:pt x="322" y="149"/>
                    </a:lnTo>
                    <a:lnTo>
                      <a:pt x="324" y="146"/>
                    </a:lnTo>
                    <a:lnTo>
                      <a:pt x="325" y="144"/>
                    </a:lnTo>
                    <a:lnTo>
                      <a:pt x="322" y="144"/>
                    </a:lnTo>
                    <a:lnTo>
                      <a:pt x="320" y="146"/>
                    </a:lnTo>
                    <a:lnTo>
                      <a:pt x="320" y="143"/>
                    </a:lnTo>
                    <a:lnTo>
                      <a:pt x="317" y="144"/>
                    </a:lnTo>
                    <a:lnTo>
                      <a:pt x="317" y="141"/>
                    </a:lnTo>
                    <a:lnTo>
                      <a:pt x="315" y="139"/>
                    </a:lnTo>
                    <a:lnTo>
                      <a:pt x="313" y="139"/>
                    </a:lnTo>
                    <a:lnTo>
                      <a:pt x="311" y="143"/>
                    </a:lnTo>
                    <a:lnTo>
                      <a:pt x="308" y="143"/>
                    </a:lnTo>
                    <a:lnTo>
                      <a:pt x="311" y="141"/>
                    </a:lnTo>
                    <a:lnTo>
                      <a:pt x="312" y="139"/>
                    </a:lnTo>
                    <a:lnTo>
                      <a:pt x="314" y="138"/>
                    </a:lnTo>
                    <a:lnTo>
                      <a:pt x="312" y="137"/>
                    </a:lnTo>
                    <a:lnTo>
                      <a:pt x="309" y="138"/>
                    </a:lnTo>
                    <a:lnTo>
                      <a:pt x="306" y="140"/>
                    </a:lnTo>
                    <a:lnTo>
                      <a:pt x="304" y="139"/>
                    </a:lnTo>
                    <a:lnTo>
                      <a:pt x="306" y="138"/>
                    </a:lnTo>
                    <a:lnTo>
                      <a:pt x="309" y="137"/>
                    </a:lnTo>
                    <a:lnTo>
                      <a:pt x="312" y="136"/>
                    </a:lnTo>
                    <a:lnTo>
                      <a:pt x="314" y="137"/>
                    </a:lnTo>
                    <a:lnTo>
                      <a:pt x="317" y="136"/>
                    </a:lnTo>
                    <a:lnTo>
                      <a:pt x="314" y="135"/>
                    </a:lnTo>
                    <a:lnTo>
                      <a:pt x="312" y="136"/>
                    </a:lnTo>
                    <a:lnTo>
                      <a:pt x="309" y="135"/>
                    </a:lnTo>
                    <a:lnTo>
                      <a:pt x="307" y="137"/>
                    </a:lnTo>
                    <a:lnTo>
                      <a:pt x="306" y="134"/>
                    </a:lnTo>
                    <a:lnTo>
                      <a:pt x="304" y="132"/>
                    </a:lnTo>
                    <a:lnTo>
                      <a:pt x="303" y="136"/>
                    </a:lnTo>
                    <a:lnTo>
                      <a:pt x="303" y="132"/>
                    </a:lnTo>
                    <a:lnTo>
                      <a:pt x="300" y="134"/>
                    </a:lnTo>
                    <a:lnTo>
                      <a:pt x="297" y="131"/>
                    </a:lnTo>
                    <a:lnTo>
                      <a:pt x="295" y="132"/>
                    </a:lnTo>
                    <a:lnTo>
                      <a:pt x="292" y="132"/>
                    </a:lnTo>
                    <a:lnTo>
                      <a:pt x="295" y="131"/>
                    </a:lnTo>
                    <a:lnTo>
                      <a:pt x="292" y="131"/>
                    </a:lnTo>
                    <a:lnTo>
                      <a:pt x="289" y="131"/>
                    </a:lnTo>
                    <a:lnTo>
                      <a:pt x="292" y="130"/>
                    </a:lnTo>
                    <a:lnTo>
                      <a:pt x="295" y="130"/>
                    </a:lnTo>
                    <a:lnTo>
                      <a:pt x="297" y="130"/>
                    </a:lnTo>
                    <a:lnTo>
                      <a:pt x="300" y="130"/>
                    </a:lnTo>
                    <a:lnTo>
                      <a:pt x="297" y="129"/>
                    </a:lnTo>
                    <a:lnTo>
                      <a:pt x="292" y="128"/>
                    </a:lnTo>
                    <a:lnTo>
                      <a:pt x="289" y="128"/>
                    </a:lnTo>
                    <a:lnTo>
                      <a:pt x="287" y="127"/>
                    </a:lnTo>
                    <a:lnTo>
                      <a:pt x="283" y="127"/>
                    </a:lnTo>
                    <a:lnTo>
                      <a:pt x="287" y="126"/>
                    </a:lnTo>
                    <a:lnTo>
                      <a:pt x="289" y="127"/>
                    </a:lnTo>
                    <a:lnTo>
                      <a:pt x="295" y="127"/>
                    </a:lnTo>
                    <a:lnTo>
                      <a:pt x="297" y="126"/>
                    </a:lnTo>
                    <a:lnTo>
                      <a:pt x="300" y="127"/>
                    </a:lnTo>
                    <a:lnTo>
                      <a:pt x="303" y="127"/>
                    </a:lnTo>
                    <a:lnTo>
                      <a:pt x="304" y="127"/>
                    </a:lnTo>
                    <a:lnTo>
                      <a:pt x="300" y="126"/>
                    </a:lnTo>
                    <a:lnTo>
                      <a:pt x="298" y="124"/>
                    </a:lnTo>
                    <a:lnTo>
                      <a:pt x="295" y="124"/>
                    </a:lnTo>
                    <a:lnTo>
                      <a:pt x="298" y="124"/>
                    </a:lnTo>
                    <a:lnTo>
                      <a:pt x="300" y="126"/>
                    </a:lnTo>
                    <a:lnTo>
                      <a:pt x="298" y="122"/>
                    </a:lnTo>
                    <a:lnTo>
                      <a:pt x="295" y="122"/>
                    </a:lnTo>
                    <a:lnTo>
                      <a:pt x="298" y="122"/>
                    </a:lnTo>
                    <a:lnTo>
                      <a:pt x="300" y="122"/>
                    </a:lnTo>
                    <a:lnTo>
                      <a:pt x="304" y="121"/>
                    </a:lnTo>
                    <a:lnTo>
                      <a:pt x="300" y="119"/>
                    </a:lnTo>
                    <a:lnTo>
                      <a:pt x="298" y="118"/>
                    </a:lnTo>
                    <a:lnTo>
                      <a:pt x="296" y="118"/>
                    </a:lnTo>
                    <a:lnTo>
                      <a:pt x="292" y="119"/>
                    </a:lnTo>
                    <a:lnTo>
                      <a:pt x="290" y="120"/>
                    </a:lnTo>
                    <a:lnTo>
                      <a:pt x="288" y="122"/>
                    </a:lnTo>
                    <a:lnTo>
                      <a:pt x="289" y="120"/>
                    </a:lnTo>
                    <a:lnTo>
                      <a:pt x="291" y="119"/>
                    </a:lnTo>
                    <a:lnTo>
                      <a:pt x="295" y="118"/>
                    </a:lnTo>
                    <a:lnTo>
                      <a:pt x="291" y="117"/>
                    </a:lnTo>
                    <a:lnTo>
                      <a:pt x="289" y="117"/>
                    </a:lnTo>
                    <a:lnTo>
                      <a:pt x="288" y="117"/>
                    </a:lnTo>
                    <a:lnTo>
                      <a:pt x="291" y="117"/>
                    </a:lnTo>
                    <a:lnTo>
                      <a:pt x="294" y="117"/>
                    </a:lnTo>
                    <a:lnTo>
                      <a:pt x="297" y="117"/>
                    </a:lnTo>
                    <a:lnTo>
                      <a:pt x="299" y="118"/>
                    </a:lnTo>
                    <a:lnTo>
                      <a:pt x="297" y="115"/>
                    </a:lnTo>
                    <a:lnTo>
                      <a:pt x="294" y="115"/>
                    </a:lnTo>
                    <a:lnTo>
                      <a:pt x="291" y="114"/>
                    </a:lnTo>
                    <a:lnTo>
                      <a:pt x="288" y="114"/>
                    </a:lnTo>
                    <a:lnTo>
                      <a:pt x="286" y="114"/>
                    </a:lnTo>
                    <a:lnTo>
                      <a:pt x="288" y="113"/>
                    </a:lnTo>
                    <a:lnTo>
                      <a:pt x="291" y="114"/>
                    </a:lnTo>
                    <a:lnTo>
                      <a:pt x="294" y="114"/>
                    </a:lnTo>
                    <a:lnTo>
                      <a:pt x="297" y="114"/>
                    </a:lnTo>
                    <a:lnTo>
                      <a:pt x="299" y="114"/>
                    </a:lnTo>
                    <a:lnTo>
                      <a:pt x="303" y="117"/>
                    </a:lnTo>
                    <a:lnTo>
                      <a:pt x="305" y="118"/>
                    </a:lnTo>
                    <a:lnTo>
                      <a:pt x="308" y="118"/>
                    </a:lnTo>
                    <a:lnTo>
                      <a:pt x="311" y="118"/>
                    </a:lnTo>
                    <a:lnTo>
                      <a:pt x="314" y="118"/>
                    </a:lnTo>
                    <a:lnTo>
                      <a:pt x="316" y="118"/>
                    </a:lnTo>
                    <a:lnTo>
                      <a:pt x="318" y="119"/>
                    </a:lnTo>
                    <a:lnTo>
                      <a:pt x="320" y="115"/>
                    </a:lnTo>
                    <a:lnTo>
                      <a:pt x="317" y="113"/>
                    </a:lnTo>
                    <a:lnTo>
                      <a:pt x="314" y="112"/>
                    </a:lnTo>
                    <a:lnTo>
                      <a:pt x="312" y="111"/>
                    </a:lnTo>
                    <a:lnTo>
                      <a:pt x="308" y="111"/>
                    </a:lnTo>
                    <a:lnTo>
                      <a:pt x="306" y="110"/>
                    </a:lnTo>
                    <a:lnTo>
                      <a:pt x="303" y="111"/>
                    </a:lnTo>
                    <a:lnTo>
                      <a:pt x="300" y="110"/>
                    </a:lnTo>
                    <a:lnTo>
                      <a:pt x="297" y="109"/>
                    </a:lnTo>
                    <a:lnTo>
                      <a:pt x="295" y="109"/>
                    </a:lnTo>
                    <a:lnTo>
                      <a:pt x="292" y="107"/>
                    </a:lnTo>
                    <a:lnTo>
                      <a:pt x="289" y="109"/>
                    </a:lnTo>
                    <a:lnTo>
                      <a:pt x="287" y="109"/>
                    </a:lnTo>
                    <a:lnTo>
                      <a:pt x="283" y="110"/>
                    </a:lnTo>
                    <a:lnTo>
                      <a:pt x="280" y="109"/>
                    </a:lnTo>
                    <a:lnTo>
                      <a:pt x="278" y="109"/>
                    </a:lnTo>
                    <a:lnTo>
                      <a:pt x="275" y="110"/>
                    </a:lnTo>
                    <a:lnTo>
                      <a:pt x="274" y="110"/>
                    </a:lnTo>
                    <a:lnTo>
                      <a:pt x="274" y="109"/>
                    </a:lnTo>
                    <a:lnTo>
                      <a:pt x="277" y="109"/>
                    </a:lnTo>
                    <a:lnTo>
                      <a:pt x="280" y="109"/>
                    </a:lnTo>
                    <a:lnTo>
                      <a:pt x="282" y="109"/>
                    </a:lnTo>
                    <a:lnTo>
                      <a:pt x="284" y="109"/>
                    </a:lnTo>
                    <a:lnTo>
                      <a:pt x="290" y="106"/>
                    </a:lnTo>
                    <a:lnTo>
                      <a:pt x="294" y="106"/>
                    </a:lnTo>
                    <a:lnTo>
                      <a:pt x="296" y="106"/>
                    </a:lnTo>
                    <a:lnTo>
                      <a:pt x="298" y="104"/>
                    </a:lnTo>
                    <a:lnTo>
                      <a:pt x="301" y="103"/>
                    </a:lnTo>
                    <a:lnTo>
                      <a:pt x="304" y="103"/>
                    </a:lnTo>
                    <a:lnTo>
                      <a:pt x="307" y="104"/>
                    </a:lnTo>
                    <a:lnTo>
                      <a:pt x="309" y="104"/>
                    </a:lnTo>
                    <a:lnTo>
                      <a:pt x="313" y="104"/>
                    </a:lnTo>
                    <a:lnTo>
                      <a:pt x="313" y="102"/>
                    </a:lnTo>
                    <a:lnTo>
                      <a:pt x="312" y="100"/>
                    </a:lnTo>
                    <a:lnTo>
                      <a:pt x="311" y="97"/>
                    </a:lnTo>
                    <a:lnTo>
                      <a:pt x="308" y="95"/>
                    </a:lnTo>
                    <a:lnTo>
                      <a:pt x="306" y="93"/>
                    </a:lnTo>
                    <a:lnTo>
                      <a:pt x="303" y="90"/>
                    </a:lnTo>
                    <a:lnTo>
                      <a:pt x="300" y="89"/>
                    </a:lnTo>
                    <a:lnTo>
                      <a:pt x="297" y="92"/>
                    </a:lnTo>
                    <a:lnTo>
                      <a:pt x="299" y="95"/>
                    </a:lnTo>
                    <a:lnTo>
                      <a:pt x="296" y="96"/>
                    </a:lnTo>
                    <a:lnTo>
                      <a:pt x="294" y="97"/>
                    </a:lnTo>
                    <a:lnTo>
                      <a:pt x="290" y="98"/>
                    </a:lnTo>
                    <a:lnTo>
                      <a:pt x="288" y="100"/>
                    </a:lnTo>
                    <a:lnTo>
                      <a:pt x="284" y="101"/>
                    </a:lnTo>
                    <a:lnTo>
                      <a:pt x="282" y="103"/>
                    </a:lnTo>
                    <a:lnTo>
                      <a:pt x="280" y="102"/>
                    </a:lnTo>
                    <a:lnTo>
                      <a:pt x="277" y="103"/>
                    </a:lnTo>
                    <a:lnTo>
                      <a:pt x="274" y="105"/>
                    </a:lnTo>
                    <a:lnTo>
                      <a:pt x="274" y="107"/>
                    </a:lnTo>
                    <a:lnTo>
                      <a:pt x="274" y="106"/>
                    </a:lnTo>
                    <a:lnTo>
                      <a:pt x="275" y="103"/>
                    </a:lnTo>
                    <a:lnTo>
                      <a:pt x="279" y="102"/>
                    </a:lnTo>
                    <a:lnTo>
                      <a:pt x="281" y="102"/>
                    </a:lnTo>
                    <a:lnTo>
                      <a:pt x="284" y="100"/>
                    </a:lnTo>
                    <a:lnTo>
                      <a:pt x="287" y="98"/>
                    </a:lnTo>
                    <a:lnTo>
                      <a:pt x="288" y="97"/>
                    </a:lnTo>
                    <a:lnTo>
                      <a:pt x="291" y="96"/>
                    </a:lnTo>
                    <a:lnTo>
                      <a:pt x="292" y="94"/>
                    </a:lnTo>
                    <a:lnTo>
                      <a:pt x="290" y="93"/>
                    </a:lnTo>
                    <a:lnTo>
                      <a:pt x="287" y="93"/>
                    </a:lnTo>
                    <a:lnTo>
                      <a:pt x="284" y="93"/>
                    </a:lnTo>
                    <a:lnTo>
                      <a:pt x="281" y="94"/>
                    </a:lnTo>
                    <a:lnTo>
                      <a:pt x="279" y="94"/>
                    </a:lnTo>
                    <a:lnTo>
                      <a:pt x="277" y="97"/>
                    </a:lnTo>
                    <a:lnTo>
                      <a:pt x="278" y="97"/>
                    </a:lnTo>
                    <a:lnTo>
                      <a:pt x="274" y="98"/>
                    </a:lnTo>
                    <a:lnTo>
                      <a:pt x="274" y="98"/>
                    </a:lnTo>
                    <a:lnTo>
                      <a:pt x="269" y="102"/>
                    </a:lnTo>
                    <a:lnTo>
                      <a:pt x="271" y="98"/>
                    </a:lnTo>
                    <a:lnTo>
                      <a:pt x="274" y="98"/>
                    </a:lnTo>
                    <a:lnTo>
                      <a:pt x="277" y="97"/>
                    </a:lnTo>
                    <a:lnTo>
                      <a:pt x="274" y="96"/>
                    </a:lnTo>
                    <a:lnTo>
                      <a:pt x="274" y="96"/>
                    </a:lnTo>
                    <a:lnTo>
                      <a:pt x="277" y="94"/>
                    </a:lnTo>
                    <a:lnTo>
                      <a:pt x="280" y="93"/>
                    </a:lnTo>
                    <a:lnTo>
                      <a:pt x="282" y="92"/>
                    </a:lnTo>
                    <a:lnTo>
                      <a:pt x="288" y="90"/>
                    </a:lnTo>
                    <a:lnTo>
                      <a:pt x="291" y="90"/>
                    </a:lnTo>
                    <a:lnTo>
                      <a:pt x="292" y="87"/>
                    </a:lnTo>
                    <a:lnTo>
                      <a:pt x="295" y="88"/>
                    </a:lnTo>
                    <a:lnTo>
                      <a:pt x="297" y="86"/>
                    </a:lnTo>
                    <a:lnTo>
                      <a:pt x="296" y="83"/>
                    </a:lnTo>
                    <a:lnTo>
                      <a:pt x="290" y="81"/>
                    </a:lnTo>
                    <a:lnTo>
                      <a:pt x="288" y="80"/>
                    </a:lnTo>
                    <a:lnTo>
                      <a:pt x="286" y="79"/>
                    </a:lnTo>
                    <a:lnTo>
                      <a:pt x="282" y="78"/>
                    </a:lnTo>
                    <a:lnTo>
                      <a:pt x="280" y="79"/>
                    </a:lnTo>
                    <a:lnTo>
                      <a:pt x="277" y="80"/>
                    </a:lnTo>
                    <a:lnTo>
                      <a:pt x="274" y="83"/>
                    </a:lnTo>
                    <a:lnTo>
                      <a:pt x="271" y="83"/>
                    </a:lnTo>
                    <a:lnTo>
                      <a:pt x="269" y="83"/>
                    </a:lnTo>
                    <a:lnTo>
                      <a:pt x="270" y="86"/>
                    </a:lnTo>
                    <a:lnTo>
                      <a:pt x="267" y="83"/>
                    </a:lnTo>
                    <a:lnTo>
                      <a:pt x="270" y="83"/>
                    </a:lnTo>
                    <a:lnTo>
                      <a:pt x="273" y="80"/>
                    </a:lnTo>
                    <a:lnTo>
                      <a:pt x="274" y="80"/>
                    </a:lnTo>
                    <a:lnTo>
                      <a:pt x="277" y="78"/>
                    </a:lnTo>
                    <a:lnTo>
                      <a:pt x="274" y="77"/>
                    </a:lnTo>
                    <a:lnTo>
                      <a:pt x="271" y="78"/>
                    </a:lnTo>
                    <a:lnTo>
                      <a:pt x="269" y="78"/>
                    </a:lnTo>
                    <a:lnTo>
                      <a:pt x="265" y="79"/>
                    </a:lnTo>
                    <a:lnTo>
                      <a:pt x="263" y="81"/>
                    </a:lnTo>
                    <a:lnTo>
                      <a:pt x="261" y="83"/>
                    </a:lnTo>
                    <a:lnTo>
                      <a:pt x="260" y="85"/>
                    </a:lnTo>
                    <a:lnTo>
                      <a:pt x="258" y="87"/>
                    </a:lnTo>
                    <a:lnTo>
                      <a:pt x="257" y="90"/>
                    </a:lnTo>
                    <a:lnTo>
                      <a:pt x="256" y="93"/>
                    </a:lnTo>
                    <a:lnTo>
                      <a:pt x="255" y="95"/>
                    </a:lnTo>
                    <a:lnTo>
                      <a:pt x="256" y="93"/>
                    </a:lnTo>
                    <a:lnTo>
                      <a:pt x="256" y="89"/>
                    </a:lnTo>
                    <a:lnTo>
                      <a:pt x="257" y="87"/>
                    </a:lnTo>
                    <a:lnTo>
                      <a:pt x="258" y="85"/>
                    </a:lnTo>
                    <a:lnTo>
                      <a:pt x="255" y="84"/>
                    </a:lnTo>
                    <a:lnTo>
                      <a:pt x="253" y="86"/>
                    </a:lnTo>
                    <a:lnTo>
                      <a:pt x="252" y="88"/>
                    </a:lnTo>
                    <a:lnTo>
                      <a:pt x="249" y="90"/>
                    </a:lnTo>
                    <a:lnTo>
                      <a:pt x="251" y="87"/>
                    </a:lnTo>
                    <a:lnTo>
                      <a:pt x="247" y="87"/>
                    </a:lnTo>
                    <a:lnTo>
                      <a:pt x="251" y="87"/>
                    </a:lnTo>
                    <a:lnTo>
                      <a:pt x="253" y="84"/>
                    </a:lnTo>
                    <a:lnTo>
                      <a:pt x="255" y="83"/>
                    </a:lnTo>
                    <a:lnTo>
                      <a:pt x="258" y="84"/>
                    </a:lnTo>
                    <a:lnTo>
                      <a:pt x="261" y="81"/>
                    </a:lnTo>
                    <a:lnTo>
                      <a:pt x="263" y="79"/>
                    </a:lnTo>
                    <a:lnTo>
                      <a:pt x="265" y="77"/>
                    </a:lnTo>
                    <a:lnTo>
                      <a:pt x="266" y="73"/>
                    </a:lnTo>
                    <a:lnTo>
                      <a:pt x="265" y="71"/>
                    </a:lnTo>
                    <a:lnTo>
                      <a:pt x="263" y="70"/>
                    </a:lnTo>
                    <a:lnTo>
                      <a:pt x="261" y="71"/>
                    </a:lnTo>
                    <a:lnTo>
                      <a:pt x="257" y="72"/>
                    </a:lnTo>
                    <a:lnTo>
                      <a:pt x="257" y="76"/>
                    </a:lnTo>
                    <a:lnTo>
                      <a:pt x="254" y="76"/>
                    </a:lnTo>
                    <a:lnTo>
                      <a:pt x="252" y="77"/>
                    </a:lnTo>
                    <a:lnTo>
                      <a:pt x="248" y="78"/>
                    </a:lnTo>
                    <a:lnTo>
                      <a:pt x="246" y="78"/>
                    </a:lnTo>
                    <a:lnTo>
                      <a:pt x="243" y="80"/>
                    </a:lnTo>
                    <a:lnTo>
                      <a:pt x="240" y="83"/>
                    </a:lnTo>
                    <a:lnTo>
                      <a:pt x="238" y="83"/>
                    </a:lnTo>
                    <a:lnTo>
                      <a:pt x="240" y="81"/>
                    </a:lnTo>
                    <a:lnTo>
                      <a:pt x="243" y="78"/>
                    </a:lnTo>
                    <a:lnTo>
                      <a:pt x="240" y="77"/>
                    </a:lnTo>
                    <a:lnTo>
                      <a:pt x="238" y="78"/>
                    </a:lnTo>
                    <a:lnTo>
                      <a:pt x="240" y="77"/>
                    </a:lnTo>
                    <a:lnTo>
                      <a:pt x="244" y="73"/>
                    </a:lnTo>
                    <a:lnTo>
                      <a:pt x="246" y="71"/>
                    </a:lnTo>
                    <a:lnTo>
                      <a:pt x="248" y="70"/>
                    </a:lnTo>
                    <a:lnTo>
                      <a:pt x="251" y="71"/>
                    </a:lnTo>
                    <a:lnTo>
                      <a:pt x="254" y="71"/>
                    </a:lnTo>
                    <a:lnTo>
                      <a:pt x="256" y="69"/>
                    </a:lnTo>
                    <a:lnTo>
                      <a:pt x="258" y="67"/>
                    </a:lnTo>
                    <a:lnTo>
                      <a:pt x="257" y="64"/>
                    </a:lnTo>
                    <a:lnTo>
                      <a:pt x="254" y="61"/>
                    </a:lnTo>
                    <a:lnTo>
                      <a:pt x="252" y="60"/>
                    </a:lnTo>
                    <a:lnTo>
                      <a:pt x="248" y="59"/>
                    </a:lnTo>
                    <a:lnTo>
                      <a:pt x="246" y="59"/>
                    </a:lnTo>
                    <a:lnTo>
                      <a:pt x="244" y="58"/>
                    </a:lnTo>
                    <a:lnTo>
                      <a:pt x="240" y="57"/>
                    </a:lnTo>
                    <a:lnTo>
                      <a:pt x="238" y="59"/>
                    </a:lnTo>
                    <a:lnTo>
                      <a:pt x="236" y="60"/>
                    </a:lnTo>
                    <a:lnTo>
                      <a:pt x="234" y="63"/>
                    </a:lnTo>
                    <a:lnTo>
                      <a:pt x="234" y="66"/>
                    </a:lnTo>
                    <a:lnTo>
                      <a:pt x="231" y="68"/>
                    </a:lnTo>
                    <a:lnTo>
                      <a:pt x="230" y="70"/>
                    </a:lnTo>
                    <a:lnTo>
                      <a:pt x="228" y="73"/>
                    </a:lnTo>
                    <a:lnTo>
                      <a:pt x="229" y="70"/>
                    </a:lnTo>
                    <a:lnTo>
                      <a:pt x="229" y="68"/>
                    </a:lnTo>
                    <a:lnTo>
                      <a:pt x="232" y="67"/>
                    </a:lnTo>
                    <a:lnTo>
                      <a:pt x="229" y="64"/>
                    </a:lnTo>
                    <a:lnTo>
                      <a:pt x="227" y="66"/>
                    </a:lnTo>
                    <a:lnTo>
                      <a:pt x="224" y="68"/>
                    </a:lnTo>
                    <a:lnTo>
                      <a:pt x="223" y="71"/>
                    </a:lnTo>
                    <a:lnTo>
                      <a:pt x="221" y="71"/>
                    </a:lnTo>
                    <a:lnTo>
                      <a:pt x="223" y="69"/>
                    </a:lnTo>
                    <a:lnTo>
                      <a:pt x="224" y="66"/>
                    </a:lnTo>
                    <a:lnTo>
                      <a:pt x="227" y="63"/>
                    </a:lnTo>
                    <a:lnTo>
                      <a:pt x="224" y="61"/>
                    </a:lnTo>
                    <a:lnTo>
                      <a:pt x="224" y="58"/>
                    </a:lnTo>
                    <a:lnTo>
                      <a:pt x="221" y="60"/>
                    </a:lnTo>
                    <a:lnTo>
                      <a:pt x="220" y="62"/>
                    </a:lnTo>
                    <a:lnTo>
                      <a:pt x="219" y="64"/>
                    </a:lnTo>
                    <a:lnTo>
                      <a:pt x="217" y="68"/>
                    </a:lnTo>
                    <a:lnTo>
                      <a:pt x="218" y="64"/>
                    </a:lnTo>
                    <a:lnTo>
                      <a:pt x="219" y="62"/>
                    </a:lnTo>
                    <a:lnTo>
                      <a:pt x="217" y="62"/>
                    </a:lnTo>
                    <a:lnTo>
                      <a:pt x="219" y="61"/>
                    </a:lnTo>
                    <a:lnTo>
                      <a:pt x="220" y="59"/>
                    </a:lnTo>
                    <a:lnTo>
                      <a:pt x="222" y="57"/>
                    </a:lnTo>
                    <a:lnTo>
                      <a:pt x="223" y="53"/>
                    </a:lnTo>
                    <a:lnTo>
                      <a:pt x="220" y="53"/>
                    </a:lnTo>
                    <a:lnTo>
                      <a:pt x="218" y="57"/>
                    </a:lnTo>
                    <a:lnTo>
                      <a:pt x="218" y="59"/>
                    </a:lnTo>
                    <a:lnTo>
                      <a:pt x="218" y="57"/>
                    </a:lnTo>
                    <a:lnTo>
                      <a:pt x="214" y="55"/>
                    </a:lnTo>
                    <a:lnTo>
                      <a:pt x="212" y="57"/>
                    </a:lnTo>
                    <a:lnTo>
                      <a:pt x="210" y="60"/>
                    </a:lnTo>
                    <a:lnTo>
                      <a:pt x="211" y="62"/>
                    </a:lnTo>
                    <a:lnTo>
                      <a:pt x="209" y="66"/>
                    </a:lnTo>
                    <a:lnTo>
                      <a:pt x="206" y="68"/>
                    </a:lnTo>
                    <a:lnTo>
                      <a:pt x="209" y="64"/>
                    </a:lnTo>
                    <a:lnTo>
                      <a:pt x="209" y="62"/>
                    </a:lnTo>
                    <a:lnTo>
                      <a:pt x="206" y="60"/>
                    </a:lnTo>
                    <a:lnTo>
                      <a:pt x="205" y="60"/>
                    </a:lnTo>
                    <a:lnTo>
                      <a:pt x="209" y="59"/>
                    </a:lnTo>
                    <a:lnTo>
                      <a:pt x="211" y="57"/>
                    </a:lnTo>
                    <a:lnTo>
                      <a:pt x="209" y="57"/>
                    </a:lnTo>
                    <a:lnTo>
                      <a:pt x="205" y="58"/>
                    </a:lnTo>
                    <a:lnTo>
                      <a:pt x="203" y="59"/>
                    </a:lnTo>
                    <a:lnTo>
                      <a:pt x="205" y="57"/>
                    </a:lnTo>
                    <a:lnTo>
                      <a:pt x="203" y="55"/>
                    </a:lnTo>
                    <a:lnTo>
                      <a:pt x="205" y="55"/>
                    </a:lnTo>
                    <a:lnTo>
                      <a:pt x="209" y="54"/>
                    </a:lnTo>
                    <a:lnTo>
                      <a:pt x="211" y="53"/>
                    </a:lnTo>
                    <a:lnTo>
                      <a:pt x="213" y="52"/>
                    </a:lnTo>
                    <a:lnTo>
                      <a:pt x="217" y="52"/>
                    </a:lnTo>
                    <a:lnTo>
                      <a:pt x="218" y="49"/>
                    </a:lnTo>
                    <a:lnTo>
                      <a:pt x="217" y="46"/>
                    </a:lnTo>
                    <a:lnTo>
                      <a:pt x="213" y="45"/>
                    </a:lnTo>
                    <a:lnTo>
                      <a:pt x="211" y="45"/>
                    </a:lnTo>
                    <a:lnTo>
                      <a:pt x="209" y="45"/>
                    </a:lnTo>
                    <a:lnTo>
                      <a:pt x="205" y="44"/>
                    </a:lnTo>
                    <a:lnTo>
                      <a:pt x="203" y="47"/>
                    </a:lnTo>
                    <a:lnTo>
                      <a:pt x="201" y="47"/>
                    </a:lnTo>
                    <a:lnTo>
                      <a:pt x="197" y="49"/>
                    </a:lnTo>
                    <a:lnTo>
                      <a:pt x="197" y="52"/>
                    </a:lnTo>
                    <a:lnTo>
                      <a:pt x="195" y="54"/>
                    </a:lnTo>
                    <a:lnTo>
                      <a:pt x="192" y="55"/>
                    </a:lnTo>
                    <a:lnTo>
                      <a:pt x="195" y="53"/>
                    </a:lnTo>
                    <a:lnTo>
                      <a:pt x="196" y="51"/>
                    </a:lnTo>
                    <a:lnTo>
                      <a:pt x="197" y="47"/>
                    </a:lnTo>
                    <a:lnTo>
                      <a:pt x="201" y="45"/>
                    </a:lnTo>
                    <a:lnTo>
                      <a:pt x="197" y="44"/>
                    </a:lnTo>
                    <a:lnTo>
                      <a:pt x="195" y="45"/>
                    </a:lnTo>
                    <a:lnTo>
                      <a:pt x="192" y="46"/>
                    </a:lnTo>
                    <a:lnTo>
                      <a:pt x="189" y="49"/>
                    </a:lnTo>
                    <a:lnTo>
                      <a:pt x="187" y="51"/>
                    </a:lnTo>
                    <a:lnTo>
                      <a:pt x="189" y="47"/>
                    </a:lnTo>
                    <a:lnTo>
                      <a:pt x="192" y="45"/>
                    </a:lnTo>
                    <a:lnTo>
                      <a:pt x="195" y="44"/>
                    </a:lnTo>
                    <a:lnTo>
                      <a:pt x="197" y="44"/>
                    </a:lnTo>
                    <a:lnTo>
                      <a:pt x="201" y="44"/>
                    </a:lnTo>
                    <a:lnTo>
                      <a:pt x="203" y="44"/>
                    </a:lnTo>
                    <a:lnTo>
                      <a:pt x="205" y="42"/>
                    </a:lnTo>
                    <a:lnTo>
                      <a:pt x="205" y="38"/>
                    </a:lnTo>
                    <a:lnTo>
                      <a:pt x="203" y="36"/>
                    </a:lnTo>
                    <a:lnTo>
                      <a:pt x="201" y="35"/>
                    </a:lnTo>
                    <a:lnTo>
                      <a:pt x="197" y="34"/>
                    </a:lnTo>
                    <a:lnTo>
                      <a:pt x="195" y="33"/>
                    </a:lnTo>
                    <a:lnTo>
                      <a:pt x="192" y="33"/>
                    </a:lnTo>
                    <a:lnTo>
                      <a:pt x="192" y="35"/>
                    </a:lnTo>
                    <a:lnTo>
                      <a:pt x="189" y="33"/>
                    </a:lnTo>
                    <a:lnTo>
                      <a:pt x="187" y="32"/>
                    </a:lnTo>
                    <a:lnTo>
                      <a:pt x="184" y="32"/>
                    </a:lnTo>
                    <a:lnTo>
                      <a:pt x="181" y="29"/>
                    </a:lnTo>
                    <a:lnTo>
                      <a:pt x="178" y="28"/>
                    </a:lnTo>
                    <a:lnTo>
                      <a:pt x="173" y="28"/>
                    </a:lnTo>
                    <a:lnTo>
                      <a:pt x="170" y="28"/>
                    </a:lnTo>
                    <a:lnTo>
                      <a:pt x="168" y="29"/>
                    </a:lnTo>
                    <a:lnTo>
                      <a:pt x="164" y="29"/>
                    </a:lnTo>
                    <a:lnTo>
                      <a:pt x="162" y="30"/>
                    </a:lnTo>
                    <a:lnTo>
                      <a:pt x="159" y="33"/>
                    </a:lnTo>
                    <a:lnTo>
                      <a:pt x="156" y="35"/>
                    </a:lnTo>
                    <a:lnTo>
                      <a:pt x="159" y="38"/>
                    </a:lnTo>
                    <a:lnTo>
                      <a:pt x="162" y="38"/>
                    </a:lnTo>
                    <a:lnTo>
                      <a:pt x="164" y="40"/>
                    </a:lnTo>
                    <a:lnTo>
                      <a:pt x="167" y="41"/>
                    </a:lnTo>
                    <a:lnTo>
                      <a:pt x="170" y="42"/>
                    </a:lnTo>
                    <a:lnTo>
                      <a:pt x="172" y="43"/>
                    </a:lnTo>
                    <a:lnTo>
                      <a:pt x="176" y="43"/>
                    </a:lnTo>
                    <a:lnTo>
                      <a:pt x="178" y="44"/>
                    </a:lnTo>
                    <a:lnTo>
                      <a:pt x="176" y="44"/>
                    </a:lnTo>
                    <a:lnTo>
                      <a:pt x="173" y="43"/>
                    </a:lnTo>
                    <a:lnTo>
                      <a:pt x="171" y="43"/>
                    </a:lnTo>
                    <a:lnTo>
                      <a:pt x="168" y="42"/>
                    </a:lnTo>
                    <a:lnTo>
                      <a:pt x="166" y="41"/>
                    </a:lnTo>
                    <a:lnTo>
                      <a:pt x="162" y="41"/>
                    </a:lnTo>
                    <a:lnTo>
                      <a:pt x="160" y="40"/>
                    </a:lnTo>
                    <a:lnTo>
                      <a:pt x="159" y="42"/>
                    </a:lnTo>
                    <a:lnTo>
                      <a:pt x="158" y="40"/>
                    </a:lnTo>
                    <a:lnTo>
                      <a:pt x="154" y="40"/>
                    </a:lnTo>
                    <a:lnTo>
                      <a:pt x="152" y="42"/>
                    </a:lnTo>
                    <a:lnTo>
                      <a:pt x="155" y="44"/>
                    </a:lnTo>
                    <a:lnTo>
                      <a:pt x="159" y="44"/>
                    </a:lnTo>
                    <a:lnTo>
                      <a:pt x="160" y="47"/>
                    </a:lnTo>
                    <a:lnTo>
                      <a:pt x="162" y="49"/>
                    </a:lnTo>
                    <a:lnTo>
                      <a:pt x="166" y="51"/>
                    </a:lnTo>
                    <a:lnTo>
                      <a:pt x="168" y="52"/>
                    </a:lnTo>
                    <a:lnTo>
                      <a:pt x="166" y="52"/>
                    </a:lnTo>
                    <a:lnTo>
                      <a:pt x="163" y="50"/>
                    </a:lnTo>
                    <a:lnTo>
                      <a:pt x="160" y="50"/>
                    </a:lnTo>
                    <a:lnTo>
                      <a:pt x="162" y="52"/>
                    </a:lnTo>
                    <a:lnTo>
                      <a:pt x="166" y="53"/>
                    </a:lnTo>
                    <a:lnTo>
                      <a:pt x="162" y="52"/>
                    </a:lnTo>
                    <a:lnTo>
                      <a:pt x="162" y="52"/>
                    </a:lnTo>
                    <a:lnTo>
                      <a:pt x="160" y="50"/>
                    </a:lnTo>
                    <a:lnTo>
                      <a:pt x="159" y="47"/>
                    </a:lnTo>
                    <a:lnTo>
                      <a:pt x="156" y="44"/>
                    </a:lnTo>
                    <a:lnTo>
                      <a:pt x="153" y="44"/>
                    </a:lnTo>
                    <a:lnTo>
                      <a:pt x="152" y="46"/>
                    </a:lnTo>
                    <a:lnTo>
                      <a:pt x="155" y="49"/>
                    </a:lnTo>
                    <a:lnTo>
                      <a:pt x="158" y="51"/>
                    </a:lnTo>
                    <a:lnTo>
                      <a:pt x="154" y="50"/>
                    </a:lnTo>
                    <a:lnTo>
                      <a:pt x="152" y="49"/>
                    </a:lnTo>
                    <a:lnTo>
                      <a:pt x="149" y="49"/>
                    </a:lnTo>
                    <a:lnTo>
                      <a:pt x="150" y="46"/>
                    </a:lnTo>
                    <a:lnTo>
                      <a:pt x="151" y="43"/>
                    </a:lnTo>
                    <a:lnTo>
                      <a:pt x="152" y="41"/>
                    </a:lnTo>
                    <a:lnTo>
                      <a:pt x="149" y="38"/>
                    </a:lnTo>
                    <a:lnTo>
                      <a:pt x="146" y="37"/>
                    </a:lnTo>
                    <a:lnTo>
                      <a:pt x="144" y="40"/>
                    </a:lnTo>
                    <a:lnTo>
                      <a:pt x="141" y="42"/>
                    </a:lnTo>
                    <a:lnTo>
                      <a:pt x="143" y="38"/>
                    </a:lnTo>
                    <a:lnTo>
                      <a:pt x="141" y="36"/>
                    </a:lnTo>
                    <a:lnTo>
                      <a:pt x="138" y="37"/>
                    </a:lnTo>
                    <a:lnTo>
                      <a:pt x="137" y="37"/>
                    </a:lnTo>
                    <a:lnTo>
                      <a:pt x="135" y="40"/>
                    </a:lnTo>
                    <a:lnTo>
                      <a:pt x="137" y="42"/>
                    </a:lnTo>
                    <a:lnTo>
                      <a:pt x="139" y="44"/>
                    </a:lnTo>
                    <a:lnTo>
                      <a:pt x="137" y="43"/>
                    </a:lnTo>
                    <a:lnTo>
                      <a:pt x="137" y="43"/>
                    </a:lnTo>
                    <a:lnTo>
                      <a:pt x="135" y="41"/>
                    </a:lnTo>
                    <a:lnTo>
                      <a:pt x="133" y="43"/>
                    </a:lnTo>
                    <a:lnTo>
                      <a:pt x="133" y="45"/>
                    </a:lnTo>
                    <a:lnTo>
                      <a:pt x="129" y="47"/>
                    </a:lnTo>
                    <a:lnTo>
                      <a:pt x="127" y="47"/>
                    </a:lnTo>
                    <a:lnTo>
                      <a:pt x="124" y="51"/>
                    </a:lnTo>
                    <a:lnTo>
                      <a:pt x="126" y="47"/>
                    </a:lnTo>
                    <a:lnTo>
                      <a:pt x="123" y="46"/>
                    </a:lnTo>
                    <a:lnTo>
                      <a:pt x="126" y="45"/>
                    </a:lnTo>
                    <a:lnTo>
                      <a:pt x="128" y="46"/>
                    </a:lnTo>
                    <a:lnTo>
                      <a:pt x="126" y="44"/>
                    </a:lnTo>
                    <a:lnTo>
                      <a:pt x="126" y="41"/>
                    </a:lnTo>
                    <a:lnTo>
                      <a:pt x="128" y="38"/>
                    </a:lnTo>
                    <a:lnTo>
                      <a:pt x="130" y="36"/>
                    </a:lnTo>
                    <a:lnTo>
                      <a:pt x="127" y="35"/>
                    </a:lnTo>
                    <a:lnTo>
                      <a:pt x="125" y="37"/>
                    </a:lnTo>
                    <a:lnTo>
                      <a:pt x="123" y="40"/>
                    </a:lnTo>
                    <a:lnTo>
                      <a:pt x="119" y="42"/>
                    </a:lnTo>
                    <a:lnTo>
                      <a:pt x="123" y="38"/>
                    </a:lnTo>
                    <a:lnTo>
                      <a:pt x="125" y="36"/>
                    </a:lnTo>
                    <a:lnTo>
                      <a:pt x="127" y="34"/>
                    </a:lnTo>
                    <a:lnTo>
                      <a:pt x="130" y="33"/>
                    </a:lnTo>
                    <a:lnTo>
                      <a:pt x="132" y="30"/>
                    </a:lnTo>
                    <a:lnTo>
                      <a:pt x="133" y="27"/>
                    </a:lnTo>
                    <a:lnTo>
                      <a:pt x="130" y="26"/>
                    </a:lnTo>
                    <a:lnTo>
                      <a:pt x="128" y="24"/>
                    </a:lnTo>
                    <a:lnTo>
                      <a:pt x="129" y="21"/>
                    </a:lnTo>
                    <a:lnTo>
                      <a:pt x="129" y="18"/>
                    </a:lnTo>
                    <a:lnTo>
                      <a:pt x="126" y="17"/>
                    </a:lnTo>
                    <a:lnTo>
                      <a:pt x="124" y="16"/>
                    </a:lnTo>
                    <a:lnTo>
                      <a:pt x="120" y="15"/>
                    </a:lnTo>
                    <a:lnTo>
                      <a:pt x="121" y="12"/>
                    </a:lnTo>
                    <a:lnTo>
                      <a:pt x="120" y="9"/>
                    </a:lnTo>
                    <a:lnTo>
                      <a:pt x="119" y="7"/>
                    </a:lnTo>
                    <a:lnTo>
                      <a:pt x="117" y="4"/>
                    </a:lnTo>
                    <a:lnTo>
                      <a:pt x="115" y="3"/>
                    </a:lnTo>
                    <a:lnTo>
                      <a:pt x="111" y="3"/>
                    </a:lnTo>
                    <a:lnTo>
                      <a:pt x="109" y="2"/>
                    </a:lnTo>
                    <a:lnTo>
                      <a:pt x="106" y="3"/>
                    </a:lnTo>
                    <a:lnTo>
                      <a:pt x="103" y="3"/>
                    </a:lnTo>
                    <a:lnTo>
                      <a:pt x="100" y="2"/>
                    </a:lnTo>
                    <a:lnTo>
                      <a:pt x="98" y="3"/>
                    </a:lnTo>
                    <a:lnTo>
                      <a:pt x="95" y="4"/>
                    </a:lnTo>
                    <a:lnTo>
                      <a:pt x="92" y="4"/>
                    </a:lnTo>
                    <a:lnTo>
                      <a:pt x="90" y="6"/>
                    </a:lnTo>
                    <a:lnTo>
                      <a:pt x="86" y="7"/>
                    </a:lnTo>
                    <a:lnTo>
                      <a:pt x="84" y="8"/>
                    </a:lnTo>
                    <a:lnTo>
                      <a:pt x="86" y="10"/>
                    </a:lnTo>
                    <a:lnTo>
                      <a:pt x="87" y="12"/>
                    </a:lnTo>
                    <a:lnTo>
                      <a:pt x="84" y="10"/>
                    </a:lnTo>
                    <a:lnTo>
                      <a:pt x="82" y="10"/>
                    </a:lnTo>
                    <a:lnTo>
                      <a:pt x="78" y="10"/>
                    </a:lnTo>
                    <a:lnTo>
                      <a:pt x="76" y="10"/>
                    </a:lnTo>
                    <a:lnTo>
                      <a:pt x="74" y="13"/>
                    </a:lnTo>
                    <a:lnTo>
                      <a:pt x="77" y="16"/>
                    </a:lnTo>
                    <a:lnTo>
                      <a:pt x="74" y="15"/>
                    </a:lnTo>
                    <a:lnTo>
                      <a:pt x="72" y="11"/>
                    </a:lnTo>
                    <a:lnTo>
                      <a:pt x="68" y="12"/>
                    </a:lnTo>
                    <a:lnTo>
                      <a:pt x="66" y="16"/>
                    </a:lnTo>
                    <a:lnTo>
                      <a:pt x="69" y="17"/>
                    </a:lnTo>
                    <a:lnTo>
                      <a:pt x="72" y="18"/>
                    </a:lnTo>
                    <a:lnTo>
                      <a:pt x="75" y="19"/>
                    </a:lnTo>
                    <a:lnTo>
                      <a:pt x="77" y="19"/>
                    </a:lnTo>
                    <a:lnTo>
                      <a:pt x="81" y="20"/>
                    </a:lnTo>
                    <a:lnTo>
                      <a:pt x="83" y="20"/>
                    </a:lnTo>
                    <a:lnTo>
                      <a:pt x="86" y="21"/>
                    </a:lnTo>
                    <a:lnTo>
                      <a:pt x="83" y="21"/>
                    </a:lnTo>
                    <a:lnTo>
                      <a:pt x="79" y="21"/>
                    </a:lnTo>
                    <a:lnTo>
                      <a:pt x="77" y="20"/>
                    </a:lnTo>
                    <a:lnTo>
                      <a:pt x="74" y="20"/>
                    </a:lnTo>
                    <a:lnTo>
                      <a:pt x="72" y="19"/>
                    </a:lnTo>
                    <a:lnTo>
                      <a:pt x="69" y="19"/>
                    </a:lnTo>
                    <a:lnTo>
                      <a:pt x="66" y="18"/>
                    </a:lnTo>
                    <a:lnTo>
                      <a:pt x="64" y="18"/>
                    </a:lnTo>
                    <a:lnTo>
                      <a:pt x="61" y="21"/>
                    </a:lnTo>
                    <a:lnTo>
                      <a:pt x="65" y="21"/>
                    </a:lnTo>
                    <a:lnTo>
                      <a:pt x="67" y="21"/>
                    </a:lnTo>
                    <a:lnTo>
                      <a:pt x="69" y="23"/>
                    </a:lnTo>
                    <a:lnTo>
                      <a:pt x="73" y="25"/>
                    </a:lnTo>
                    <a:lnTo>
                      <a:pt x="75" y="25"/>
                    </a:lnTo>
                    <a:lnTo>
                      <a:pt x="78" y="26"/>
                    </a:lnTo>
                    <a:lnTo>
                      <a:pt x="81" y="27"/>
                    </a:lnTo>
                    <a:lnTo>
                      <a:pt x="78" y="27"/>
                    </a:lnTo>
                    <a:lnTo>
                      <a:pt x="75" y="26"/>
                    </a:lnTo>
                    <a:lnTo>
                      <a:pt x="73" y="25"/>
                    </a:lnTo>
                    <a:lnTo>
                      <a:pt x="69" y="25"/>
                    </a:lnTo>
                    <a:lnTo>
                      <a:pt x="67" y="24"/>
                    </a:lnTo>
                    <a:lnTo>
                      <a:pt x="65" y="23"/>
                    </a:lnTo>
                    <a:lnTo>
                      <a:pt x="61" y="23"/>
                    </a:lnTo>
                    <a:lnTo>
                      <a:pt x="60" y="25"/>
                    </a:lnTo>
                    <a:lnTo>
                      <a:pt x="59" y="28"/>
                    </a:lnTo>
                    <a:lnTo>
                      <a:pt x="59" y="30"/>
                    </a:lnTo>
                    <a:lnTo>
                      <a:pt x="61" y="33"/>
                    </a:lnTo>
                    <a:lnTo>
                      <a:pt x="61" y="35"/>
                    </a:lnTo>
                    <a:lnTo>
                      <a:pt x="64" y="37"/>
                    </a:lnTo>
                    <a:lnTo>
                      <a:pt x="67" y="37"/>
                    </a:lnTo>
                    <a:lnTo>
                      <a:pt x="69" y="37"/>
                    </a:lnTo>
                    <a:lnTo>
                      <a:pt x="73" y="38"/>
                    </a:lnTo>
                    <a:lnTo>
                      <a:pt x="75" y="38"/>
                    </a:lnTo>
                    <a:lnTo>
                      <a:pt x="73" y="38"/>
                    </a:lnTo>
                    <a:lnTo>
                      <a:pt x="69" y="40"/>
                    </a:lnTo>
                    <a:lnTo>
                      <a:pt x="73" y="42"/>
                    </a:lnTo>
                    <a:lnTo>
                      <a:pt x="75" y="44"/>
                    </a:lnTo>
                    <a:lnTo>
                      <a:pt x="78" y="46"/>
                    </a:lnTo>
                    <a:lnTo>
                      <a:pt x="79" y="49"/>
                    </a:lnTo>
                    <a:lnTo>
                      <a:pt x="77" y="46"/>
                    </a:lnTo>
                    <a:lnTo>
                      <a:pt x="74" y="44"/>
                    </a:lnTo>
                    <a:lnTo>
                      <a:pt x="72" y="43"/>
                    </a:lnTo>
                    <a:lnTo>
                      <a:pt x="69" y="42"/>
                    </a:lnTo>
                    <a:lnTo>
                      <a:pt x="66" y="41"/>
                    </a:lnTo>
                    <a:lnTo>
                      <a:pt x="64" y="41"/>
                    </a:lnTo>
                    <a:lnTo>
                      <a:pt x="62" y="44"/>
                    </a:lnTo>
                    <a:lnTo>
                      <a:pt x="60" y="46"/>
                    </a:lnTo>
                    <a:lnTo>
                      <a:pt x="58" y="47"/>
                    </a:lnTo>
                    <a:lnTo>
                      <a:pt x="55" y="47"/>
                    </a:lnTo>
                    <a:lnTo>
                      <a:pt x="58" y="49"/>
                    </a:lnTo>
                    <a:lnTo>
                      <a:pt x="60" y="50"/>
                    </a:lnTo>
                    <a:lnTo>
                      <a:pt x="62" y="53"/>
                    </a:lnTo>
                    <a:lnTo>
                      <a:pt x="64" y="55"/>
                    </a:lnTo>
                    <a:lnTo>
                      <a:pt x="67" y="57"/>
                    </a:lnTo>
                    <a:lnTo>
                      <a:pt x="69" y="57"/>
                    </a:lnTo>
                    <a:lnTo>
                      <a:pt x="73" y="57"/>
                    </a:lnTo>
                    <a:lnTo>
                      <a:pt x="74" y="59"/>
                    </a:lnTo>
                    <a:lnTo>
                      <a:pt x="75" y="61"/>
                    </a:lnTo>
                    <a:lnTo>
                      <a:pt x="73" y="62"/>
                    </a:lnTo>
                    <a:lnTo>
                      <a:pt x="72" y="66"/>
                    </a:lnTo>
                    <a:lnTo>
                      <a:pt x="73" y="68"/>
                    </a:lnTo>
                    <a:lnTo>
                      <a:pt x="72" y="70"/>
                    </a:lnTo>
                    <a:lnTo>
                      <a:pt x="72" y="73"/>
                    </a:lnTo>
                    <a:lnTo>
                      <a:pt x="69" y="75"/>
                    </a:lnTo>
                    <a:lnTo>
                      <a:pt x="69" y="72"/>
                    </a:lnTo>
                    <a:lnTo>
                      <a:pt x="67" y="70"/>
                    </a:lnTo>
                    <a:lnTo>
                      <a:pt x="68" y="69"/>
                    </a:lnTo>
                    <a:lnTo>
                      <a:pt x="66" y="69"/>
                    </a:lnTo>
                    <a:lnTo>
                      <a:pt x="62" y="69"/>
                    </a:lnTo>
                    <a:lnTo>
                      <a:pt x="60" y="69"/>
                    </a:lnTo>
                    <a:lnTo>
                      <a:pt x="57" y="70"/>
                    </a:lnTo>
                    <a:lnTo>
                      <a:pt x="55" y="71"/>
                    </a:lnTo>
                    <a:lnTo>
                      <a:pt x="51" y="72"/>
                    </a:lnTo>
                    <a:lnTo>
                      <a:pt x="49" y="73"/>
                    </a:lnTo>
                    <a:lnTo>
                      <a:pt x="45" y="72"/>
                    </a:lnTo>
                    <a:lnTo>
                      <a:pt x="49" y="72"/>
                    </a:lnTo>
                    <a:lnTo>
                      <a:pt x="51" y="71"/>
                    </a:lnTo>
                    <a:lnTo>
                      <a:pt x="55" y="69"/>
                    </a:lnTo>
                    <a:lnTo>
                      <a:pt x="57" y="68"/>
                    </a:lnTo>
                    <a:lnTo>
                      <a:pt x="60" y="68"/>
                    </a:lnTo>
                    <a:lnTo>
                      <a:pt x="62" y="67"/>
                    </a:lnTo>
                    <a:lnTo>
                      <a:pt x="65" y="66"/>
                    </a:lnTo>
                    <a:lnTo>
                      <a:pt x="68" y="66"/>
                    </a:lnTo>
                    <a:lnTo>
                      <a:pt x="70" y="64"/>
                    </a:lnTo>
                    <a:lnTo>
                      <a:pt x="68" y="62"/>
                    </a:lnTo>
                    <a:lnTo>
                      <a:pt x="66" y="62"/>
                    </a:lnTo>
                    <a:lnTo>
                      <a:pt x="64" y="61"/>
                    </a:lnTo>
                    <a:lnTo>
                      <a:pt x="60" y="59"/>
                    </a:lnTo>
                    <a:lnTo>
                      <a:pt x="58" y="57"/>
                    </a:lnTo>
                    <a:lnTo>
                      <a:pt x="56" y="54"/>
                    </a:lnTo>
                    <a:lnTo>
                      <a:pt x="52" y="52"/>
                    </a:lnTo>
                    <a:lnTo>
                      <a:pt x="50" y="49"/>
                    </a:lnTo>
                    <a:lnTo>
                      <a:pt x="49" y="46"/>
                    </a:lnTo>
                    <a:lnTo>
                      <a:pt x="49" y="41"/>
                    </a:lnTo>
                    <a:lnTo>
                      <a:pt x="51" y="38"/>
                    </a:lnTo>
                    <a:lnTo>
                      <a:pt x="51" y="35"/>
                    </a:lnTo>
                    <a:lnTo>
                      <a:pt x="48" y="33"/>
                    </a:lnTo>
                    <a:lnTo>
                      <a:pt x="45" y="30"/>
                    </a:lnTo>
                    <a:lnTo>
                      <a:pt x="45" y="28"/>
                    </a:lnTo>
                    <a:lnTo>
                      <a:pt x="47" y="25"/>
                    </a:lnTo>
                    <a:lnTo>
                      <a:pt x="49" y="23"/>
                    </a:lnTo>
                    <a:lnTo>
                      <a:pt x="51" y="20"/>
                    </a:lnTo>
                    <a:lnTo>
                      <a:pt x="52" y="17"/>
                    </a:lnTo>
                    <a:lnTo>
                      <a:pt x="55" y="15"/>
                    </a:lnTo>
                    <a:lnTo>
                      <a:pt x="57" y="11"/>
                    </a:lnTo>
                    <a:lnTo>
                      <a:pt x="62" y="8"/>
                    </a:lnTo>
                    <a:lnTo>
                      <a:pt x="66" y="7"/>
                    </a:lnTo>
                    <a:lnTo>
                      <a:pt x="68" y="4"/>
                    </a:lnTo>
                    <a:lnTo>
                      <a:pt x="70" y="2"/>
                    </a:lnTo>
                    <a:lnTo>
                      <a:pt x="68" y="1"/>
                    </a:lnTo>
                    <a:lnTo>
                      <a:pt x="66" y="0"/>
                    </a:lnTo>
                    <a:lnTo>
                      <a:pt x="62" y="0"/>
                    </a:lnTo>
                    <a:lnTo>
                      <a:pt x="57" y="0"/>
                    </a:lnTo>
                    <a:lnTo>
                      <a:pt x="53" y="0"/>
                    </a:lnTo>
                    <a:lnTo>
                      <a:pt x="51" y="0"/>
                    </a:lnTo>
                    <a:lnTo>
                      <a:pt x="48" y="0"/>
                    </a:lnTo>
                    <a:lnTo>
                      <a:pt x="45" y="0"/>
                    </a:lnTo>
                    <a:lnTo>
                      <a:pt x="40" y="1"/>
                    </a:lnTo>
                    <a:lnTo>
                      <a:pt x="38" y="1"/>
                    </a:lnTo>
                    <a:lnTo>
                      <a:pt x="34" y="2"/>
                    </a:lnTo>
                    <a:lnTo>
                      <a:pt x="32" y="3"/>
                    </a:lnTo>
                    <a:lnTo>
                      <a:pt x="28" y="4"/>
                    </a:lnTo>
                    <a:lnTo>
                      <a:pt x="26" y="6"/>
                    </a:lnTo>
                    <a:lnTo>
                      <a:pt x="23" y="8"/>
                    </a:lnTo>
                    <a:lnTo>
                      <a:pt x="21" y="10"/>
                    </a:lnTo>
                    <a:lnTo>
                      <a:pt x="17" y="11"/>
                    </a:lnTo>
                    <a:lnTo>
                      <a:pt x="17" y="15"/>
                    </a:lnTo>
                    <a:lnTo>
                      <a:pt x="15" y="17"/>
                    </a:lnTo>
                    <a:lnTo>
                      <a:pt x="11" y="17"/>
                    </a:lnTo>
                    <a:lnTo>
                      <a:pt x="10" y="20"/>
                    </a:lnTo>
                    <a:lnTo>
                      <a:pt x="9" y="23"/>
                    </a:lnTo>
                    <a:lnTo>
                      <a:pt x="9" y="26"/>
                    </a:lnTo>
                    <a:lnTo>
                      <a:pt x="9" y="28"/>
                    </a:lnTo>
                    <a:lnTo>
                      <a:pt x="6" y="29"/>
                    </a:lnTo>
                    <a:lnTo>
                      <a:pt x="6" y="32"/>
                    </a:lnTo>
                    <a:lnTo>
                      <a:pt x="4" y="33"/>
                    </a:lnTo>
                    <a:lnTo>
                      <a:pt x="4" y="35"/>
                    </a:lnTo>
                    <a:lnTo>
                      <a:pt x="1" y="38"/>
                    </a:lnTo>
                    <a:lnTo>
                      <a:pt x="1" y="41"/>
                    </a:lnTo>
                    <a:lnTo>
                      <a:pt x="2" y="44"/>
                    </a:lnTo>
                    <a:lnTo>
                      <a:pt x="6" y="44"/>
                    </a:lnTo>
                    <a:lnTo>
                      <a:pt x="4" y="45"/>
                    </a:lnTo>
                    <a:lnTo>
                      <a:pt x="0" y="46"/>
                    </a:lnTo>
                    <a:lnTo>
                      <a:pt x="0" y="51"/>
                    </a:lnTo>
                    <a:lnTo>
                      <a:pt x="2" y="54"/>
                    </a:lnTo>
                    <a:lnTo>
                      <a:pt x="0" y="57"/>
                    </a:lnTo>
                    <a:lnTo>
                      <a:pt x="0" y="57"/>
                    </a:lnTo>
                    <a:lnTo>
                      <a:pt x="0" y="61"/>
                    </a:ln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0" name="Freeform 216">
                <a:extLst>
                  <a:ext uri="{FF2B5EF4-FFF2-40B4-BE49-F238E27FC236}">
                    <a16:creationId xmlns:a16="http://schemas.microsoft.com/office/drawing/2014/main" id="{DEF767AD-EB4F-650B-ECF8-E9386487084D}"/>
                  </a:ext>
                </a:extLst>
              </p:cNvPr>
              <p:cNvSpPr>
                <a:spLocks noEditPoints="1"/>
              </p:cNvSpPr>
              <p:nvPr/>
            </p:nvSpPr>
            <p:spPr bwMode="auto">
              <a:xfrm>
                <a:off x="3690938" y="2228850"/>
                <a:ext cx="128587" cy="311150"/>
              </a:xfrm>
              <a:custGeom>
                <a:avLst/>
                <a:gdLst>
                  <a:gd name="T0" fmla="*/ 55 w 81"/>
                  <a:gd name="T1" fmla="*/ 196 h 196"/>
                  <a:gd name="T2" fmla="*/ 55 w 81"/>
                  <a:gd name="T3" fmla="*/ 194 h 196"/>
                  <a:gd name="T4" fmla="*/ 35 w 81"/>
                  <a:gd name="T5" fmla="*/ 30 h 196"/>
                  <a:gd name="T6" fmla="*/ 41 w 81"/>
                  <a:gd name="T7" fmla="*/ 29 h 196"/>
                  <a:gd name="T8" fmla="*/ 48 w 81"/>
                  <a:gd name="T9" fmla="*/ 28 h 196"/>
                  <a:gd name="T10" fmla="*/ 54 w 81"/>
                  <a:gd name="T11" fmla="*/ 26 h 196"/>
                  <a:gd name="T12" fmla="*/ 58 w 81"/>
                  <a:gd name="T13" fmla="*/ 25 h 196"/>
                  <a:gd name="T14" fmla="*/ 57 w 81"/>
                  <a:gd name="T15" fmla="*/ 20 h 196"/>
                  <a:gd name="T16" fmla="*/ 57 w 81"/>
                  <a:gd name="T17" fmla="*/ 16 h 196"/>
                  <a:gd name="T18" fmla="*/ 59 w 81"/>
                  <a:gd name="T19" fmla="*/ 13 h 196"/>
                  <a:gd name="T20" fmla="*/ 54 w 81"/>
                  <a:gd name="T21" fmla="*/ 11 h 196"/>
                  <a:gd name="T22" fmla="*/ 48 w 81"/>
                  <a:gd name="T23" fmla="*/ 11 h 196"/>
                  <a:gd name="T24" fmla="*/ 42 w 81"/>
                  <a:gd name="T25" fmla="*/ 9 h 196"/>
                  <a:gd name="T26" fmla="*/ 40 w 81"/>
                  <a:gd name="T27" fmla="*/ 6 h 196"/>
                  <a:gd name="T28" fmla="*/ 34 w 81"/>
                  <a:gd name="T29" fmla="*/ 5 h 196"/>
                  <a:gd name="T30" fmla="*/ 29 w 81"/>
                  <a:gd name="T31" fmla="*/ 3 h 196"/>
                  <a:gd name="T32" fmla="*/ 23 w 81"/>
                  <a:gd name="T33" fmla="*/ 1 h 196"/>
                  <a:gd name="T34" fmla="*/ 17 w 81"/>
                  <a:gd name="T35" fmla="*/ 0 h 196"/>
                  <a:gd name="T36" fmla="*/ 13 w 81"/>
                  <a:gd name="T37" fmla="*/ 4 h 196"/>
                  <a:gd name="T38" fmla="*/ 17 w 81"/>
                  <a:gd name="T39" fmla="*/ 8 h 196"/>
                  <a:gd name="T40" fmla="*/ 13 w 81"/>
                  <a:gd name="T41" fmla="*/ 12 h 196"/>
                  <a:gd name="T42" fmla="*/ 16 w 81"/>
                  <a:gd name="T43" fmla="*/ 16 h 196"/>
                  <a:gd name="T44" fmla="*/ 22 w 81"/>
                  <a:gd name="T45" fmla="*/ 18 h 196"/>
                  <a:gd name="T46" fmla="*/ 27 w 81"/>
                  <a:gd name="T47" fmla="*/ 20 h 196"/>
                  <a:gd name="T48" fmla="*/ 33 w 81"/>
                  <a:gd name="T49" fmla="*/ 22 h 196"/>
                  <a:gd name="T50" fmla="*/ 27 w 81"/>
                  <a:gd name="T51" fmla="*/ 23 h 196"/>
                  <a:gd name="T52" fmla="*/ 22 w 81"/>
                  <a:gd name="T53" fmla="*/ 24 h 196"/>
                  <a:gd name="T54" fmla="*/ 27 w 81"/>
                  <a:gd name="T55" fmla="*/ 26 h 196"/>
                  <a:gd name="T56" fmla="*/ 30 w 81"/>
                  <a:gd name="T57" fmla="*/ 30 h 196"/>
                  <a:gd name="T58" fmla="*/ 33 w 81"/>
                  <a:gd name="T59" fmla="*/ 31 h 196"/>
                  <a:gd name="T60" fmla="*/ 57 w 81"/>
                  <a:gd name="T61" fmla="*/ 93 h 196"/>
                  <a:gd name="T62" fmla="*/ 52 w 81"/>
                  <a:gd name="T63" fmla="*/ 94 h 196"/>
                  <a:gd name="T64" fmla="*/ 49 w 81"/>
                  <a:gd name="T65" fmla="*/ 99 h 196"/>
                  <a:gd name="T66" fmla="*/ 44 w 81"/>
                  <a:gd name="T67" fmla="*/ 99 h 196"/>
                  <a:gd name="T68" fmla="*/ 44 w 81"/>
                  <a:gd name="T69" fmla="*/ 102 h 196"/>
                  <a:gd name="T70" fmla="*/ 39 w 81"/>
                  <a:gd name="T71" fmla="*/ 106 h 196"/>
                  <a:gd name="T72" fmla="*/ 40 w 81"/>
                  <a:gd name="T73" fmla="*/ 110 h 196"/>
                  <a:gd name="T74" fmla="*/ 43 w 81"/>
                  <a:gd name="T75" fmla="*/ 110 h 196"/>
                  <a:gd name="T76" fmla="*/ 47 w 81"/>
                  <a:gd name="T77" fmla="*/ 115 h 196"/>
                  <a:gd name="T78" fmla="*/ 52 w 81"/>
                  <a:gd name="T79" fmla="*/ 117 h 196"/>
                  <a:gd name="T80" fmla="*/ 58 w 81"/>
                  <a:gd name="T81" fmla="*/ 117 h 196"/>
                  <a:gd name="T82" fmla="*/ 64 w 81"/>
                  <a:gd name="T83" fmla="*/ 120 h 196"/>
                  <a:gd name="T84" fmla="*/ 68 w 81"/>
                  <a:gd name="T85" fmla="*/ 120 h 196"/>
                  <a:gd name="T86" fmla="*/ 75 w 81"/>
                  <a:gd name="T87" fmla="*/ 120 h 196"/>
                  <a:gd name="T88" fmla="*/ 80 w 81"/>
                  <a:gd name="T89" fmla="*/ 117 h 196"/>
                  <a:gd name="T90" fmla="*/ 80 w 81"/>
                  <a:gd name="T91" fmla="*/ 111 h 196"/>
                  <a:gd name="T92" fmla="*/ 80 w 81"/>
                  <a:gd name="T93" fmla="*/ 107 h 196"/>
                  <a:gd name="T94" fmla="*/ 76 w 81"/>
                  <a:gd name="T95" fmla="*/ 102 h 196"/>
                  <a:gd name="T96" fmla="*/ 72 w 81"/>
                  <a:gd name="T97" fmla="*/ 97 h 196"/>
                  <a:gd name="T98" fmla="*/ 66 w 81"/>
                  <a:gd name="T99" fmla="*/ 93 h 196"/>
                  <a:gd name="T100" fmla="*/ 60 w 81"/>
                  <a:gd name="T101" fmla="*/ 93 h 196"/>
                  <a:gd name="T102" fmla="*/ 23 w 81"/>
                  <a:gd name="T103" fmla="*/ 135 h 196"/>
                  <a:gd name="T104" fmla="*/ 17 w 81"/>
                  <a:gd name="T105" fmla="*/ 135 h 196"/>
                  <a:gd name="T106" fmla="*/ 10 w 81"/>
                  <a:gd name="T107" fmla="*/ 136 h 196"/>
                  <a:gd name="T108" fmla="*/ 5 w 81"/>
                  <a:gd name="T109" fmla="*/ 137 h 196"/>
                  <a:gd name="T110" fmla="*/ 0 w 81"/>
                  <a:gd name="T111" fmla="*/ 138 h 196"/>
                  <a:gd name="T112" fmla="*/ 5 w 81"/>
                  <a:gd name="T113" fmla="*/ 142 h 196"/>
                  <a:gd name="T114" fmla="*/ 5 w 81"/>
                  <a:gd name="T115" fmla="*/ 142 h 196"/>
                  <a:gd name="T116" fmla="*/ 10 w 81"/>
                  <a:gd name="T117" fmla="*/ 142 h 196"/>
                  <a:gd name="T118" fmla="*/ 16 w 81"/>
                  <a:gd name="T119" fmla="*/ 141 h 196"/>
                  <a:gd name="T120" fmla="*/ 22 w 81"/>
                  <a:gd name="T121" fmla="*/ 137 h 196"/>
                  <a:gd name="T122" fmla="*/ 23 w 81"/>
                  <a:gd name="T123" fmla="*/ 13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196">
                    <a:moveTo>
                      <a:pt x="55" y="194"/>
                    </a:moveTo>
                    <a:lnTo>
                      <a:pt x="55" y="196"/>
                    </a:lnTo>
                    <a:lnTo>
                      <a:pt x="55" y="194"/>
                    </a:lnTo>
                    <a:lnTo>
                      <a:pt x="55" y="194"/>
                    </a:lnTo>
                    <a:close/>
                    <a:moveTo>
                      <a:pt x="33" y="31"/>
                    </a:moveTo>
                    <a:lnTo>
                      <a:pt x="35" y="30"/>
                    </a:lnTo>
                    <a:lnTo>
                      <a:pt x="39" y="28"/>
                    </a:lnTo>
                    <a:lnTo>
                      <a:pt x="41" y="29"/>
                    </a:lnTo>
                    <a:lnTo>
                      <a:pt x="44" y="29"/>
                    </a:lnTo>
                    <a:lnTo>
                      <a:pt x="48" y="28"/>
                    </a:lnTo>
                    <a:lnTo>
                      <a:pt x="50" y="28"/>
                    </a:lnTo>
                    <a:lnTo>
                      <a:pt x="54" y="26"/>
                    </a:lnTo>
                    <a:lnTo>
                      <a:pt x="56" y="26"/>
                    </a:lnTo>
                    <a:lnTo>
                      <a:pt x="58" y="25"/>
                    </a:lnTo>
                    <a:lnTo>
                      <a:pt x="59" y="23"/>
                    </a:lnTo>
                    <a:lnTo>
                      <a:pt x="57" y="20"/>
                    </a:lnTo>
                    <a:lnTo>
                      <a:pt x="55" y="18"/>
                    </a:lnTo>
                    <a:lnTo>
                      <a:pt x="57" y="16"/>
                    </a:lnTo>
                    <a:lnTo>
                      <a:pt x="60" y="15"/>
                    </a:lnTo>
                    <a:lnTo>
                      <a:pt x="59" y="13"/>
                    </a:lnTo>
                    <a:lnTo>
                      <a:pt x="56" y="12"/>
                    </a:lnTo>
                    <a:lnTo>
                      <a:pt x="54" y="11"/>
                    </a:lnTo>
                    <a:lnTo>
                      <a:pt x="50" y="9"/>
                    </a:lnTo>
                    <a:lnTo>
                      <a:pt x="48" y="11"/>
                    </a:lnTo>
                    <a:lnTo>
                      <a:pt x="44" y="11"/>
                    </a:lnTo>
                    <a:lnTo>
                      <a:pt x="42" y="9"/>
                    </a:lnTo>
                    <a:lnTo>
                      <a:pt x="43" y="7"/>
                    </a:lnTo>
                    <a:lnTo>
                      <a:pt x="40" y="6"/>
                    </a:lnTo>
                    <a:lnTo>
                      <a:pt x="38" y="5"/>
                    </a:lnTo>
                    <a:lnTo>
                      <a:pt x="34" y="5"/>
                    </a:lnTo>
                    <a:lnTo>
                      <a:pt x="32" y="3"/>
                    </a:lnTo>
                    <a:lnTo>
                      <a:pt x="29" y="3"/>
                    </a:lnTo>
                    <a:lnTo>
                      <a:pt x="26" y="1"/>
                    </a:lnTo>
                    <a:lnTo>
                      <a:pt x="23" y="1"/>
                    </a:lnTo>
                    <a:lnTo>
                      <a:pt x="21" y="0"/>
                    </a:lnTo>
                    <a:lnTo>
                      <a:pt x="17" y="0"/>
                    </a:lnTo>
                    <a:lnTo>
                      <a:pt x="15" y="1"/>
                    </a:lnTo>
                    <a:lnTo>
                      <a:pt x="13" y="4"/>
                    </a:lnTo>
                    <a:lnTo>
                      <a:pt x="14" y="6"/>
                    </a:lnTo>
                    <a:lnTo>
                      <a:pt x="17" y="8"/>
                    </a:lnTo>
                    <a:lnTo>
                      <a:pt x="14" y="9"/>
                    </a:lnTo>
                    <a:lnTo>
                      <a:pt x="13" y="12"/>
                    </a:lnTo>
                    <a:lnTo>
                      <a:pt x="15" y="13"/>
                    </a:lnTo>
                    <a:lnTo>
                      <a:pt x="16" y="16"/>
                    </a:lnTo>
                    <a:lnTo>
                      <a:pt x="20" y="16"/>
                    </a:lnTo>
                    <a:lnTo>
                      <a:pt x="22" y="18"/>
                    </a:lnTo>
                    <a:lnTo>
                      <a:pt x="25" y="18"/>
                    </a:lnTo>
                    <a:lnTo>
                      <a:pt x="27" y="20"/>
                    </a:lnTo>
                    <a:lnTo>
                      <a:pt x="31" y="21"/>
                    </a:lnTo>
                    <a:lnTo>
                      <a:pt x="33" y="22"/>
                    </a:lnTo>
                    <a:lnTo>
                      <a:pt x="31" y="23"/>
                    </a:lnTo>
                    <a:lnTo>
                      <a:pt x="27" y="23"/>
                    </a:lnTo>
                    <a:lnTo>
                      <a:pt x="24" y="23"/>
                    </a:lnTo>
                    <a:lnTo>
                      <a:pt x="22" y="24"/>
                    </a:lnTo>
                    <a:lnTo>
                      <a:pt x="24" y="25"/>
                    </a:lnTo>
                    <a:lnTo>
                      <a:pt x="27" y="26"/>
                    </a:lnTo>
                    <a:lnTo>
                      <a:pt x="30" y="28"/>
                    </a:lnTo>
                    <a:lnTo>
                      <a:pt x="30" y="30"/>
                    </a:lnTo>
                    <a:lnTo>
                      <a:pt x="33" y="31"/>
                    </a:lnTo>
                    <a:lnTo>
                      <a:pt x="33" y="31"/>
                    </a:lnTo>
                    <a:close/>
                    <a:moveTo>
                      <a:pt x="60" y="93"/>
                    </a:moveTo>
                    <a:lnTo>
                      <a:pt x="57" y="93"/>
                    </a:lnTo>
                    <a:lnTo>
                      <a:pt x="55" y="94"/>
                    </a:lnTo>
                    <a:lnTo>
                      <a:pt x="52" y="94"/>
                    </a:lnTo>
                    <a:lnTo>
                      <a:pt x="49" y="95"/>
                    </a:lnTo>
                    <a:lnTo>
                      <a:pt x="49" y="99"/>
                    </a:lnTo>
                    <a:lnTo>
                      <a:pt x="47" y="99"/>
                    </a:lnTo>
                    <a:lnTo>
                      <a:pt x="44" y="99"/>
                    </a:lnTo>
                    <a:lnTo>
                      <a:pt x="47" y="100"/>
                    </a:lnTo>
                    <a:lnTo>
                      <a:pt x="44" y="102"/>
                    </a:lnTo>
                    <a:lnTo>
                      <a:pt x="41" y="103"/>
                    </a:lnTo>
                    <a:lnTo>
                      <a:pt x="39" y="106"/>
                    </a:lnTo>
                    <a:lnTo>
                      <a:pt x="37" y="109"/>
                    </a:lnTo>
                    <a:lnTo>
                      <a:pt x="40" y="110"/>
                    </a:lnTo>
                    <a:lnTo>
                      <a:pt x="41" y="112"/>
                    </a:lnTo>
                    <a:lnTo>
                      <a:pt x="43" y="110"/>
                    </a:lnTo>
                    <a:lnTo>
                      <a:pt x="44" y="112"/>
                    </a:lnTo>
                    <a:lnTo>
                      <a:pt x="47" y="115"/>
                    </a:lnTo>
                    <a:lnTo>
                      <a:pt x="49" y="116"/>
                    </a:lnTo>
                    <a:lnTo>
                      <a:pt x="52" y="117"/>
                    </a:lnTo>
                    <a:lnTo>
                      <a:pt x="55" y="116"/>
                    </a:lnTo>
                    <a:lnTo>
                      <a:pt x="58" y="117"/>
                    </a:lnTo>
                    <a:lnTo>
                      <a:pt x="60" y="119"/>
                    </a:lnTo>
                    <a:lnTo>
                      <a:pt x="64" y="120"/>
                    </a:lnTo>
                    <a:lnTo>
                      <a:pt x="66" y="120"/>
                    </a:lnTo>
                    <a:lnTo>
                      <a:pt x="68" y="120"/>
                    </a:lnTo>
                    <a:lnTo>
                      <a:pt x="72" y="120"/>
                    </a:lnTo>
                    <a:lnTo>
                      <a:pt x="75" y="120"/>
                    </a:lnTo>
                    <a:lnTo>
                      <a:pt x="77" y="120"/>
                    </a:lnTo>
                    <a:lnTo>
                      <a:pt x="80" y="117"/>
                    </a:lnTo>
                    <a:lnTo>
                      <a:pt x="81" y="115"/>
                    </a:lnTo>
                    <a:lnTo>
                      <a:pt x="80" y="111"/>
                    </a:lnTo>
                    <a:lnTo>
                      <a:pt x="77" y="109"/>
                    </a:lnTo>
                    <a:lnTo>
                      <a:pt x="80" y="107"/>
                    </a:lnTo>
                    <a:lnTo>
                      <a:pt x="80" y="103"/>
                    </a:lnTo>
                    <a:lnTo>
                      <a:pt x="76" y="102"/>
                    </a:lnTo>
                    <a:lnTo>
                      <a:pt x="74" y="99"/>
                    </a:lnTo>
                    <a:lnTo>
                      <a:pt x="72" y="97"/>
                    </a:lnTo>
                    <a:lnTo>
                      <a:pt x="68" y="94"/>
                    </a:lnTo>
                    <a:lnTo>
                      <a:pt x="66" y="93"/>
                    </a:lnTo>
                    <a:lnTo>
                      <a:pt x="63" y="93"/>
                    </a:lnTo>
                    <a:lnTo>
                      <a:pt x="60" y="93"/>
                    </a:lnTo>
                    <a:lnTo>
                      <a:pt x="60" y="93"/>
                    </a:lnTo>
                    <a:close/>
                    <a:moveTo>
                      <a:pt x="23" y="135"/>
                    </a:moveTo>
                    <a:lnTo>
                      <a:pt x="20" y="134"/>
                    </a:lnTo>
                    <a:lnTo>
                      <a:pt x="17" y="135"/>
                    </a:lnTo>
                    <a:lnTo>
                      <a:pt x="14" y="135"/>
                    </a:lnTo>
                    <a:lnTo>
                      <a:pt x="10" y="136"/>
                    </a:lnTo>
                    <a:lnTo>
                      <a:pt x="8" y="136"/>
                    </a:lnTo>
                    <a:lnTo>
                      <a:pt x="5" y="137"/>
                    </a:lnTo>
                    <a:lnTo>
                      <a:pt x="3" y="138"/>
                    </a:lnTo>
                    <a:lnTo>
                      <a:pt x="0" y="138"/>
                    </a:lnTo>
                    <a:lnTo>
                      <a:pt x="3" y="142"/>
                    </a:lnTo>
                    <a:lnTo>
                      <a:pt x="5" y="142"/>
                    </a:lnTo>
                    <a:lnTo>
                      <a:pt x="3" y="142"/>
                    </a:lnTo>
                    <a:lnTo>
                      <a:pt x="5" y="142"/>
                    </a:lnTo>
                    <a:lnTo>
                      <a:pt x="8" y="142"/>
                    </a:lnTo>
                    <a:lnTo>
                      <a:pt x="10" y="142"/>
                    </a:lnTo>
                    <a:lnTo>
                      <a:pt x="14" y="141"/>
                    </a:lnTo>
                    <a:lnTo>
                      <a:pt x="16" y="141"/>
                    </a:lnTo>
                    <a:lnTo>
                      <a:pt x="18" y="138"/>
                    </a:lnTo>
                    <a:lnTo>
                      <a:pt x="22" y="137"/>
                    </a:lnTo>
                    <a:lnTo>
                      <a:pt x="23" y="135"/>
                    </a:lnTo>
                    <a:lnTo>
                      <a:pt x="23"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1" name="Freeform 217">
                <a:extLst>
                  <a:ext uri="{FF2B5EF4-FFF2-40B4-BE49-F238E27FC236}">
                    <a16:creationId xmlns:a16="http://schemas.microsoft.com/office/drawing/2014/main" id="{12340988-C831-8624-FE5D-3C5145EE80E4}"/>
                  </a:ext>
                </a:extLst>
              </p:cNvPr>
              <p:cNvSpPr>
                <a:spLocks noEditPoints="1"/>
              </p:cNvSpPr>
              <p:nvPr/>
            </p:nvSpPr>
            <p:spPr bwMode="auto">
              <a:xfrm>
                <a:off x="3621088" y="2274888"/>
                <a:ext cx="203200" cy="104775"/>
              </a:xfrm>
              <a:custGeom>
                <a:avLst/>
                <a:gdLst>
                  <a:gd name="T0" fmla="*/ 27 w 128"/>
                  <a:gd name="T1" fmla="*/ 66 h 66"/>
                  <a:gd name="T2" fmla="*/ 25 w 128"/>
                  <a:gd name="T3" fmla="*/ 65 h 66"/>
                  <a:gd name="T4" fmla="*/ 22 w 128"/>
                  <a:gd name="T5" fmla="*/ 66 h 66"/>
                  <a:gd name="T6" fmla="*/ 25 w 128"/>
                  <a:gd name="T7" fmla="*/ 65 h 66"/>
                  <a:gd name="T8" fmla="*/ 27 w 128"/>
                  <a:gd name="T9" fmla="*/ 64 h 66"/>
                  <a:gd name="T10" fmla="*/ 31 w 128"/>
                  <a:gd name="T11" fmla="*/ 64 h 66"/>
                  <a:gd name="T12" fmla="*/ 27 w 128"/>
                  <a:gd name="T13" fmla="*/ 66 h 66"/>
                  <a:gd name="T14" fmla="*/ 27 w 128"/>
                  <a:gd name="T15" fmla="*/ 66 h 66"/>
                  <a:gd name="T16" fmla="*/ 11 w 128"/>
                  <a:gd name="T17" fmla="*/ 0 h 66"/>
                  <a:gd name="T18" fmla="*/ 6 w 128"/>
                  <a:gd name="T19" fmla="*/ 0 h 66"/>
                  <a:gd name="T20" fmla="*/ 2 w 128"/>
                  <a:gd name="T21" fmla="*/ 0 h 66"/>
                  <a:gd name="T22" fmla="*/ 0 w 128"/>
                  <a:gd name="T23" fmla="*/ 0 h 66"/>
                  <a:gd name="T24" fmla="*/ 1 w 128"/>
                  <a:gd name="T25" fmla="*/ 3 h 66"/>
                  <a:gd name="T26" fmla="*/ 4 w 128"/>
                  <a:gd name="T27" fmla="*/ 4 h 66"/>
                  <a:gd name="T28" fmla="*/ 6 w 128"/>
                  <a:gd name="T29" fmla="*/ 5 h 66"/>
                  <a:gd name="T30" fmla="*/ 9 w 128"/>
                  <a:gd name="T31" fmla="*/ 5 h 66"/>
                  <a:gd name="T32" fmla="*/ 11 w 128"/>
                  <a:gd name="T33" fmla="*/ 5 h 66"/>
                  <a:gd name="T34" fmla="*/ 15 w 128"/>
                  <a:gd name="T35" fmla="*/ 4 h 66"/>
                  <a:gd name="T36" fmla="*/ 17 w 128"/>
                  <a:gd name="T37" fmla="*/ 4 h 66"/>
                  <a:gd name="T38" fmla="*/ 21 w 128"/>
                  <a:gd name="T39" fmla="*/ 4 h 66"/>
                  <a:gd name="T40" fmla="*/ 18 w 128"/>
                  <a:gd name="T41" fmla="*/ 1 h 66"/>
                  <a:gd name="T42" fmla="*/ 16 w 128"/>
                  <a:gd name="T43" fmla="*/ 0 h 66"/>
                  <a:gd name="T44" fmla="*/ 13 w 128"/>
                  <a:gd name="T45" fmla="*/ 0 h 66"/>
                  <a:gd name="T46" fmla="*/ 11 w 128"/>
                  <a:gd name="T47" fmla="*/ 0 h 66"/>
                  <a:gd name="T48" fmla="*/ 11 w 128"/>
                  <a:gd name="T49" fmla="*/ 0 h 66"/>
                  <a:gd name="T50" fmla="*/ 128 w 128"/>
                  <a:gd name="T51" fmla="*/ 4 h 66"/>
                  <a:gd name="T52" fmla="*/ 125 w 128"/>
                  <a:gd name="T53" fmla="*/ 6 h 66"/>
                  <a:gd name="T54" fmla="*/ 124 w 128"/>
                  <a:gd name="T55" fmla="*/ 10 h 66"/>
                  <a:gd name="T56" fmla="*/ 122 w 128"/>
                  <a:gd name="T57" fmla="*/ 12 h 66"/>
                  <a:gd name="T58" fmla="*/ 119 w 128"/>
                  <a:gd name="T59" fmla="*/ 12 h 66"/>
                  <a:gd name="T60" fmla="*/ 115 w 128"/>
                  <a:gd name="T61" fmla="*/ 12 h 66"/>
                  <a:gd name="T62" fmla="*/ 111 w 128"/>
                  <a:gd name="T63" fmla="*/ 11 h 66"/>
                  <a:gd name="T64" fmla="*/ 103 w 128"/>
                  <a:gd name="T65" fmla="*/ 11 h 66"/>
                  <a:gd name="T66" fmla="*/ 100 w 128"/>
                  <a:gd name="T67" fmla="*/ 12 h 66"/>
                  <a:gd name="T68" fmla="*/ 98 w 128"/>
                  <a:gd name="T69" fmla="*/ 12 h 66"/>
                  <a:gd name="T70" fmla="*/ 92 w 128"/>
                  <a:gd name="T71" fmla="*/ 12 h 66"/>
                  <a:gd name="T72" fmla="*/ 88 w 128"/>
                  <a:gd name="T73" fmla="*/ 11 h 66"/>
                  <a:gd name="T74" fmla="*/ 86 w 128"/>
                  <a:gd name="T75" fmla="*/ 9 h 66"/>
                  <a:gd name="T76" fmla="*/ 85 w 128"/>
                  <a:gd name="T77" fmla="*/ 6 h 66"/>
                  <a:gd name="T78" fmla="*/ 87 w 128"/>
                  <a:gd name="T79" fmla="*/ 4 h 66"/>
                  <a:gd name="T80" fmla="*/ 91 w 128"/>
                  <a:gd name="T81" fmla="*/ 3 h 66"/>
                  <a:gd name="T82" fmla="*/ 93 w 128"/>
                  <a:gd name="T83" fmla="*/ 3 h 66"/>
                  <a:gd name="T84" fmla="*/ 96 w 128"/>
                  <a:gd name="T85" fmla="*/ 2 h 66"/>
                  <a:gd name="T86" fmla="*/ 99 w 128"/>
                  <a:gd name="T87" fmla="*/ 3 h 66"/>
                  <a:gd name="T88" fmla="*/ 102 w 128"/>
                  <a:gd name="T89" fmla="*/ 3 h 66"/>
                  <a:gd name="T90" fmla="*/ 105 w 128"/>
                  <a:gd name="T91" fmla="*/ 3 h 66"/>
                  <a:gd name="T92" fmla="*/ 108 w 128"/>
                  <a:gd name="T93" fmla="*/ 2 h 66"/>
                  <a:gd name="T94" fmla="*/ 110 w 128"/>
                  <a:gd name="T95" fmla="*/ 3 h 66"/>
                  <a:gd name="T96" fmla="*/ 113 w 128"/>
                  <a:gd name="T97" fmla="*/ 3 h 66"/>
                  <a:gd name="T98" fmla="*/ 116 w 128"/>
                  <a:gd name="T99" fmla="*/ 3 h 66"/>
                  <a:gd name="T100" fmla="*/ 119 w 128"/>
                  <a:gd name="T101" fmla="*/ 4 h 66"/>
                  <a:gd name="T102" fmla="*/ 122 w 128"/>
                  <a:gd name="T103" fmla="*/ 3 h 66"/>
                  <a:gd name="T104" fmla="*/ 125 w 128"/>
                  <a:gd name="T105" fmla="*/ 3 h 66"/>
                  <a:gd name="T106" fmla="*/ 127 w 128"/>
                  <a:gd name="T107" fmla="*/ 4 h 66"/>
                  <a:gd name="T108" fmla="*/ 128 w 128"/>
                  <a:gd name="T109" fmla="*/ 4 h 66"/>
                  <a:gd name="T110" fmla="*/ 128 w 128"/>
                  <a:gd name="T111"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 h="66">
                    <a:moveTo>
                      <a:pt x="27" y="66"/>
                    </a:moveTo>
                    <a:lnTo>
                      <a:pt x="25" y="65"/>
                    </a:lnTo>
                    <a:lnTo>
                      <a:pt x="22" y="66"/>
                    </a:lnTo>
                    <a:lnTo>
                      <a:pt x="25" y="65"/>
                    </a:lnTo>
                    <a:lnTo>
                      <a:pt x="27" y="64"/>
                    </a:lnTo>
                    <a:lnTo>
                      <a:pt x="31" y="64"/>
                    </a:lnTo>
                    <a:lnTo>
                      <a:pt x="27" y="66"/>
                    </a:lnTo>
                    <a:lnTo>
                      <a:pt x="27" y="66"/>
                    </a:lnTo>
                    <a:close/>
                    <a:moveTo>
                      <a:pt x="11" y="0"/>
                    </a:moveTo>
                    <a:lnTo>
                      <a:pt x="6" y="0"/>
                    </a:lnTo>
                    <a:lnTo>
                      <a:pt x="2" y="0"/>
                    </a:lnTo>
                    <a:lnTo>
                      <a:pt x="0" y="0"/>
                    </a:lnTo>
                    <a:lnTo>
                      <a:pt x="1" y="3"/>
                    </a:lnTo>
                    <a:lnTo>
                      <a:pt x="4" y="4"/>
                    </a:lnTo>
                    <a:lnTo>
                      <a:pt x="6" y="5"/>
                    </a:lnTo>
                    <a:lnTo>
                      <a:pt x="9" y="5"/>
                    </a:lnTo>
                    <a:lnTo>
                      <a:pt x="11" y="5"/>
                    </a:lnTo>
                    <a:lnTo>
                      <a:pt x="15" y="4"/>
                    </a:lnTo>
                    <a:lnTo>
                      <a:pt x="17" y="4"/>
                    </a:lnTo>
                    <a:lnTo>
                      <a:pt x="21" y="4"/>
                    </a:lnTo>
                    <a:lnTo>
                      <a:pt x="18" y="1"/>
                    </a:lnTo>
                    <a:lnTo>
                      <a:pt x="16" y="0"/>
                    </a:lnTo>
                    <a:lnTo>
                      <a:pt x="13" y="0"/>
                    </a:lnTo>
                    <a:lnTo>
                      <a:pt x="11" y="0"/>
                    </a:lnTo>
                    <a:lnTo>
                      <a:pt x="11" y="0"/>
                    </a:lnTo>
                    <a:close/>
                    <a:moveTo>
                      <a:pt x="128" y="4"/>
                    </a:moveTo>
                    <a:lnTo>
                      <a:pt x="125" y="6"/>
                    </a:lnTo>
                    <a:lnTo>
                      <a:pt x="124" y="10"/>
                    </a:lnTo>
                    <a:lnTo>
                      <a:pt x="122" y="12"/>
                    </a:lnTo>
                    <a:lnTo>
                      <a:pt x="119" y="12"/>
                    </a:lnTo>
                    <a:lnTo>
                      <a:pt x="115" y="12"/>
                    </a:lnTo>
                    <a:lnTo>
                      <a:pt x="111" y="11"/>
                    </a:lnTo>
                    <a:lnTo>
                      <a:pt x="103" y="11"/>
                    </a:lnTo>
                    <a:lnTo>
                      <a:pt x="100" y="12"/>
                    </a:lnTo>
                    <a:lnTo>
                      <a:pt x="98" y="12"/>
                    </a:lnTo>
                    <a:lnTo>
                      <a:pt x="92" y="12"/>
                    </a:lnTo>
                    <a:lnTo>
                      <a:pt x="88" y="11"/>
                    </a:lnTo>
                    <a:lnTo>
                      <a:pt x="86" y="9"/>
                    </a:lnTo>
                    <a:lnTo>
                      <a:pt x="85" y="6"/>
                    </a:lnTo>
                    <a:lnTo>
                      <a:pt x="87" y="4"/>
                    </a:lnTo>
                    <a:lnTo>
                      <a:pt x="91" y="3"/>
                    </a:lnTo>
                    <a:lnTo>
                      <a:pt x="93" y="3"/>
                    </a:lnTo>
                    <a:lnTo>
                      <a:pt x="96" y="2"/>
                    </a:lnTo>
                    <a:lnTo>
                      <a:pt x="99" y="3"/>
                    </a:lnTo>
                    <a:lnTo>
                      <a:pt x="102" y="3"/>
                    </a:lnTo>
                    <a:lnTo>
                      <a:pt x="105" y="3"/>
                    </a:lnTo>
                    <a:lnTo>
                      <a:pt x="108" y="2"/>
                    </a:lnTo>
                    <a:lnTo>
                      <a:pt x="110" y="3"/>
                    </a:lnTo>
                    <a:lnTo>
                      <a:pt x="113" y="3"/>
                    </a:lnTo>
                    <a:lnTo>
                      <a:pt x="116" y="3"/>
                    </a:lnTo>
                    <a:lnTo>
                      <a:pt x="119" y="4"/>
                    </a:lnTo>
                    <a:lnTo>
                      <a:pt x="122" y="3"/>
                    </a:lnTo>
                    <a:lnTo>
                      <a:pt x="125" y="3"/>
                    </a:lnTo>
                    <a:lnTo>
                      <a:pt x="127" y="4"/>
                    </a:lnTo>
                    <a:lnTo>
                      <a:pt x="128" y="4"/>
                    </a:lnTo>
                    <a:lnTo>
                      <a:pt x="12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2" name="Freeform 218">
                <a:extLst>
                  <a:ext uri="{FF2B5EF4-FFF2-40B4-BE49-F238E27FC236}">
                    <a16:creationId xmlns:a16="http://schemas.microsoft.com/office/drawing/2014/main" id="{89EB91F2-9D4E-DBD8-80A9-FF5B914B3984}"/>
                  </a:ext>
                </a:extLst>
              </p:cNvPr>
              <p:cNvSpPr>
                <a:spLocks/>
              </p:cNvSpPr>
              <p:nvPr/>
            </p:nvSpPr>
            <p:spPr bwMode="auto">
              <a:xfrm>
                <a:off x="4260850" y="1982788"/>
                <a:ext cx="1325562" cy="979488"/>
              </a:xfrm>
              <a:custGeom>
                <a:avLst/>
                <a:gdLst>
                  <a:gd name="T0" fmla="*/ 711 w 835"/>
                  <a:gd name="T1" fmla="*/ 101 h 617"/>
                  <a:gd name="T2" fmla="*/ 827 w 835"/>
                  <a:gd name="T3" fmla="*/ 64 h 617"/>
                  <a:gd name="T4" fmla="*/ 721 w 835"/>
                  <a:gd name="T5" fmla="*/ 67 h 617"/>
                  <a:gd name="T6" fmla="*/ 682 w 835"/>
                  <a:gd name="T7" fmla="*/ 53 h 617"/>
                  <a:gd name="T8" fmla="*/ 597 w 835"/>
                  <a:gd name="T9" fmla="*/ 57 h 617"/>
                  <a:gd name="T10" fmla="*/ 612 w 835"/>
                  <a:gd name="T11" fmla="*/ 49 h 617"/>
                  <a:gd name="T12" fmla="*/ 648 w 835"/>
                  <a:gd name="T13" fmla="*/ 30 h 617"/>
                  <a:gd name="T14" fmla="*/ 537 w 835"/>
                  <a:gd name="T15" fmla="*/ 26 h 617"/>
                  <a:gd name="T16" fmla="*/ 637 w 835"/>
                  <a:gd name="T17" fmla="*/ 15 h 617"/>
                  <a:gd name="T18" fmla="*/ 527 w 835"/>
                  <a:gd name="T19" fmla="*/ 2 h 617"/>
                  <a:gd name="T20" fmla="*/ 483 w 835"/>
                  <a:gd name="T21" fmla="*/ 21 h 617"/>
                  <a:gd name="T22" fmla="*/ 380 w 835"/>
                  <a:gd name="T23" fmla="*/ 17 h 617"/>
                  <a:gd name="T24" fmla="*/ 423 w 835"/>
                  <a:gd name="T25" fmla="*/ 26 h 617"/>
                  <a:gd name="T26" fmla="*/ 392 w 835"/>
                  <a:gd name="T27" fmla="*/ 39 h 617"/>
                  <a:gd name="T28" fmla="*/ 344 w 835"/>
                  <a:gd name="T29" fmla="*/ 45 h 617"/>
                  <a:gd name="T30" fmla="*/ 285 w 835"/>
                  <a:gd name="T31" fmla="*/ 56 h 617"/>
                  <a:gd name="T32" fmla="*/ 199 w 835"/>
                  <a:gd name="T33" fmla="*/ 51 h 617"/>
                  <a:gd name="T34" fmla="*/ 166 w 835"/>
                  <a:gd name="T35" fmla="*/ 83 h 617"/>
                  <a:gd name="T36" fmla="*/ 84 w 835"/>
                  <a:gd name="T37" fmla="*/ 118 h 617"/>
                  <a:gd name="T38" fmla="*/ 49 w 835"/>
                  <a:gd name="T39" fmla="*/ 156 h 617"/>
                  <a:gd name="T40" fmla="*/ 39 w 835"/>
                  <a:gd name="T41" fmla="*/ 193 h 617"/>
                  <a:gd name="T42" fmla="*/ 89 w 835"/>
                  <a:gd name="T43" fmla="*/ 205 h 617"/>
                  <a:gd name="T44" fmla="*/ 65 w 835"/>
                  <a:gd name="T45" fmla="*/ 219 h 617"/>
                  <a:gd name="T46" fmla="*/ 122 w 835"/>
                  <a:gd name="T47" fmla="*/ 230 h 617"/>
                  <a:gd name="T48" fmla="*/ 221 w 835"/>
                  <a:gd name="T49" fmla="*/ 270 h 617"/>
                  <a:gd name="T50" fmla="*/ 252 w 835"/>
                  <a:gd name="T51" fmla="*/ 321 h 617"/>
                  <a:gd name="T52" fmla="*/ 262 w 835"/>
                  <a:gd name="T53" fmla="*/ 354 h 617"/>
                  <a:gd name="T54" fmla="*/ 282 w 835"/>
                  <a:gd name="T55" fmla="*/ 364 h 617"/>
                  <a:gd name="T56" fmla="*/ 277 w 835"/>
                  <a:gd name="T57" fmla="*/ 376 h 617"/>
                  <a:gd name="T58" fmla="*/ 307 w 835"/>
                  <a:gd name="T59" fmla="*/ 407 h 617"/>
                  <a:gd name="T60" fmla="*/ 280 w 835"/>
                  <a:gd name="T61" fmla="*/ 436 h 617"/>
                  <a:gd name="T62" fmla="*/ 286 w 835"/>
                  <a:gd name="T63" fmla="*/ 444 h 617"/>
                  <a:gd name="T64" fmla="*/ 311 w 835"/>
                  <a:gd name="T65" fmla="*/ 449 h 617"/>
                  <a:gd name="T66" fmla="*/ 311 w 835"/>
                  <a:gd name="T67" fmla="*/ 461 h 617"/>
                  <a:gd name="T68" fmla="*/ 277 w 835"/>
                  <a:gd name="T69" fmla="*/ 476 h 617"/>
                  <a:gd name="T70" fmla="*/ 288 w 835"/>
                  <a:gd name="T71" fmla="*/ 477 h 617"/>
                  <a:gd name="T72" fmla="*/ 298 w 835"/>
                  <a:gd name="T73" fmla="*/ 494 h 617"/>
                  <a:gd name="T74" fmla="*/ 315 w 835"/>
                  <a:gd name="T75" fmla="*/ 514 h 617"/>
                  <a:gd name="T76" fmla="*/ 297 w 835"/>
                  <a:gd name="T77" fmla="*/ 537 h 617"/>
                  <a:gd name="T78" fmla="*/ 318 w 835"/>
                  <a:gd name="T79" fmla="*/ 569 h 617"/>
                  <a:gd name="T80" fmla="*/ 340 w 835"/>
                  <a:gd name="T81" fmla="*/ 602 h 617"/>
                  <a:gd name="T82" fmla="*/ 380 w 835"/>
                  <a:gd name="T83" fmla="*/ 607 h 617"/>
                  <a:gd name="T84" fmla="*/ 413 w 835"/>
                  <a:gd name="T85" fmla="*/ 600 h 617"/>
                  <a:gd name="T86" fmla="*/ 413 w 835"/>
                  <a:gd name="T87" fmla="*/ 562 h 617"/>
                  <a:gd name="T88" fmla="*/ 442 w 835"/>
                  <a:gd name="T89" fmla="*/ 530 h 617"/>
                  <a:gd name="T90" fmla="*/ 483 w 835"/>
                  <a:gd name="T91" fmla="*/ 480 h 617"/>
                  <a:gd name="T92" fmla="*/ 551 w 835"/>
                  <a:gd name="T93" fmla="*/ 449 h 617"/>
                  <a:gd name="T94" fmla="*/ 631 w 835"/>
                  <a:gd name="T95" fmla="*/ 427 h 617"/>
                  <a:gd name="T96" fmla="*/ 668 w 835"/>
                  <a:gd name="T97" fmla="*/ 390 h 617"/>
                  <a:gd name="T98" fmla="*/ 611 w 835"/>
                  <a:gd name="T99" fmla="*/ 382 h 617"/>
                  <a:gd name="T100" fmla="*/ 617 w 835"/>
                  <a:gd name="T101" fmla="*/ 355 h 617"/>
                  <a:gd name="T102" fmla="*/ 694 w 835"/>
                  <a:gd name="T103" fmla="*/ 381 h 617"/>
                  <a:gd name="T104" fmla="*/ 668 w 835"/>
                  <a:gd name="T105" fmla="*/ 337 h 617"/>
                  <a:gd name="T106" fmla="*/ 653 w 835"/>
                  <a:gd name="T107" fmla="*/ 316 h 617"/>
                  <a:gd name="T108" fmla="*/ 668 w 835"/>
                  <a:gd name="T109" fmla="*/ 299 h 617"/>
                  <a:gd name="T110" fmla="*/ 700 w 835"/>
                  <a:gd name="T111" fmla="*/ 295 h 617"/>
                  <a:gd name="T112" fmla="*/ 717 w 835"/>
                  <a:gd name="T113" fmla="*/ 267 h 617"/>
                  <a:gd name="T114" fmla="*/ 730 w 835"/>
                  <a:gd name="T115" fmla="*/ 262 h 617"/>
                  <a:gd name="T116" fmla="*/ 704 w 835"/>
                  <a:gd name="T117" fmla="*/ 228 h 617"/>
                  <a:gd name="T118" fmla="*/ 748 w 835"/>
                  <a:gd name="T119" fmla="*/ 214 h 617"/>
                  <a:gd name="T120" fmla="*/ 724 w 835"/>
                  <a:gd name="T121" fmla="*/ 184 h 617"/>
                  <a:gd name="T122" fmla="*/ 732 w 835"/>
                  <a:gd name="T123" fmla="*/ 141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35" h="617">
                    <a:moveTo>
                      <a:pt x="721" y="119"/>
                    </a:moveTo>
                    <a:lnTo>
                      <a:pt x="719" y="118"/>
                    </a:lnTo>
                    <a:lnTo>
                      <a:pt x="720" y="116"/>
                    </a:lnTo>
                    <a:lnTo>
                      <a:pt x="723" y="115"/>
                    </a:lnTo>
                    <a:lnTo>
                      <a:pt x="726" y="113"/>
                    </a:lnTo>
                    <a:lnTo>
                      <a:pt x="729" y="111"/>
                    </a:lnTo>
                    <a:lnTo>
                      <a:pt x="731" y="110"/>
                    </a:lnTo>
                    <a:lnTo>
                      <a:pt x="734" y="110"/>
                    </a:lnTo>
                    <a:lnTo>
                      <a:pt x="738" y="111"/>
                    </a:lnTo>
                    <a:lnTo>
                      <a:pt x="740" y="111"/>
                    </a:lnTo>
                    <a:lnTo>
                      <a:pt x="742" y="112"/>
                    </a:lnTo>
                    <a:lnTo>
                      <a:pt x="746" y="112"/>
                    </a:lnTo>
                    <a:lnTo>
                      <a:pt x="749" y="112"/>
                    </a:lnTo>
                    <a:lnTo>
                      <a:pt x="751" y="112"/>
                    </a:lnTo>
                    <a:lnTo>
                      <a:pt x="755" y="112"/>
                    </a:lnTo>
                    <a:lnTo>
                      <a:pt x="757" y="112"/>
                    </a:lnTo>
                    <a:lnTo>
                      <a:pt x="760" y="112"/>
                    </a:lnTo>
                    <a:lnTo>
                      <a:pt x="766" y="112"/>
                    </a:lnTo>
                    <a:lnTo>
                      <a:pt x="768" y="111"/>
                    </a:lnTo>
                    <a:lnTo>
                      <a:pt x="772" y="110"/>
                    </a:lnTo>
                    <a:lnTo>
                      <a:pt x="774" y="109"/>
                    </a:lnTo>
                    <a:lnTo>
                      <a:pt x="773" y="107"/>
                    </a:lnTo>
                    <a:lnTo>
                      <a:pt x="775" y="108"/>
                    </a:lnTo>
                    <a:lnTo>
                      <a:pt x="779" y="106"/>
                    </a:lnTo>
                    <a:lnTo>
                      <a:pt x="780" y="102"/>
                    </a:lnTo>
                    <a:lnTo>
                      <a:pt x="777" y="102"/>
                    </a:lnTo>
                    <a:lnTo>
                      <a:pt x="772" y="101"/>
                    </a:lnTo>
                    <a:lnTo>
                      <a:pt x="768" y="101"/>
                    </a:lnTo>
                    <a:lnTo>
                      <a:pt x="765" y="100"/>
                    </a:lnTo>
                    <a:lnTo>
                      <a:pt x="763" y="100"/>
                    </a:lnTo>
                    <a:lnTo>
                      <a:pt x="759" y="101"/>
                    </a:lnTo>
                    <a:lnTo>
                      <a:pt x="757" y="101"/>
                    </a:lnTo>
                    <a:lnTo>
                      <a:pt x="754" y="102"/>
                    </a:lnTo>
                    <a:lnTo>
                      <a:pt x="751" y="102"/>
                    </a:lnTo>
                    <a:lnTo>
                      <a:pt x="748" y="102"/>
                    </a:lnTo>
                    <a:lnTo>
                      <a:pt x="746" y="101"/>
                    </a:lnTo>
                    <a:lnTo>
                      <a:pt x="742" y="101"/>
                    </a:lnTo>
                    <a:lnTo>
                      <a:pt x="739" y="101"/>
                    </a:lnTo>
                    <a:lnTo>
                      <a:pt x="737" y="101"/>
                    </a:lnTo>
                    <a:lnTo>
                      <a:pt x="733" y="100"/>
                    </a:lnTo>
                    <a:lnTo>
                      <a:pt x="730" y="99"/>
                    </a:lnTo>
                    <a:lnTo>
                      <a:pt x="728" y="99"/>
                    </a:lnTo>
                    <a:lnTo>
                      <a:pt x="725" y="100"/>
                    </a:lnTo>
                    <a:lnTo>
                      <a:pt x="722" y="101"/>
                    </a:lnTo>
                    <a:lnTo>
                      <a:pt x="720" y="102"/>
                    </a:lnTo>
                    <a:lnTo>
                      <a:pt x="716" y="103"/>
                    </a:lnTo>
                    <a:lnTo>
                      <a:pt x="713" y="102"/>
                    </a:lnTo>
                    <a:lnTo>
                      <a:pt x="711" y="101"/>
                    </a:lnTo>
                    <a:lnTo>
                      <a:pt x="713" y="101"/>
                    </a:lnTo>
                    <a:lnTo>
                      <a:pt x="716" y="101"/>
                    </a:lnTo>
                    <a:lnTo>
                      <a:pt x="720" y="101"/>
                    </a:lnTo>
                    <a:lnTo>
                      <a:pt x="722" y="100"/>
                    </a:lnTo>
                    <a:lnTo>
                      <a:pt x="724" y="98"/>
                    </a:lnTo>
                    <a:lnTo>
                      <a:pt x="728" y="98"/>
                    </a:lnTo>
                    <a:lnTo>
                      <a:pt x="733" y="99"/>
                    </a:lnTo>
                    <a:lnTo>
                      <a:pt x="737" y="99"/>
                    </a:lnTo>
                    <a:lnTo>
                      <a:pt x="739" y="99"/>
                    </a:lnTo>
                    <a:lnTo>
                      <a:pt x="742" y="100"/>
                    </a:lnTo>
                    <a:lnTo>
                      <a:pt x="746" y="100"/>
                    </a:lnTo>
                    <a:lnTo>
                      <a:pt x="748" y="99"/>
                    </a:lnTo>
                    <a:lnTo>
                      <a:pt x="751" y="98"/>
                    </a:lnTo>
                    <a:lnTo>
                      <a:pt x="754" y="96"/>
                    </a:lnTo>
                    <a:lnTo>
                      <a:pt x="755" y="94"/>
                    </a:lnTo>
                    <a:lnTo>
                      <a:pt x="757" y="94"/>
                    </a:lnTo>
                    <a:lnTo>
                      <a:pt x="760" y="96"/>
                    </a:lnTo>
                    <a:lnTo>
                      <a:pt x="763" y="96"/>
                    </a:lnTo>
                    <a:lnTo>
                      <a:pt x="766" y="95"/>
                    </a:lnTo>
                    <a:lnTo>
                      <a:pt x="768" y="96"/>
                    </a:lnTo>
                    <a:lnTo>
                      <a:pt x="772" y="96"/>
                    </a:lnTo>
                    <a:lnTo>
                      <a:pt x="774" y="96"/>
                    </a:lnTo>
                    <a:lnTo>
                      <a:pt x="777" y="96"/>
                    </a:lnTo>
                    <a:lnTo>
                      <a:pt x="780" y="96"/>
                    </a:lnTo>
                    <a:lnTo>
                      <a:pt x="783" y="96"/>
                    </a:lnTo>
                    <a:lnTo>
                      <a:pt x="785" y="93"/>
                    </a:lnTo>
                    <a:lnTo>
                      <a:pt x="788" y="92"/>
                    </a:lnTo>
                    <a:lnTo>
                      <a:pt x="797" y="92"/>
                    </a:lnTo>
                    <a:lnTo>
                      <a:pt x="800" y="91"/>
                    </a:lnTo>
                    <a:lnTo>
                      <a:pt x="800" y="89"/>
                    </a:lnTo>
                    <a:lnTo>
                      <a:pt x="797" y="86"/>
                    </a:lnTo>
                    <a:lnTo>
                      <a:pt x="797" y="84"/>
                    </a:lnTo>
                    <a:lnTo>
                      <a:pt x="800" y="83"/>
                    </a:lnTo>
                    <a:lnTo>
                      <a:pt x="808" y="83"/>
                    </a:lnTo>
                    <a:lnTo>
                      <a:pt x="811" y="83"/>
                    </a:lnTo>
                    <a:lnTo>
                      <a:pt x="815" y="81"/>
                    </a:lnTo>
                    <a:lnTo>
                      <a:pt x="817" y="78"/>
                    </a:lnTo>
                    <a:lnTo>
                      <a:pt x="819" y="78"/>
                    </a:lnTo>
                    <a:lnTo>
                      <a:pt x="823" y="77"/>
                    </a:lnTo>
                    <a:lnTo>
                      <a:pt x="825" y="75"/>
                    </a:lnTo>
                    <a:lnTo>
                      <a:pt x="827" y="74"/>
                    </a:lnTo>
                    <a:lnTo>
                      <a:pt x="831" y="73"/>
                    </a:lnTo>
                    <a:lnTo>
                      <a:pt x="833" y="72"/>
                    </a:lnTo>
                    <a:lnTo>
                      <a:pt x="835" y="70"/>
                    </a:lnTo>
                    <a:lnTo>
                      <a:pt x="835" y="67"/>
                    </a:lnTo>
                    <a:lnTo>
                      <a:pt x="833" y="67"/>
                    </a:lnTo>
                    <a:lnTo>
                      <a:pt x="830" y="65"/>
                    </a:lnTo>
                    <a:lnTo>
                      <a:pt x="827" y="64"/>
                    </a:lnTo>
                    <a:lnTo>
                      <a:pt x="825" y="62"/>
                    </a:lnTo>
                    <a:lnTo>
                      <a:pt x="822" y="61"/>
                    </a:lnTo>
                    <a:lnTo>
                      <a:pt x="819" y="61"/>
                    </a:lnTo>
                    <a:lnTo>
                      <a:pt x="816" y="61"/>
                    </a:lnTo>
                    <a:lnTo>
                      <a:pt x="814" y="61"/>
                    </a:lnTo>
                    <a:lnTo>
                      <a:pt x="810" y="60"/>
                    </a:lnTo>
                    <a:lnTo>
                      <a:pt x="808" y="59"/>
                    </a:lnTo>
                    <a:lnTo>
                      <a:pt x="805" y="59"/>
                    </a:lnTo>
                    <a:lnTo>
                      <a:pt x="801" y="58"/>
                    </a:lnTo>
                    <a:lnTo>
                      <a:pt x="799" y="58"/>
                    </a:lnTo>
                    <a:lnTo>
                      <a:pt x="796" y="57"/>
                    </a:lnTo>
                    <a:lnTo>
                      <a:pt x="793" y="58"/>
                    </a:lnTo>
                    <a:lnTo>
                      <a:pt x="790" y="58"/>
                    </a:lnTo>
                    <a:lnTo>
                      <a:pt x="786" y="58"/>
                    </a:lnTo>
                    <a:lnTo>
                      <a:pt x="784" y="58"/>
                    </a:lnTo>
                    <a:lnTo>
                      <a:pt x="782" y="57"/>
                    </a:lnTo>
                    <a:lnTo>
                      <a:pt x="779" y="58"/>
                    </a:lnTo>
                    <a:lnTo>
                      <a:pt x="776" y="58"/>
                    </a:lnTo>
                    <a:lnTo>
                      <a:pt x="773" y="57"/>
                    </a:lnTo>
                    <a:lnTo>
                      <a:pt x="770" y="60"/>
                    </a:lnTo>
                    <a:lnTo>
                      <a:pt x="767" y="59"/>
                    </a:lnTo>
                    <a:lnTo>
                      <a:pt x="765" y="60"/>
                    </a:lnTo>
                    <a:lnTo>
                      <a:pt x="762" y="60"/>
                    </a:lnTo>
                    <a:lnTo>
                      <a:pt x="763" y="62"/>
                    </a:lnTo>
                    <a:lnTo>
                      <a:pt x="764" y="65"/>
                    </a:lnTo>
                    <a:lnTo>
                      <a:pt x="760" y="64"/>
                    </a:lnTo>
                    <a:lnTo>
                      <a:pt x="757" y="65"/>
                    </a:lnTo>
                    <a:lnTo>
                      <a:pt x="757" y="67"/>
                    </a:lnTo>
                    <a:lnTo>
                      <a:pt x="759" y="68"/>
                    </a:lnTo>
                    <a:lnTo>
                      <a:pt x="757" y="69"/>
                    </a:lnTo>
                    <a:lnTo>
                      <a:pt x="754" y="70"/>
                    </a:lnTo>
                    <a:lnTo>
                      <a:pt x="755" y="73"/>
                    </a:lnTo>
                    <a:lnTo>
                      <a:pt x="753" y="73"/>
                    </a:lnTo>
                    <a:lnTo>
                      <a:pt x="750" y="73"/>
                    </a:lnTo>
                    <a:lnTo>
                      <a:pt x="747" y="72"/>
                    </a:lnTo>
                    <a:lnTo>
                      <a:pt x="743" y="72"/>
                    </a:lnTo>
                    <a:lnTo>
                      <a:pt x="741" y="70"/>
                    </a:lnTo>
                    <a:lnTo>
                      <a:pt x="739" y="69"/>
                    </a:lnTo>
                    <a:lnTo>
                      <a:pt x="736" y="69"/>
                    </a:lnTo>
                    <a:lnTo>
                      <a:pt x="732" y="70"/>
                    </a:lnTo>
                    <a:lnTo>
                      <a:pt x="730" y="72"/>
                    </a:lnTo>
                    <a:lnTo>
                      <a:pt x="726" y="73"/>
                    </a:lnTo>
                    <a:lnTo>
                      <a:pt x="724" y="74"/>
                    </a:lnTo>
                    <a:lnTo>
                      <a:pt x="724" y="72"/>
                    </a:lnTo>
                    <a:lnTo>
                      <a:pt x="724" y="68"/>
                    </a:lnTo>
                    <a:lnTo>
                      <a:pt x="728" y="67"/>
                    </a:lnTo>
                    <a:lnTo>
                      <a:pt x="724" y="67"/>
                    </a:lnTo>
                    <a:lnTo>
                      <a:pt x="721" y="67"/>
                    </a:lnTo>
                    <a:lnTo>
                      <a:pt x="719" y="68"/>
                    </a:lnTo>
                    <a:lnTo>
                      <a:pt x="715" y="69"/>
                    </a:lnTo>
                    <a:lnTo>
                      <a:pt x="713" y="72"/>
                    </a:lnTo>
                    <a:lnTo>
                      <a:pt x="709" y="73"/>
                    </a:lnTo>
                    <a:lnTo>
                      <a:pt x="707" y="76"/>
                    </a:lnTo>
                    <a:lnTo>
                      <a:pt x="704" y="77"/>
                    </a:lnTo>
                    <a:lnTo>
                      <a:pt x="702" y="81"/>
                    </a:lnTo>
                    <a:lnTo>
                      <a:pt x="698" y="81"/>
                    </a:lnTo>
                    <a:lnTo>
                      <a:pt x="695" y="83"/>
                    </a:lnTo>
                    <a:lnTo>
                      <a:pt x="692" y="84"/>
                    </a:lnTo>
                    <a:lnTo>
                      <a:pt x="690" y="86"/>
                    </a:lnTo>
                    <a:lnTo>
                      <a:pt x="687" y="89"/>
                    </a:lnTo>
                    <a:lnTo>
                      <a:pt x="685" y="90"/>
                    </a:lnTo>
                    <a:lnTo>
                      <a:pt x="681" y="91"/>
                    </a:lnTo>
                    <a:lnTo>
                      <a:pt x="679" y="91"/>
                    </a:lnTo>
                    <a:lnTo>
                      <a:pt x="679" y="94"/>
                    </a:lnTo>
                    <a:lnTo>
                      <a:pt x="677" y="95"/>
                    </a:lnTo>
                    <a:lnTo>
                      <a:pt x="674" y="98"/>
                    </a:lnTo>
                    <a:lnTo>
                      <a:pt x="672" y="100"/>
                    </a:lnTo>
                    <a:lnTo>
                      <a:pt x="669" y="101"/>
                    </a:lnTo>
                    <a:lnTo>
                      <a:pt x="666" y="102"/>
                    </a:lnTo>
                    <a:lnTo>
                      <a:pt x="668" y="100"/>
                    </a:lnTo>
                    <a:lnTo>
                      <a:pt x="670" y="98"/>
                    </a:lnTo>
                    <a:lnTo>
                      <a:pt x="668" y="98"/>
                    </a:lnTo>
                    <a:lnTo>
                      <a:pt x="671" y="96"/>
                    </a:lnTo>
                    <a:lnTo>
                      <a:pt x="673" y="95"/>
                    </a:lnTo>
                    <a:lnTo>
                      <a:pt x="673" y="92"/>
                    </a:lnTo>
                    <a:lnTo>
                      <a:pt x="675" y="90"/>
                    </a:lnTo>
                    <a:lnTo>
                      <a:pt x="679" y="87"/>
                    </a:lnTo>
                    <a:lnTo>
                      <a:pt x="681" y="85"/>
                    </a:lnTo>
                    <a:lnTo>
                      <a:pt x="683" y="83"/>
                    </a:lnTo>
                    <a:lnTo>
                      <a:pt x="687" y="82"/>
                    </a:lnTo>
                    <a:lnTo>
                      <a:pt x="688" y="79"/>
                    </a:lnTo>
                    <a:lnTo>
                      <a:pt x="691" y="77"/>
                    </a:lnTo>
                    <a:lnTo>
                      <a:pt x="694" y="75"/>
                    </a:lnTo>
                    <a:lnTo>
                      <a:pt x="697" y="73"/>
                    </a:lnTo>
                    <a:lnTo>
                      <a:pt x="698" y="69"/>
                    </a:lnTo>
                    <a:lnTo>
                      <a:pt x="699" y="67"/>
                    </a:lnTo>
                    <a:lnTo>
                      <a:pt x="699" y="64"/>
                    </a:lnTo>
                    <a:lnTo>
                      <a:pt x="699" y="61"/>
                    </a:lnTo>
                    <a:lnTo>
                      <a:pt x="699" y="59"/>
                    </a:lnTo>
                    <a:lnTo>
                      <a:pt x="699" y="56"/>
                    </a:lnTo>
                    <a:lnTo>
                      <a:pt x="697" y="53"/>
                    </a:lnTo>
                    <a:lnTo>
                      <a:pt x="694" y="52"/>
                    </a:lnTo>
                    <a:lnTo>
                      <a:pt x="691" y="52"/>
                    </a:lnTo>
                    <a:lnTo>
                      <a:pt x="688" y="53"/>
                    </a:lnTo>
                    <a:lnTo>
                      <a:pt x="686" y="53"/>
                    </a:lnTo>
                    <a:lnTo>
                      <a:pt x="682" y="53"/>
                    </a:lnTo>
                    <a:lnTo>
                      <a:pt x="680" y="53"/>
                    </a:lnTo>
                    <a:lnTo>
                      <a:pt x="677" y="53"/>
                    </a:lnTo>
                    <a:lnTo>
                      <a:pt x="674" y="55"/>
                    </a:lnTo>
                    <a:lnTo>
                      <a:pt x="671" y="56"/>
                    </a:lnTo>
                    <a:lnTo>
                      <a:pt x="671" y="58"/>
                    </a:lnTo>
                    <a:lnTo>
                      <a:pt x="670" y="61"/>
                    </a:lnTo>
                    <a:lnTo>
                      <a:pt x="670" y="64"/>
                    </a:lnTo>
                    <a:lnTo>
                      <a:pt x="668" y="65"/>
                    </a:lnTo>
                    <a:lnTo>
                      <a:pt x="664" y="65"/>
                    </a:lnTo>
                    <a:lnTo>
                      <a:pt x="661" y="65"/>
                    </a:lnTo>
                    <a:lnTo>
                      <a:pt x="658" y="66"/>
                    </a:lnTo>
                    <a:lnTo>
                      <a:pt x="656" y="67"/>
                    </a:lnTo>
                    <a:lnTo>
                      <a:pt x="649" y="68"/>
                    </a:lnTo>
                    <a:lnTo>
                      <a:pt x="647" y="69"/>
                    </a:lnTo>
                    <a:lnTo>
                      <a:pt x="640" y="70"/>
                    </a:lnTo>
                    <a:lnTo>
                      <a:pt x="638" y="72"/>
                    </a:lnTo>
                    <a:lnTo>
                      <a:pt x="635" y="73"/>
                    </a:lnTo>
                    <a:lnTo>
                      <a:pt x="632" y="74"/>
                    </a:lnTo>
                    <a:lnTo>
                      <a:pt x="630" y="75"/>
                    </a:lnTo>
                    <a:lnTo>
                      <a:pt x="627" y="75"/>
                    </a:lnTo>
                    <a:lnTo>
                      <a:pt x="623" y="75"/>
                    </a:lnTo>
                    <a:lnTo>
                      <a:pt x="627" y="75"/>
                    </a:lnTo>
                    <a:lnTo>
                      <a:pt x="623" y="73"/>
                    </a:lnTo>
                    <a:lnTo>
                      <a:pt x="627" y="70"/>
                    </a:lnTo>
                    <a:lnTo>
                      <a:pt x="632" y="69"/>
                    </a:lnTo>
                    <a:lnTo>
                      <a:pt x="636" y="68"/>
                    </a:lnTo>
                    <a:lnTo>
                      <a:pt x="638" y="67"/>
                    </a:lnTo>
                    <a:lnTo>
                      <a:pt x="645" y="66"/>
                    </a:lnTo>
                    <a:lnTo>
                      <a:pt x="651" y="64"/>
                    </a:lnTo>
                    <a:lnTo>
                      <a:pt x="653" y="62"/>
                    </a:lnTo>
                    <a:lnTo>
                      <a:pt x="655" y="60"/>
                    </a:lnTo>
                    <a:lnTo>
                      <a:pt x="654" y="57"/>
                    </a:lnTo>
                    <a:lnTo>
                      <a:pt x="652" y="55"/>
                    </a:lnTo>
                    <a:lnTo>
                      <a:pt x="648" y="55"/>
                    </a:lnTo>
                    <a:lnTo>
                      <a:pt x="646" y="55"/>
                    </a:lnTo>
                    <a:lnTo>
                      <a:pt x="643" y="55"/>
                    </a:lnTo>
                    <a:lnTo>
                      <a:pt x="635" y="55"/>
                    </a:lnTo>
                    <a:lnTo>
                      <a:pt x="631" y="55"/>
                    </a:lnTo>
                    <a:lnTo>
                      <a:pt x="626" y="55"/>
                    </a:lnTo>
                    <a:lnTo>
                      <a:pt x="623" y="55"/>
                    </a:lnTo>
                    <a:lnTo>
                      <a:pt x="617" y="55"/>
                    </a:lnTo>
                    <a:lnTo>
                      <a:pt x="614" y="55"/>
                    </a:lnTo>
                    <a:lnTo>
                      <a:pt x="612" y="55"/>
                    </a:lnTo>
                    <a:lnTo>
                      <a:pt x="609" y="55"/>
                    </a:lnTo>
                    <a:lnTo>
                      <a:pt x="605" y="55"/>
                    </a:lnTo>
                    <a:lnTo>
                      <a:pt x="603" y="56"/>
                    </a:lnTo>
                    <a:lnTo>
                      <a:pt x="600" y="56"/>
                    </a:lnTo>
                    <a:lnTo>
                      <a:pt x="597" y="57"/>
                    </a:lnTo>
                    <a:lnTo>
                      <a:pt x="594" y="59"/>
                    </a:lnTo>
                    <a:lnTo>
                      <a:pt x="592" y="57"/>
                    </a:lnTo>
                    <a:lnTo>
                      <a:pt x="585" y="58"/>
                    </a:lnTo>
                    <a:lnTo>
                      <a:pt x="583" y="59"/>
                    </a:lnTo>
                    <a:lnTo>
                      <a:pt x="579" y="59"/>
                    </a:lnTo>
                    <a:lnTo>
                      <a:pt x="577" y="59"/>
                    </a:lnTo>
                    <a:lnTo>
                      <a:pt x="570" y="60"/>
                    </a:lnTo>
                    <a:lnTo>
                      <a:pt x="568" y="60"/>
                    </a:lnTo>
                    <a:lnTo>
                      <a:pt x="564" y="61"/>
                    </a:lnTo>
                    <a:lnTo>
                      <a:pt x="562" y="61"/>
                    </a:lnTo>
                    <a:lnTo>
                      <a:pt x="559" y="62"/>
                    </a:lnTo>
                    <a:lnTo>
                      <a:pt x="557" y="64"/>
                    </a:lnTo>
                    <a:lnTo>
                      <a:pt x="553" y="66"/>
                    </a:lnTo>
                    <a:lnTo>
                      <a:pt x="551" y="66"/>
                    </a:lnTo>
                    <a:lnTo>
                      <a:pt x="550" y="64"/>
                    </a:lnTo>
                    <a:lnTo>
                      <a:pt x="549" y="60"/>
                    </a:lnTo>
                    <a:lnTo>
                      <a:pt x="552" y="59"/>
                    </a:lnTo>
                    <a:lnTo>
                      <a:pt x="555" y="59"/>
                    </a:lnTo>
                    <a:lnTo>
                      <a:pt x="558" y="58"/>
                    </a:lnTo>
                    <a:lnTo>
                      <a:pt x="560" y="58"/>
                    </a:lnTo>
                    <a:lnTo>
                      <a:pt x="563" y="57"/>
                    </a:lnTo>
                    <a:lnTo>
                      <a:pt x="566" y="57"/>
                    </a:lnTo>
                    <a:lnTo>
                      <a:pt x="569" y="57"/>
                    </a:lnTo>
                    <a:lnTo>
                      <a:pt x="571" y="56"/>
                    </a:lnTo>
                    <a:lnTo>
                      <a:pt x="574" y="56"/>
                    </a:lnTo>
                    <a:lnTo>
                      <a:pt x="577" y="55"/>
                    </a:lnTo>
                    <a:lnTo>
                      <a:pt x="588" y="52"/>
                    </a:lnTo>
                    <a:lnTo>
                      <a:pt x="591" y="52"/>
                    </a:lnTo>
                    <a:lnTo>
                      <a:pt x="588" y="50"/>
                    </a:lnTo>
                    <a:lnTo>
                      <a:pt x="586" y="49"/>
                    </a:lnTo>
                    <a:lnTo>
                      <a:pt x="583" y="49"/>
                    </a:lnTo>
                    <a:lnTo>
                      <a:pt x="574" y="49"/>
                    </a:lnTo>
                    <a:lnTo>
                      <a:pt x="568" y="49"/>
                    </a:lnTo>
                    <a:lnTo>
                      <a:pt x="571" y="49"/>
                    </a:lnTo>
                    <a:lnTo>
                      <a:pt x="574" y="48"/>
                    </a:lnTo>
                    <a:lnTo>
                      <a:pt x="577" y="48"/>
                    </a:lnTo>
                    <a:lnTo>
                      <a:pt x="580" y="49"/>
                    </a:lnTo>
                    <a:lnTo>
                      <a:pt x="583" y="49"/>
                    </a:lnTo>
                    <a:lnTo>
                      <a:pt x="586" y="49"/>
                    </a:lnTo>
                    <a:lnTo>
                      <a:pt x="588" y="49"/>
                    </a:lnTo>
                    <a:lnTo>
                      <a:pt x="592" y="50"/>
                    </a:lnTo>
                    <a:lnTo>
                      <a:pt x="594" y="50"/>
                    </a:lnTo>
                    <a:lnTo>
                      <a:pt x="597" y="50"/>
                    </a:lnTo>
                    <a:lnTo>
                      <a:pt x="600" y="50"/>
                    </a:lnTo>
                    <a:lnTo>
                      <a:pt x="603" y="50"/>
                    </a:lnTo>
                    <a:lnTo>
                      <a:pt x="606" y="49"/>
                    </a:lnTo>
                    <a:lnTo>
                      <a:pt x="609" y="49"/>
                    </a:lnTo>
                    <a:lnTo>
                      <a:pt x="612" y="49"/>
                    </a:lnTo>
                    <a:lnTo>
                      <a:pt x="615" y="49"/>
                    </a:lnTo>
                    <a:lnTo>
                      <a:pt x="618" y="49"/>
                    </a:lnTo>
                    <a:lnTo>
                      <a:pt x="621" y="49"/>
                    </a:lnTo>
                    <a:lnTo>
                      <a:pt x="625" y="49"/>
                    </a:lnTo>
                    <a:lnTo>
                      <a:pt x="630" y="49"/>
                    </a:lnTo>
                    <a:lnTo>
                      <a:pt x="634" y="49"/>
                    </a:lnTo>
                    <a:lnTo>
                      <a:pt x="639" y="50"/>
                    </a:lnTo>
                    <a:lnTo>
                      <a:pt x="643" y="50"/>
                    </a:lnTo>
                    <a:lnTo>
                      <a:pt x="645" y="50"/>
                    </a:lnTo>
                    <a:lnTo>
                      <a:pt x="657" y="50"/>
                    </a:lnTo>
                    <a:lnTo>
                      <a:pt x="660" y="49"/>
                    </a:lnTo>
                    <a:lnTo>
                      <a:pt x="663" y="49"/>
                    </a:lnTo>
                    <a:lnTo>
                      <a:pt x="665" y="48"/>
                    </a:lnTo>
                    <a:lnTo>
                      <a:pt x="669" y="47"/>
                    </a:lnTo>
                    <a:lnTo>
                      <a:pt x="671" y="47"/>
                    </a:lnTo>
                    <a:lnTo>
                      <a:pt x="674" y="45"/>
                    </a:lnTo>
                    <a:lnTo>
                      <a:pt x="683" y="45"/>
                    </a:lnTo>
                    <a:lnTo>
                      <a:pt x="687" y="45"/>
                    </a:lnTo>
                    <a:lnTo>
                      <a:pt x="689" y="44"/>
                    </a:lnTo>
                    <a:lnTo>
                      <a:pt x="691" y="44"/>
                    </a:lnTo>
                    <a:lnTo>
                      <a:pt x="695" y="43"/>
                    </a:lnTo>
                    <a:lnTo>
                      <a:pt x="696" y="40"/>
                    </a:lnTo>
                    <a:lnTo>
                      <a:pt x="699" y="40"/>
                    </a:lnTo>
                    <a:lnTo>
                      <a:pt x="703" y="39"/>
                    </a:lnTo>
                    <a:lnTo>
                      <a:pt x="705" y="38"/>
                    </a:lnTo>
                    <a:lnTo>
                      <a:pt x="708" y="36"/>
                    </a:lnTo>
                    <a:lnTo>
                      <a:pt x="707" y="34"/>
                    </a:lnTo>
                    <a:lnTo>
                      <a:pt x="704" y="32"/>
                    </a:lnTo>
                    <a:lnTo>
                      <a:pt x="700" y="31"/>
                    </a:lnTo>
                    <a:lnTo>
                      <a:pt x="698" y="31"/>
                    </a:lnTo>
                    <a:lnTo>
                      <a:pt x="695" y="30"/>
                    </a:lnTo>
                    <a:lnTo>
                      <a:pt x="691" y="29"/>
                    </a:lnTo>
                    <a:lnTo>
                      <a:pt x="689" y="30"/>
                    </a:lnTo>
                    <a:lnTo>
                      <a:pt x="687" y="29"/>
                    </a:lnTo>
                    <a:lnTo>
                      <a:pt x="683" y="29"/>
                    </a:lnTo>
                    <a:lnTo>
                      <a:pt x="681" y="26"/>
                    </a:lnTo>
                    <a:lnTo>
                      <a:pt x="678" y="26"/>
                    </a:lnTo>
                    <a:lnTo>
                      <a:pt x="674" y="29"/>
                    </a:lnTo>
                    <a:lnTo>
                      <a:pt x="672" y="30"/>
                    </a:lnTo>
                    <a:lnTo>
                      <a:pt x="672" y="26"/>
                    </a:lnTo>
                    <a:lnTo>
                      <a:pt x="670" y="25"/>
                    </a:lnTo>
                    <a:lnTo>
                      <a:pt x="666" y="25"/>
                    </a:lnTo>
                    <a:lnTo>
                      <a:pt x="664" y="25"/>
                    </a:lnTo>
                    <a:lnTo>
                      <a:pt x="661" y="26"/>
                    </a:lnTo>
                    <a:lnTo>
                      <a:pt x="657" y="27"/>
                    </a:lnTo>
                    <a:lnTo>
                      <a:pt x="655" y="27"/>
                    </a:lnTo>
                    <a:lnTo>
                      <a:pt x="652" y="29"/>
                    </a:lnTo>
                    <a:lnTo>
                      <a:pt x="648" y="30"/>
                    </a:lnTo>
                    <a:lnTo>
                      <a:pt x="652" y="27"/>
                    </a:lnTo>
                    <a:lnTo>
                      <a:pt x="655" y="26"/>
                    </a:lnTo>
                    <a:lnTo>
                      <a:pt x="657" y="24"/>
                    </a:lnTo>
                    <a:lnTo>
                      <a:pt x="661" y="23"/>
                    </a:lnTo>
                    <a:lnTo>
                      <a:pt x="660" y="19"/>
                    </a:lnTo>
                    <a:lnTo>
                      <a:pt x="660" y="17"/>
                    </a:lnTo>
                    <a:lnTo>
                      <a:pt x="656" y="16"/>
                    </a:lnTo>
                    <a:lnTo>
                      <a:pt x="651" y="16"/>
                    </a:lnTo>
                    <a:lnTo>
                      <a:pt x="648" y="17"/>
                    </a:lnTo>
                    <a:lnTo>
                      <a:pt x="645" y="17"/>
                    </a:lnTo>
                    <a:lnTo>
                      <a:pt x="643" y="17"/>
                    </a:lnTo>
                    <a:lnTo>
                      <a:pt x="639" y="18"/>
                    </a:lnTo>
                    <a:lnTo>
                      <a:pt x="636" y="19"/>
                    </a:lnTo>
                    <a:lnTo>
                      <a:pt x="634" y="19"/>
                    </a:lnTo>
                    <a:lnTo>
                      <a:pt x="630" y="19"/>
                    </a:lnTo>
                    <a:lnTo>
                      <a:pt x="627" y="19"/>
                    </a:lnTo>
                    <a:lnTo>
                      <a:pt x="625" y="19"/>
                    </a:lnTo>
                    <a:lnTo>
                      <a:pt x="622" y="18"/>
                    </a:lnTo>
                    <a:lnTo>
                      <a:pt x="619" y="18"/>
                    </a:lnTo>
                    <a:lnTo>
                      <a:pt x="617" y="19"/>
                    </a:lnTo>
                    <a:lnTo>
                      <a:pt x="613" y="19"/>
                    </a:lnTo>
                    <a:lnTo>
                      <a:pt x="611" y="18"/>
                    </a:lnTo>
                    <a:lnTo>
                      <a:pt x="608" y="17"/>
                    </a:lnTo>
                    <a:lnTo>
                      <a:pt x="604" y="17"/>
                    </a:lnTo>
                    <a:lnTo>
                      <a:pt x="602" y="17"/>
                    </a:lnTo>
                    <a:lnTo>
                      <a:pt x="598" y="17"/>
                    </a:lnTo>
                    <a:lnTo>
                      <a:pt x="593" y="17"/>
                    </a:lnTo>
                    <a:lnTo>
                      <a:pt x="589" y="17"/>
                    </a:lnTo>
                    <a:lnTo>
                      <a:pt x="587" y="17"/>
                    </a:lnTo>
                    <a:lnTo>
                      <a:pt x="584" y="18"/>
                    </a:lnTo>
                    <a:lnTo>
                      <a:pt x="581" y="18"/>
                    </a:lnTo>
                    <a:lnTo>
                      <a:pt x="578" y="18"/>
                    </a:lnTo>
                    <a:lnTo>
                      <a:pt x="575" y="19"/>
                    </a:lnTo>
                    <a:lnTo>
                      <a:pt x="572" y="21"/>
                    </a:lnTo>
                    <a:lnTo>
                      <a:pt x="569" y="22"/>
                    </a:lnTo>
                    <a:lnTo>
                      <a:pt x="567" y="24"/>
                    </a:lnTo>
                    <a:lnTo>
                      <a:pt x="563" y="22"/>
                    </a:lnTo>
                    <a:lnTo>
                      <a:pt x="560" y="22"/>
                    </a:lnTo>
                    <a:lnTo>
                      <a:pt x="557" y="22"/>
                    </a:lnTo>
                    <a:lnTo>
                      <a:pt x="554" y="22"/>
                    </a:lnTo>
                    <a:lnTo>
                      <a:pt x="552" y="23"/>
                    </a:lnTo>
                    <a:lnTo>
                      <a:pt x="547" y="23"/>
                    </a:lnTo>
                    <a:lnTo>
                      <a:pt x="545" y="23"/>
                    </a:lnTo>
                    <a:lnTo>
                      <a:pt x="543" y="23"/>
                    </a:lnTo>
                    <a:lnTo>
                      <a:pt x="540" y="24"/>
                    </a:lnTo>
                    <a:lnTo>
                      <a:pt x="540" y="26"/>
                    </a:lnTo>
                    <a:lnTo>
                      <a:pt x="536" y="29"/>
                    </a:lnTo>
                    <a:lnTo>
                      <a:pt x="537" y="26"/>
                    </a:lnTo>
                    <a:lnTo>
                      <a:pt x="535" y="24"/>
                    </a:lnTo>
                    <a:lnTo>
                      <a:pt x="528" y="24"/>
                    </a:lnTo>
                    <a:lnTo>
                      <a:pt x="526" y="24"/>
                    </a:lnTo>
                    <a:lnTo>
                      <a:pt x="523" y="25"/>
                    </a:lnTo>
                    <a:lnTo>
                      <a:pt x="519" y="25"/>
                    </a:lnTo>
                    <a:lnTo>
                      <a:pt x="517" y="27"/>
                    </a:lnTo>
                    <a:lnTo>
                      <a:pt x="515" y="30"/>
                    </a:lnTo>
                    <a:lnTo>
                      <a:pt x="516" y="27"/>
                    </a:lnTo>
                    <a:lnTo>
                      <a:pt x="514" y="24"/>
                    </a:lnTo>
                    <a:lnTo>
                      <a:pt x="517" y="24"/>
                    </a:lnTo>
                    <a:lnTo>
                      <a:pt x="520" y="24"/>
                    </a:lnTo>
                    <a:lnTo>
                      <a:pt x="523" y="24"/>
                    </a:lnTo>
                    <a:lnTo>
                      <a:pt x="526" y="24"/>
                    </a:lnTo>
                    <a:lnTo>
                      <a:pt x="532" y="24"/>
                    </a:lnTo>
                    <a:lnTo>
                      <a:pt x="534" y="23"/>
                    </a:lnTo>
                    <a:lnTo>
                      <a:pt x="537" y="23"/>
                    </a:lnTo>
                    <a:lnTo>
                      <a:pt x="541" y="22"/>
                    </a:lnTo>
                    <a:lnTo>
                      <a:pt x="543" y="22"/>
                    </a:lnTo>
                    <a:lnTo>
                      <a:pt x="550" y="21"/>
                    </a:lnTo>
                    <a:lnTo>
                      <a:pt x="552" y="21"/>
                    </a:lnTo>
                    <a:lnTo>
                      <a:pt x="555" y="21"/>
                    </a:lnTo>
                    <a:lnTo>
                      <a:pt x="552" y="18"/>
                    </a:lnTo>
                    <a:lnTo>
                      <a:pt x="550" y="17"/>
                    </a:lnTo>
                    <a:lnTo>
                      <a:pt x="546" y="17"/>
                    </a:lnTo>
                    <a:lnTo>
                      <a:pt x="543" y="17"/>
                    </a:lnTo>
                    <a:lnTo>
                      <a:pt x="546" y="16"/>
                    </a:lnTo>
                    <a:lnTo>
                      <a:pt x="550" y="17"/>
                    </a:lnTo>
                    <a:lnTo>
                      <a:pt x="552" y="17"/>
                    </a:lnTo>
                    <a:lnTo>
                      <a:pt x="555" y="18"/>
                    </a:lnTo>
                    <a:lnTo>
                      <a:pt x="561" y="19"/>
                    </a:lnTo>
                    <a:lnTo>
                      <a:pt x="567" y="19"/>
                    </a:lnTo>
                    <a:lnTo>
                      <a:pt x="572" y="18"/>
                    </a:lnTo>
                    <a:lnTo>
                      <a:pt x="576" y="17"/>
                    </a:lnTo>
                    <a:lnTo>
                      <a:pt x="578" y="17"/>
                    </a:lnTo>
                    <a:lnTo>
                      <a:pt x="581" y="16"/>
                    </a:lnTo>
                    <a:lnTo>
                      <a:pt x="584" y="16"/>
                    </a:lnTo>
                    <a:lnTo>
                      <a:pt x="591" y="15"/>
                    </a:lnTo>
                    <a:lnTo>
                      <a:pt x="596" y="15"/>
                    </a:lnTo>
                    <a:lnTo>
                      <a:pt x="598" y="15"/>
                    </a:lnTo>
                    <a:lnTo>
                      <a:pt x="602" y="15"/>
                    </a:lnTo>
                    <a:lnTo>
                      <a:pt x="605" y="15"/>
                    </a:lnTo>
                    <a:lnTo>
                      <a:pt x="608" y="16"/>
                    </a:lnTo>
                    <a:lnTo>
                      <a:pt x="617" y="16"/>
                    </a:lnTo>
                    <a:lnTo>
                      <a:pt x="619" y="16"/>
                    </a:lnTo>
                    <a:lnTo>
                      <a:pt x="622" y="17"/>
                    </a:lnTo>
                    <a:lnTo>
                      <a:pt x="626" y="16"/>
                    </a:lnTo>
                    <a:lnTo>
                      <a:pt x="631" y="16"/>
                    </a:lnTo>
                    <a:lnTo>
                      <a:pt x="637" y="15"/>
                    </a:lnTo>
                    <a:lnTo>
                      <a:pt x="639" y="15"/>
                    </a:lnTo>
                    <a:lnTo>
                      <a:pt x="643" y="14"/>
                    </a:lnTo>
                    <a:lnTo>
                      <a:pt x="645" y="14"/>
                    </a:lnTo>
                    <a:lnTo>
                      <a:pt x="648" y="13"/>
                    </a:lnTo>
                    <a:lnTo>
                      <a:pt x="645" y="9"/>
                    </a:lnTo>
                    <a:lnTo>
                      <a:pt x="642" y="8"/>
                    </a:lnTo>
                    <a:lnTo>
                      <a:pt x="639" y="8"/>
                    </a:lnTo>
                    <a:lnTo>
                      <a:pt x="636" y="7"/>
                    </a:lnTo>
                    <a:lnTo>
                      <a:pt x="631" y="6"/>
                    </a:lnTo>
                    <a:lnTo>
                      <a:pt x="628" y="6"/>
                    </a:lnTo>
                    <a:lnTo>
                      <a:pt x="626" y="5"/>
                    </a:lnTo>
                    <a:lnTo>
                      <a:pt x="622" y="5"/>
                    </a:lnTo>
                    <a:lnTo>
                      <a:pt x="619" y="5"/>
                    </a:lnTo>
                    <a:lnTo>
                      <a:pt x="617" y="5"/>
                    </a:lnTo>
                    <a:lnTo>
                      <a:pt x="613" y="5"/>
                    </a:lnTo>
                    <a:lnTo>
                      <a:pt x="610" y="7"/>
                    </a:lnTo>
                    <a:lnTo>
                      <a:pt x="608" y="6"/>
                    </a:lnTo>
                    <a:lnTo>
                      <a:pt x="604" y="5"/>
                    </a:lnTo>
                    <a:lnTo>
                      <a:pt x="608" y="5"/>
                    </a:lnTo>
                    <a:lnTo>
                      <a:pt x="604" y="4"/>
                    </a:lnTo>
                    <a:lnTo>
                      <a:pt x="602" y="5"/>
                    </a:lnTo>
                    <a:lnTo>
                      <a:pt x="598" y="2"/>
                    </a:lnTo>
                    <a:lnTo>
                      <a:pt x="595" y="2"/>
                    </a:lnTo>
                    <a:lnTo>
                      <a:pt x="593" y="1"/>
                    </a:lnTo>
                    <a:lnTo>
                      <a:pt x="589" y="1"/>
                    </a:lnTo>
                    <a:lnTo>
                      <a:pt x="587" y="0"/>
                    </a:lnTo>
                    <a:lnTo>
                      <a:pt x="584" y="0"/>
                    </a:lnTo>
                    <a:lnTo>
                      <a:pt x="580" y="0"/>
                    </a:lnTo>
                    <a:lnTo>
                      <a:pt x="577" y="1"/>
                    </a:lnTo>
                    <a:lnTo>
                      <a:pt x="571" y="1"/>
                    </a:lnTo>
                    <a:lnTo>
                      <a:pt x="569" y="1"/>
                    </a:lnTo>
                    <a:lnTo>
                      <a:pt x="566" y="0"/>
                    </a:lnTo>
                    <a:lnTo>
                      <a:pt x="563" y="0"/>
                    </a:lnTo>
                    <a:lnTo>
                      <a:pt x="560" y="1"/>
                    </a:lnTo>
                    <a:lnTo>
                      <a:pt x="557" y="0"/>
                    </a:lnTo>
                    <a:lnTo>
                      <a:pt x="554" y="0"/>
                    </a:lnTo>
                    <a:lnTo>
                      <a:pt x="551" y="0"/>
                    </a:lnTo>
                    <a:lnTo>
                      <a:pt x="547" y="0"/>
                    </a:lnTo>
                    <a:lnTo>
                      <a:pt x="545" y="0"/>
                    </a:lnTo>
                    <a:lnTo>
                      <a:pt x="542" y="0"/>
                    </a:lnTo>
                    <a:lnTo>
                      <a:pt x="540" y="0"/>
                    </a:lnTo>
                    <a:lnTo>
                      <a:pt x="536" y="0"/>
                    </a:lnTo>
                    <a:lnTo>
                      <a:pt x="536" y="4"/>
                    </a:lnTo>
                    <a:lnTo>
                      <a:pt x="538" y="5"/>
                    </a:lnTo>
                    <a:lnTo>
                      <a:pt x="536" y="5"/>
                    </a:lnTo>
                    <a:lnTo>
                      <a:pt x="533" y="4"/>
                    </a:lnTo>
                    <a:lnTo>
                      <a:pt x="530" y="0"/>
                    </a:lnTo>
                    <a:lnTo>
                      <a:pt x="527" y="2"/>
                    </a:lnTo>
                    <a:lnTo>
                      <a:pt x="525" y="0"/>
                    </a:lnTo>
                    <a:lnTo>
                      <a:pt x="521" y="1"/>
                    </a:lnTo>
                    <a:lnTo>
                      <a:pt x="519" y="2"/>
                    </a:lnTo>
                    <a:lnTo>
                      <a:pt x="516" y="2"/>
                    </a:lnTo>
                    <a:lnTo>
                      <a:pt x="510" y="2"/>
                    </a:lnTo>
                    <a:lnTo>
                      <a:pt x="507" y="2"/>
                    </a:lnTo>
                    <a:lnTo>
                      <a:pt x="503" y="2"/>
                    </a:lnTo>
                    <a:lnTo>
                      <a:pt x="500" y="2"/>
                    </a:lnTo>
                    <a:lnTo>
                      <a:pt x="498" y="2"/>
                    </a:lnTo>
                    <a:lnTo>
                      <a:pt x="500" y="6"/>
                    </a:lnTo>
                    <a:lnTo>
                      <a:pt x="502" y="8"/>
                    </a:lnTo>
                    <a:lnTo>
                      <a:pt x="499" y="8"/>
                    </a:lnTo>
                    <a:lnTo>
                      <a:pt x="497" y="6"/>
                    </a:lnTo>
                    <a:lnTo>
                      <a:pt x="493" y="6"/>
                    </a:lnTo>
                    <a:lnTo>
                      <a:pt x="491" y="6"/>
                    </a:lnTo>
                    <a:lnTo>
                      <a:pt x="487" y="5"/>
                    </a:lnTo>
                    <a:lnTo>
                      <a:pt x="485" y="4"/>
                    </a:lnTo>
                    <a:lnTo>
                      <a:pt x="482" y="5"/>
                    </a:lnTo>
                    <a:lnTo>
                      <a:pt x="481" y="7"/>
                    </a:lnTo>
                    <a:lnTo>
                      <a:pt x="484" y="8"/>
                    </a:lnTo>
                    <a:lnTo>
                      <a:pt x="481" y="8"/>
                    </a:lnTo>
                    <a:lnTo>
                      <a:pt x="477" y="8"/>
                    </a:lnTo>
                    <a:lnTo>
                      <a:pt x="475" y="7"/>
                    </a:lnTo>
                    <a:lnTo>
                      <a:pt x="473" y="7"/>
                    </a:lnTo>
                    <a:lnTo>
                      <a:pt x="469" y="6"/>
                    </a:lnTo>
                    <a:lnTo>
                      <a:pt x="469" y="9"/>
                    </a:lnTo>
                    <a:lnTo>
                      <a:pt x="470" y="12"/>
                    </a:lnTo>
                    <a:lnTo>
                      <a:pt x="473" y="15"/>
                    </a:lnTo>
                    <a:lnTo>
                      <a:pt x="476" y="15"/>
                    </a:lnTo>
                    <a:lnTo>
                      <a:pt x="478" y="14"/>
                    </a:lnTo>
                    <a:lnTo>
                      <a:pt x="482" y="15"/>
                    </a:lnTo>
                    <a:lnTo>
                      <a:pt x="485" y="15"/>
                    </a:lnTo>
                    <a:lnTo>
                      <a:pt x="489" y="16"/>
                    </a:lnTo>
                    <a:lnTo>
                      <a:pt x="492" y="16"/>
                    </a:lnTo>
                    <a:lnTo>
                      <a:pt x="494" y="16"/>
                    </a:lnTo>
                    <a:lnTo>
                      <a:pt x="492" y="17"/>
                    </a:lnTo>
                    <a:lnTo>
                      <a:pt x="489" y="17"/>
                    </a:lnTo>
                    <a:lnTo>
                      <a:pt x="483" y="17"/>
                    </a:lnTo>
                    <a:lnTo>
                      <a:pt x="480" y="17"/>
                    </a:lnTo>
                    <a:lnTo>
                      <a:pt x="477" y="17"/>
                    </a:lnTo>
                    <a:lnTo>
                      <a:pt x="472" y="18"/>
                    </a:lnTo>
                    <a:lnTo>
                      <a:pt x="474" y="21"/>
                    </a:lnTo>
                    <a:lnTo>
                      <a:pt x="477" y="21"/>
                    </a:lnTo>
                    <a:lnTo>
                      <a:pt x="481" y="19"/>
                    </a:lnTo>
                    <a:lnTo>
                      <a:pt x="483" y="19"/>
                    </a:lnTo>
                    <a:lnTo>
                      <a:pt x="489" y="21"/>
                    </a:lnTo>
                    <a:lnTo>
                      <a:pt x="485" y="21"/>
                    </a:lnTo>
                    <a:lnTo>
                      <a:pt x="483" y="21"/>
                    </a:lnTo>
                    <a:lnTo>
                      <a:pt x="480" y="21"/>
                    </a:lnTo>
                    <a:lnTo>
                      <a:pt x="476" y="21"/>
                    </a:lnTo>
                    <a:lnTo>
                      <a:pt x="474" y="21"/>
                    </a:lnTo>
                    <a:lnTo>
                      <a:pt x="468" y="21"/>
                    </a:lnTo>
                    <a:lnTo>
                      <a:pt x="465" y="22"/>
                    </a:lnTo>
                    <a:lnTo>
                      <a:pt x="468" y="23"/>
                    </a:lnTo>
                    <a:lnTo>
                      <a:pt x="469" y="26"/>
                    </a:lnTo>
                    <a:lnTo>
                      <a:pt x="473" y="27"/>
                    </a:lnTo>
                    <a:lnTo>
                      <a:pt x="469" y="29"/>
                    </a:lnTo>
                    <a:lnTo>
                      <a:pt x="467" y="26"/>
                    </a:lnTo>
                    <a:lnTo>
                      <a:pt x="464" y="24"/>
                    </a:lnTo>
                    <a:lnTo>
                      <a:pt x="461" y="23"/>
                    </a:lnTo>
                    <a:lnTo>
                      <a:pt x="458" y="23"/>
                    </a:lnTo>
                    <a:lnTo>
                      <a:pt x="455" y="23"/>
                    </a:lnTo>
                    <a:lnTo>
                      <a:pt x="452" y="23"/>
                    </a:lnTo>
                    <a:lnTo>
                      <a:pt x="449" y="23"/>
                    </a:lnTo>
                    <a:lnTo>
                      <a:pt x="447" y="23"/>
                    </a:lnTo>
                    <a:lnTo>
                      <a:pt x="443" y="22"/>
                    </a:lnTo>
                    <a:lnTo>
                      <a:pt x="441" y="21"/>
                    </a:lnTo>
                    <a:lnTo>
                      <a:pt x="438" y="19"/>
                    </a:lnTo>
                    <a:lnTo>
                      <a:pt x="434" y="18"/>
                    </a:lnTo>
                    <a:lnTo>
                      <a:pt x="432" y="17"/>
                    </a:lnTo>
                    <a:lnTo>
                      <a:pt x="429" y="17"/>
                    </a:lnTo>
                    <a:lnTo>
                      <a:pt x="426" y="14"/>
                    </a:lnTo>
                    <a:lnTo>
                      <a:pt x="424" y="14"/>
                    </a:lnTo>
                    <a:lnTo>
                      <a:pt x="421" y="14"/>
                    </a:lnTo>
                    <a:lnTo>
                      <a:pt x="417" y="13"/>
                    </a:lnTo>
                    <a:lnTo>
                      <a:pt x="415" y="12"/>
                    </a:lnTo>
                    <a:lnTo>
                      <a:pt x="412" y="12"/>
                    </a:lnTo>
                    <a:lnTo>
                      <a:pt x="409" y="13"/>
                    </a:lnTo>
                    <a:lnTo>
                      <a:pt x="412" y="14"/>
                    </a:lnTo>
                    <a:lnTo>
                      <a:pt x="408" y="14"/>
                    </a:lnTo>
                    <a:lnTo>
                      <a:pt x="406" y="14"/>
                    </a:lnTo>
                    <a:lnTo>
                      <a:pt x="404" y="14"/>
                    </a:lnTo>
                    <a:lnTo>
                      <a:pt x="400" y="14"/>
                    </a:lnTo>
                    <a:lnTo>
                      <a:pt x="404" y="15"/>
                    </a:lnTo>
                    <a:lnTo>
                      <a:pt x="406" y="16"/>
                    </a:lnTo>
                    <a:lnTo>
                      <a:pt x="413" y="17"/>
                    </a:lnTo>
                    <a:lnTo>
                      <a:pt x="409" y="17"/>
                    </a:lnTo>
                    <a:lnTo>
                      <a:pt x="406" y="16"/>
                    </a:lnTo>
                    <a:lnTo>
                      <a:pt x="404" y="17"/>
                    </a:lnTo>
                    <a:lnTo>
                      <a:pt x="400" y="17"/>
                    </a:lnTo>
                    <a:lnTo>
                      <a:pt x="398" y="16"/>
                    </a:lnTo>
                    <a:lnTo>
                      <a:pt x="395" y="16"/>
                    </a:lnTo>
                    <a:lnTo>
                      <a:pt x="389" y="16"/>
                    </a:lnTo>
                    <a:lnTo>
                      <a:pt x="386" y="17"/>
                    </a:lnTo>
                    <a:lnTo>
                      <a:pt x="383" y="16"/>
                    </a:lnTo>
                    <a:lnTo>
                      <a:pt x="380" y="17"/>
                    </a:lnTo>
                    <a:lnTo>
                      <a:pt x="378" y="17"/>
                    </a:lnTo>
                    <a:lnTo>
                      <a:pt x="380" y="18"/>
                    </a:lnTo>
                    <a:lnTo>
                      <a:pt x="383" y="19"/>
                    </a:lnTo>
                    <a:lnTo>
                      <a:pt x="386" y="22"/>
                    </a:lnTo>
                    <a:lnTo>
                      <a:pt x="389" y="22"/>
                    </a:lnTo>
                    <a:lnTo>
                      <a:pt x="391" y="23"/>
                    </a:lnTo>
                    <a:lnTo>
                      <a:pt x="395" y="23"/>
                    </a:lnTo>
                    <a:lnTo>
                      <a:pt x="397" y="24"/>
                    </a:lnTo>
                    <a:lnTo>
                      <a:pt x="400" y="24"/>
                    </a:lnTo>
                    <a:lnTo>
                      <a:pt x="406" y="24"/>
                    </a:lnTo>
                    <a:lnTo>
                      <a:pt x="401" y="24"/>
                    </a:lnTo>
                    <a:lnTo>
                      <a:pt x="398" y="24"/>
                    </a:lnTo>
                    <a:lnTo>
                      <a:pt x="395" y="24"/>
                    </a:lnTo>
                    <a:lnTo>
                      <a:pt x="391" y="23"/>
                    </a:lnTo>
                    <a:lnTo>
                      <a:pt x="389" y="23"/>
                    </a:lnTo>
                    <a:lnTo>
                      <a:pt x="383" y="24"/>
                    </a:lnTo>
                    <a:lnTo>
                      <a:pt x="383" y="24"/>
                    </a:lnTo>
                    <a:lnTo>
                      <a:pt x="382" y="22"/>
                    </a:lnTo>
                    <a:lnTo>
                      <a:pt x="379" y="21"/>
                    </a:lnTo>
                    <a:lnTo>
                      <a:pt x="375" y="21"/>
                    </a:lnTo>
                    <a:lnTo>
                      <a:pt x="373" y="18"/>
                    </a:lnTo>
                    <a:lnTo>
                      <a:pt x="370" y="18"/>
                    </a:lnTo>
                    <a:lnTo>
                      <a:pt x="367" y="19"/>
                    </a:lnTo>
                    <a:lnTo>
                      <a:pt x="364" y="19"/>
                    </a:lnTo>
                    <a:lnTo>
                      <a:pt x="362" y="22"/>
                    </a:lnTo>
                    <a:lnTo>
                      <a:pt x="364" y="22"/>
                    </a:lnTo>
                    <a:lnTo>
                      <a:pt x="367" y="22"/>
                    </a:lnTo>
                    <a:lnTo>
                      <a:pt x="371" y="24"/>
                    </a:lnTo>
                    <a:lnTo>
                      <a:pt x="367" y="23"/>
                    </a:lnTo>
                    <a:lnTo>
                      <a:pt x="364" y="23"/>
                    </a:lnTo>
                    <a:lnTo>
                      <a:pt x="361" y="24"/>
                    </a:lnTo>
                    <a:lnTo>
                      <a:pt x="364" y="25"/>
                    </a:lnTo>
                    <a:lnTo>
                      <a:pt x="366" y="26"/>
                    </a:lnTo>
                    <a:lnTo>
                      <a:pt x="370" y="26"/>
                    </a:lnTo>
                    <a:lnTo>
                      <a:pt x="373" y="26"/>
                    </a:lnTo>
                    <a:lnTo>
                      <a:pt x="375" y="25"/>
                    </a:lnTo>
                    <a:lnTo>
                      <a:pt x="379" y="26"/>
                    </a:lnTo>
                    <a:lnTo>
                      <a:pt x="381" y="26"/>
                    </a:lnTo>
                    <a:lnTo>
                      <a:pt x="384" y="24"/>
                    </a:lnTo>
                    <a:lnTo>
                      <a:pt x="387" y="25"/>
                    </a:lnTo>
                    <a:lnTo>
                      <a:pt x="390" y="26"/>
                    </a:lnTo>
                    <a:lnTo>
                      <a:pt x="396" y="26"/>
                    </a:lnTo>
                    <a:lnTo>
                      <a:pt x="399" y="26"/>
                    </a:lnTo>
                    <a:lnTo>
                      <a:pt x="401" y="26"/>
                    </a:lnTo>
                    <a:lnTo>
                      <a:pt x="405" y="26"/>
                    </a:lnTo>
                    <a:lnTo>
                      <a:pt x="410" y="26"/>
                    </a:lnTo>
                    <a:lnTo>
                      <a:pt x="413" y="26"/>
                    </a:lnTo>
                    <a:lnTo>
                      <a:pt x="423" y="26"/>
                    </a:lnTo>
                    <a:lnTo>
                      <a:pt x="425" y="26"/>
                    </a:lnTo>
                    <a:lnTo>
                      <a:pt x="429" y="27"/>
                    </a:lnTo>
                    <a:lnTo>
                      <a:pt x="438" y="29"/>
                    </a:lnTo>
                    <a:lnTo>
                      <a:pt x="441" y="30"/>
                    </a:lnTo>
                    <a:lnTo>
                      <a:pt x="443" y="31"/>
                    </a:lnTo>
                    <a:lnTo>
                      <a:pt x="447" y="31"/>
                    </a:lnTo>
                    <a:lnTo>
                      <a:pt x="450" y="31"/>
                    </a:lnTo>
                    <a:lnTo>
                      <a:pt x="453" y="32"/>
                    </a:lnTo>
                    <a:lnTo>
                      <a:pt x="455" y="34"/>
                    </a:lnTo>
                    <a:lnTo>
                      <a:pt x="453" y="38"/>
                    </a:lnTo>
                    <a:lnTo>
                      <a:pt x="455" y="40"/>
                    </a:lnTo>
                    <a:lnTo>
                      <a:pt x="455" y="43"/>
                    </a:lnTo>
                    <a:lnTo>
                      <a:pt x="451" y="41"/>
                    </a:lnTo>
                    <a:lnTo>
                      <a:pt x="451" y="38"/>
                    </a:lnTo>
                    <a:lnTo>
                      <a:pt x="449" y="35"/>
                    </a:lnTo>
                    <a:lnTo>
                      <a:pt x="446" y="35"/>
                    </a:lnTo>
                    <a:lnTo>
                      <a:pt x="443" y="34"/>
                    </a:lnTo>
                    <a:lnTo>
                      <a:pt x="440" y="33"/>
                    </a:lnTo>
                    <a:lnTo>
                      <a:pt x="438" y="32"/>
                    </a:lnTo>
                    <a:lnTo>
                      <a:pt x="434" y="31"/>
                    </a:lnTo>
                    <a:lnTo>
                      <a:pt x="432" y="31"/>
                    </a:lnTo>
                    <a:lnTo>
                      <a:pt x="429" y="32"/>
                    </a:lnTo>
                    <a:lnTo>
                      <a:pt x="431" y="34"/>
                    </a:lnTo>
                    <a:lnTo>
                      <a:pt x="432" y="38"/>
                    </a:lnTo>
                    <a:lnTo>
                      <a:pt x="429" y="39"/>
                    </a:lnTo>
                    <a:lnTo>
                      <a:pt x="427" y="35"/>
                    </a:lnTo>
                    <a:lnTo>
                      <a:pt x="427" y="33"/>
                    </a:lnTo>
                    <a:lnTo>
                      <a:pt x="425" y="32"/>
                    </a:lnTo>
                    <a:lnTo>
                      <a:pt x="423" y="30"/>
                    </a:lnTo>
                    <a:lnTo>
                      <a:pt x="419" y="29"/>
                    </a:lnTo>
                    <a:lnTo>
                      <a:pt x="417" y="29"/>
                    </a:lnTo>
                    <a:lnTo>
                      <a:pt x="414" y="29"/>
                    </a:lnTo>
                    <a:lnTo>
                      <a:pt x="412" y="29"/>
                    </a:lnTo>
                    <a:lnTo>
                      <a:pt x="402" y="29"/>
                    </a:lnTo>
                    <a:lnTo>
                      <a:pt x="399" y="29"/>
                    </a:lnTo>
                    <a:lnTo>
                      <a:pt x="397" y="30"/>
                    </a:lnTo>
                    <a:lnTo>
                      <a:pt x="391" y="30"/>
                    </a:lnTo>
                    <a:lnTo>
                      <a:pt x="388" y="29"/>
                    </a:lnTo>
                    <a:lnTo>
                      <a:pt x="384" y="29"/>
                    </a:lnTo>
                    <a:lnTo>
                      <a:pt x="382" y="29"/>
                    </a:lnTo>
                    <a:lnTo>
                      <a:pt x="379" y="29"/>
                    </a:lnTo>
                    <a:lnTo>
                      <a:pt x="375" y="31"/>
                    </a:lnTo>
                    <a:lnTo>
                      <a:pt x="379" y="32"/>
                    </a:lnTo>
                    <a:lnTo>
                      <a:pt x="381" y="33"/>
                    </a:lnTo>
                    <a:lnTo>
                      <a:pt x="384" y="34"/>
                    </a:lnTo>
                    <a:lnTo>
                      <a:pt x="387" y="35"/>
                    </a:lnTo>
                    <a:lnTo>
                      <a:pt x="390" y="36"/>
                    </a:lnTo>
                    <a:lnTo>
                      <a:pt x="392" y="39"/>
                    </a:lnTo>
                    <a:lnTo>
                      <a:pt x="396" y="40"/>
                    </a:lnTo>
                    <a:lnTo>
                      <a:pt x="398" y="40"/>
                    </a:lnTo>
                    <a:lnTo>
                      <a:pt x="401" y="41"/>
                    </a:lnTo>
                    <a:lnTo>
                      <a:pt x="400" y="44"/>
                    </a:lnTo>
                    <a:lnTo>
                      <a:pt x="404" y="44"/>
                    </a:lnTo>
                    <a:lnTo>
                      <a:pt x="406" y="45"/>
                    </a:lnTo>
                    <a:lnTo>
                      <a:pt x="409" y="45"/>
                    </a:lnTo>
                    <a:lnTo>
                      <a:pt x="413" y="45"/>
                    </a:lnTo>
                    <a:lnTo>
                      <a:pt x="415" y="45"/>
                    </a:lnTo>
                    <a:lnTo>
                      <a:pt x="418" y="47"/>
                    </a:lnTo>
                    <a:lnTo>
                      <a:pt x="421" y="48"/>
                    </a:lnTo>
                    <a:lnTo>
                      <a:pt x="417" y="48"/>
                    </a:lnTo>
                    <a:lnTo>
                      <a:pt x="415" y="47"/>
                    </a:lnTo>
                    <a:lnTo>
                      <a:pt x="412" y="47"/>
                    </a:lnTo>
                    <a:lnTo>
                      <a:pt x="408" y="47"/>
                    </a:lnTo>
                    <a:lnTo>
                      <a:pt x="406" y="47"/>
                    </a:lnTo>
                    <a:lnTo>
                      <a:pt x="402" y="45"/>
                    </a:lnTo>
                    <a:lnTo>
                      <a:pt x="400" y="45"/>
                    </a:lnTo>
                    <a:lnTo>
                      <a:pt x="397" y="44"/>
                    </a:lnTo>
                    <a:lnTo>
                      <a:pt x="393" y="44"/>
                    </a:lnTo>
                    <a:lnTo>
                      <a:pt x="391" y="45"/>
                    </a:lnTo>
                    <a:lnTo>
                      <a:pt x="388" y="47"/>
                    </a:lnTo>
                    <a:lnTo>
                      <a:pt x="389" y="49"/>
                    </a:lnTo>
                    <a:lnTo>
                      <a:pt x="391" y="52"/>
                    </a:lnTo>
                    <a:lnTo>
                      <a:pt x="389" y="53"/>
                    </a:lnTo>
                    <a:lnTo>
                      <a:pt x="386" y="56"/>
                    </a:lnTo>
                    <a:lnTo>
                      <a:pt x="388" y="56"/>
                    </a:lnTo>
                    <a:lnTo>
                      <a:pt x="391" y="57"/>
                    </a:lnTo>
                    <a:lnTo>
                      <a:pt x="389" y="57"/>
                    </a:lnTo>
                    <a:lnTo>
                      <a:pt x="391" y="59"/>
                    </a:lnTo>
                    <a:lnTo>
                      <a:pt x="393" y="61"/>
                    </a:lnTo>
                    <a:lnTo>
                      <a:pt x="391" y="61"/>
                    </a:lnTo>
                    <a:lnTo>
                      <a:pt x="388" y="62"/>
                    </a:lnTo>
                    <a:lnTo>
                      <a:pt x="386" y="62"/>
                    </a:lnTo>
                    <a:lnTo>
                      <a:pt x="382" y="61"/>
                    </a:lnTo>
                    <a:lnTo>
                      <a:pt x="380" y="60"/>
                    </a:lnTo>
                    <a:lnTo>
                      <a:pt x="376" y="58"/>
                    </a:lnTo>
                    <a:lnTo>
                      <a:pt x="373" y="57"/>
                    </a:lnTo>
                    <a:lnTo>
                      <a:pt x="371" y="57"/>
                    </a:lnTo>
                    <a:lnTo>
                      <a:pt x="370" y="53"/>
                    </a:lnTo>
                    <a:lnTo>
                      <a:pt x="366" y="52"/>
                    </a:lnTo>
                    <a:lnTo>
                      <a:pt x="364" y="51"/>
                    </a:lnTo>
                    <a:lnTo>
                      <a:pt x="361" y="51"/>
                    </a:lnTo>
                    <a:lnTo>
                      <a:pt x="358" y="50"/>
                    </a:lnTo>
                    <a:lnTo>
                      <a:pt x="355" y="50"/>
                    </a:lnTo>
                    <a:lnTo>
                      <a:pt x="353" y="49"/>
                    </a:lnTo>
                    <a:lnTo>
                      <a:pt x="347" y="47"/>
                    </a:lnTo>
                    <a:lnTo>
                      <a:pt x="344" y="45"/>
                    </a:lnTo>
                    <a:lnTo>
                      <a:pt x="341" y="44"/>
                    </a:lnTo>
                    <a:lnTo>
                      <a:pt x="338" y="44"/>
                    </a:lnTo>
                    <a:lnTo>
                      <a:pt x="335" y="44"/>
                    </a:lnTo>
                    <a:lnTo>
                      <a:pt x="332" y="42"/>
                    </a:lnTo>
                    <a:lnTo>
                      <a:pt x="329" y="40"/>
                    </a:lnTo>
                    <a:lnTo>
                      <a:pt x="327" y="39"/>
                    </a:lnTo>
                    <a:lnTo>
                      <a:pt x="321" y="38"/>
                    </a:lnTo>
                    <a:lnTo>
                      <a:pt x="318" y="38"/>
                    </a:lnTo>
                    <a:lnTo>
                      <a:pt x="314" y="38"/>
                    </a:lnTo>
                    <a:lnTo>
                      <a:pt x="312" y="38"/>
                    </a:lnTo>
                    <a:lnTo>
                      <a:pt x="308" y="38"/>
                    </a:lnTo>
                    <a:lnTo>
                      <a:pt x="303" y="38"/>
                    </a:lnTo>
                    <a:lnTo>
                      <a:pt x="302" y="41"/>
                    </a:lnTo>
                    <a:lnTo>
                      <a:pt x="304" y="43"/>
                    </a:lnTo>
                    <a:lnTo>
                      <a:pt x="305" y="45"/>
                    </a:lnTo>
                    <a:lnTo>
                      <a:pt x="306" y="49"/>
                    </a:lnTo>
                    <a:lnTo>
                      <a:pt x="308" y="50"/>
                    </a:lnTo>
                    <a:lnTo>
                      <a:pt x="312" y="51"/>
                    </a:lnTo>
                    <a:lnTo>
                      <a:pt x="314" y="53"/>
                    </a:lnTo>
                    <a:lnTo>
                      <a:pt x="316" y="55"/>
                    </a:lnTo>
                    <a:lnTo>
                      <a:pt x="320" y="56"/>
                    </a:lnTo>
                    <a:lnTo>
                      <a:pt x="322" y="57"/>
                    </a:lnTo>
                    <a:lnTo>
                      <a:pt x="320" y="59"/>
                    </a:lnTo>
                    <a:lnTo>
                      <a:pt x="316" y="59"/>
                    </a:lnTo>
                    <a:lnTo>
                      <a:pt x="314" y="58"/>
                    </a:lnTo>
                    <a:lnTo>
                      <a:pt x="311" y="58"/>
                    </a:lnTo>
                    <a:lnTo>
                      <a:pt x="308" y="58"/>
                    </a:lnTo>
                    <a:lnTo>
                      <a:pt x="305" y="57"/>
                    </a:lnTo>
                    <a:lnTo>
                      <a:pt x="302" y="57"/>
                    </a:lnTo>
                    <a:lnTo>
                      <a:pt x="304" y="59"/>
                    </a:lnTo>
                    <a:lnTo>
                      <a:pt x="306" y="60"/>
                    </a:lnTo>
                    <a:lnTo>
                      <a:pt x="310" y="62"/>
                    </a:lnTo>
                    <a:lnTo>
                      <a:pt x="312" y="62"/>
                    </a:lnTo>
                    <a:lnTo>
                      <a:pt x="315" y="64"/>
                    </a:lnTo>
                    <a:lnTo>
                      <a:pt x="318" y="66"/>
                    </a:lnTo>
                    <a:lnTo>
                      <a:pt x="321" y="67"/>
                    </a:lnTo>
                    <a:lnTo>
                      <a:pt x="319" y="68"/>
                    </a:lnTo>
                    <a:lnTo>
                      <a:pt x="315" y="67"/>
                    </a:lnTo>
                    <a:lnTo>
                      <a:pt x="313" y="66"/>
                    </a:lnTo>
                    <a:lnTo>
                      <a:pt x="311" y="64"/>
                    </a:lnTo>
                    <a:lnTo>
                      <a:pt x="308" y="64"/>
                    </a:lnTo>
                    <a:lnTo>
                      <a:pt x="305" y="62"/>
                    </a:lnTo>
                    <a:lnTo>
                      <a:pt x="303" y="60"/>
                    </a:lnTo>
                    <a:lnTo>
                      <a:pt x="299" y="59"/>
                    </a:lnTo>
                    <a:lnTo>
                      <a:pt x="297" y="58"/>
                    </a:lnTo>
                    <a:lnTo>
                      <a:pt x="290" y="58"/>
                    </a:lnTo>
                    <a:lnTo>
                      <a:pt x="288" y="57"/>
                    </a:lnTo>
                    <a:lnTo>
                      <a:pt x="285" y="56"/>
                    </a:lnTo>
                    <a:lnTo>
                      <a:pt x="281" y="55"/>
                    </a:lnTo>
                    <a:lnTo>
                      <a:pt x="279" y="55"/>
                    </a:lnTo>
                    <a:lnTo>
                      <a:pt x="277" y="53"/>
                    </a:lnTo>
                    <a:lnTo>
                      <a:pt x="276" y="57"/>
                    </a:lnTo>
                    <a:lnTo>
                      <a:pt x="276" y="59"/>
                    </a:lnTo>
                    <a:lnTo>
                      <a:pt x="273" y="61"/>
                    </a:lnTo>
                    <a:lnTo>
                      <a:pt x="271" y="64"/>
                    </a:lnTo>
                    <a:lnTo>
                      <a:pt x="268" y="66"/>
                    </a:lnTo>
                    <a:lnTo>
                      <a:pt x="268" y="68"/>
                    </a:lnTo>
                    <a:lnTo>
                      <a:pt x="268" y="70"/>
                    </a:lnTo>
                    <a:lnTo>
                      <a:pt x="265" y="70"/>
                    </a:lnTo>
                    <a:lnTo>
                      <a:pt x="264" y="68"/>
                    </a:lnTo>
                    <a:lnTo>
                      <a:pt x="263" y="65"/>
                    </a:lnTo>
                    <a:lnTo>
                      <a:pt x="265" y="62"/>
                    </a:lnTo>
                    <a:lnTo>
                      <a:pt x="268" y="59"/>
                    </a:lnTo>
                    <a:lnTo>
                      <a:pt x="268" y="57"/>
                    </a:lnTo>
                    <a:lnTo>
                      <a:pt x="267" y="53"/>
                    </a:lnTo>
                    <a:lnTo>
                      <a:pt x="268" y="51"/>
                    </a:lnTo>
                    <a:lnTo>
                      <a:pt x="264" y="49"/>
                    </a:lnTo>
                    <a:lnTo>
                      <a:pt x="262" y="45"/>
                    </a:lnTo>
                    <a:lnTo>
                      <a:pt x="259" y="44"/>
                    </a:lnTo>
                    <a:lnTo>
                      <a:pt x="256" y="43"/>
                    </a:lnTo>
                    <a:lnTo>
                      <a:pt x="253" y="43"/>
                    </a:lnTo>
                    <a:lnTo>
                      <a:pt x="251" y="43"/>
                    </a:lnTo>
                    <a:lnTo>
                      <a:pt x="247" y="44"/>
                    </a:lnTo>
                    <a:lnTo>
                      <a:pt x="245" y="44"/>
                    </a:lnTo>
                    <a:lnTo>
                      <a:pt x="242" y="44"/>
                    </a:lnTo>
                    <a:lnTo>
                      <a:pt x="239" y="45"/>
                    </a:lnTo>
                    <a:lnTo>
                      <a:pt x="242" y="45"/>
                    </a:lnTo>
                    <a:lnTo>
                      <a:pt x="245" y="47"/>
                    </a:lnTo>
                    <a:lnTo>
                      <a:pt x="246" y="49"/>
                    </a:lnTo>
                    <a:lnTo>
                      <a:pt x="243" y="49"/>
                    </a:lnTo>
                    <a:lnTo>
                      <a:pt x="241" y="47"/>
                    </a:lnTo>
                    <a:lnTo>
                      <a:pt x="238" y="47"/>
                    </a:lnTo>
                    <a:lnTo>
                      <a:pt x="235" y="45"/>
                    </a:lnTo>
                    <a:lnTo>
                      <a:pt x="233" y="47"/>
                    </a:lnTo>
                    <a:lnTo>
                      <a:pt x="230" y="49"/>
                    </a:lnTo>
                    <a:lnTo>
                      <a:pt x="228" y="48"/>
                    </a:lnTo>
                    <a:lnTo>
                      <a:pt x="225" y="48"/>
                    </a:lnTo>
                    <a:lnTo>
                      <a:pt x="222" y="48"/>
                    </a:lnTo>
                    <a:lnTo>
                      <a:pt x="219" y="49"/>
                    </a:lnTo>
                    <a:lnTo>
                      <a:pt x="216" y="49"/>
                    </a:lnTo>
                    <a:lnTo>
                      <a:pt x="213" y="49"/>
                    </a:lnTo>
                    <a:lnTo>
                      <a:pt x="210" y="50"/>
                    </a:lnTo>
                    <a:lnTo>
                      <a:pt x="208" y="50"/>
                    </a:lnTo>
                    <a:lnTo>
                      <a:pt x="204" y="50"/>
                    </a:lnTo>
                    <a:lnTo>
                      <a:pt x="202" y="51"/>
                    </a:lnTo>
                    <a:lnTo>
                      <a:pt x="199" y="51"/>
                    </a:lnTo>
                    <a:lnTo>
                      <a:pt x="196" y="52"/>
                    </a:lnTo>
                    <a:lnTo>
                      <a:pt x="193" y="53"/>
                    </a:lnTo>
                    <a:lnTo>
                      <a:pt x="187" y="55"/>
                    </a:lnTo>
                    <a:lnTo>
                      <a:pt x="191" y="57"/>
                    </a:lnTo>
                    <a:lnTo>
                      <a:pt x="193" y="57"/>
                    </a:lnTo>
                    <a:lnTo>
                      <a:pt x="195" y="58"/>
                    </a:lnTo>
                    <a:lnTo>
                      <a:pt x="199" y="59"/>
                    </a:lnTo>
                    <a:lnTo>
                      <a:pt x="201" y="61"/>
                    </a:lnTo>
                    <a:lnTo>
                      <a:pt x="203" y="65"/>
                    </a:lnTo>
                    <a:lnTo>
                      <a:pt x="207" y="66"/>
                    </a:lnTo>
                    <a:lnTo>
                      <a:pt x="209" y="66"/>
                    </a:lnTo>
                    <a:lnTo>
                      <a:pt x="212" y="68"/>
                    </a:lnTo>
                    <a:lnTo>
                      <a:pt x="216" y="69"/>
                    </a:lnTo>
                    <a:lnTo>
                      <a:pt x="218" y="72"/>
                    </a:lnTo>
                    <a:lnTo>
                      <a:pt x="221" y="74"/>
                    </a:lnTo>
                    <a:lnTo>
                      <a:pt x="224" y="75"/>
                    </a:lnTo>
                    <a:lnTo>
                      <a:pt x="227" y="76"/>
                    </a:lnTo>
                    <a:lnTo>
                      <a:pt x="224" y="75"/>
                    </a:lnTo>
                    <a:lnTo>
                      <a:pt x="218" y="74"/>
                    </a:lnTo>
                    <a:lnTo>
                      <a:pt x="216" y="72"/>
                    </a:lnTo>
                    <a:lnTo>
                      <a:pt x="212" y="70"/>
                    </a:lnTo>
                    <a:lnTo>
                      <a:pt x="210" y="68"/>
                    </a:lnTo>
                    <a:lnTo>
                      <a:pt x="207" y="68"/>
                    </a:lnTo>
                    <a:lnTo>
                      <a:pt x="204" y="67"/>
                    </a:lnTo>
                    <a:lnTo>
                      <a:pt x="201" y="67"/>
                    </a:lnTo>
                    <a:lnTo>
                      <a:pt x="199" y="66"/>
                    </a:lnTo>
                    <a:lnTo>
                      <a:pt x="196" y="64"/>
                    </a:lnTo>
                    <a:lnTo>
                      <a:pt x="195" y="60"/>
                    </a:lnTo>
                    <a:lnTo>
                      <a:pt x="193" y="59"/>
                    </a:lnTo>
                    <a:lnTo>
                      <a:pt x="186" y="58"/>
                    </a:lnTo>
                    <a:lnTo>
                      <a:pt x="184" y="58"/>
                    </a:lnTo>
                    <a:lnTo>
                      <a:pt x="180" y="57"/>
                    </a:lnTo>
                    <a:lnTo>
                      <a:pt x="178" y="57"/>
                    </a:lnTo>
                    <a:lnTo>
                      <a:pt x="176" y="57"/>
                    </a:lnTo>
                    <a:lnTo>
                      <a:pt x="174" y="58"/>
                    </a:lnTo>
                    <a:lnTo>
                      <a:pt x="170" y="58"/>
                    </a:lnTo>
                    <a:lnTo>
                      <a:pt x="168" y="59"/>
                    </a:lnTo>
                    <a:lnTo>
                      <a:pt x="165" y="60"/>
                    </a:lnTo>
                    <a:lnTo>
                      <a:pt x="162" y="61"/>
                    </a:lnTo>
                    <a:lnTo>
                      <a:pt x="159" y="62"/>
                    </a:lnTo>
                    <a:lnTo>
                      <a:pt x="161" y="66"/>
                    </a:lnTo>
                    <a:lnTo>
                      <a:pt x="163" y="68"/>
                    </a:lnTo>
                    <a:lnTo>
                      <a:pt x="167" y="70"/>
                    </a:lnTo>
                    <a:lnTo>
                      <a:pt x="167" y="73"/>
                    </a:lnTo>
                    <a:lnTo>
                      <a:pt x="165" y="74"/>
                    </a:lnTo>
                    <a:lnTo>
                      <a:pt x="162" y="77"/>
                    </a:lnTo>
                    <a:lnTo>
                      <a:pt x="163" y="79"/>
                    </a:lnTo>
                    <a:lnTo>
                      <a:pt x="166" y="83"/>
                    </a:lnTo>
                    <a:lnTo>
                      <a:pt x="163" y="84"/>
                    </a:lnTo>
                    <a:lnTo>
                      <a:pt x="160" y="84"/>
                    </a:lnTo>
                    <a:lnTo>
                      <a:pt x="158" y="85"/>
                    </a:lnTo>
                    <a:lnTo>
                      <a:pt x="154" y="84"/>
                    </a:lnTo>
                    <a:lnTo>
                      <a:pt x="152" y="83"/>
                    </a:lnTo>
                    <a:lnTo>
                      <a:pt x="149" y="82"/>
                    </a:lnTo>
                    <a:lnTo>
                      <a:pt x="147" y="81"/>
                    </a:lnTo>
                    <a:lnTo>
                      <a:pt x="143" y="81"/>
                    </a:lnTo>
                    <a:lnTo>
                      <a:pt x="140" y="81"/>
                    </a:lnTo>
                    <a:lnTo>
                      <a:pt x="137" y="81"/>
                    </a:lnTo>
                    <a:lnTo>
                      <a:pt x="134" y="82"/>
                    </a:lnTo>
                    <a:lnTo>
                      <a:pt x="133" y="84"/>
                    </a:lnTo>
                    <a:lnTo>
                      <a:pt x="134" y="87"/>
                    </a:lnTo>
                    <a:lnTo>
                      <a:pt x="136" y="90"/>
                    </a:lnTo>
                    <a:lnTo>
                      <a:pt x="139" y="92"/>
                    </a:lnTo>
                    <a:lnTo>
                      <a:pt x="141" y="95"/>
                    </a:lnTo>
                    <a:lnTo>
                      <a:pt x="139" y="94"/>
                    </a:lnTo>
                    <a:lnTo>
                      <a:pt x="136" y="92"/>
                    </a:lnTo>
                    <a:lnTo>
                      <a:pt x="134" y="89"/>
                    </a:lnTo>
                    <a:lnTo>
                      <a:pt x="132" y="86"/>
                    </a:lnTo>
                    <a:lnTo>
                      <a:pt x="131" y="84"/>
                    </a:lnTo>
                    <a:lnTo>
                      <a:pt x="128" y="83"/>
                    </a:lnTo>
                    <a:lnTo>
                      <a:pt x="125" y="85"/>
                    </a:lnTo>
                    <a:lnTo>
                      <a:pt x="123" y="86"/>
                    </a:lnTo>
                    <a:lnTo>
                      <a:pt x="119" y="87"/>
                    </a:lnTo>
                    <a:lnTo>
                      <a:pt x="117" y="87"/>
                    </a:lnTo>
                    <a:lnTo>
                      <a:pt x="114" y="87"/>
                    </a:lnTo>
                    <a:lnTo>
                      <a:pt x="113" y="91"/>
                    </a:lnTo>
                    <a:lnTo>
                      <a:pt x="110" y="92"/>
                    </a:lnTo>
                    <a:lnTo>
                      <a:pt x="109" y="94"/>
                    </a:lnTo>
                    <a:lnTo>
                      <a:pt x="107" y="95"/>
                    </a:lnTo>
                    <a:lnTo>
                      <a:pt x="103" y="96"/>
                    </a:lnTo>
                    <a:lnTo>
                      <a:pt x="101" y="98"/>
                    </a:lnTo>
                    <a:lnTo>
                      <a:pt x="103" y="99"/>
                    </a:lnTo>
                    <a:lnTo>
                      <a:pt x="101" y="99"/>
                    </a:lnTo>
                    <a:lnTo>
                      <a:pt x="98" y="98"/>
                    </a:lnTo>
                    <a:lnTo>
                      <a:pt x="94" y="100"/>
                    </a:lnTo>
                    <a:lnTo>
                      <a:pt x="92" y="101"/>
                    </a:lnTo>
                    <a:lnTo>
                      <a:pt x="89" y="101"/>
                    </a:lnTo>
                    <a:lnTo>
                      <a:pt x="86" y="102"/>
                    </a:lnTo>
                    <a:lnTo>
                      <a:pt x="85" y="106"/>
                    </a:lnTo>
                    <a:lnTo>
                      <a:pt x="82" y="107"/>
                    </a:lnTo>
                    <a:lnTo>
                      <a:pt x="80" y="108"/>
                    </a:lnTo>
                    <a:lnTo>
                      <a:pt x="76" y="109"/>
                    </a:lnTo>
                    <a:lnTo>
                      <a:pt x="76" y="111"/>
                    </a:lnTo>
                    <a:lnTo>
                      <a:pt x="79" y="115"/>
                    </a:lnTo>
                    <a:lnTo>
                      <a:pt x="82" y="116"/>
                    </a:lnTo>
                    <a:lnTo>
                      <a:pt x="84" y="118"/>
                    </a:lnTo>
                    <a:lnTo>
                      <a:pt x="88" y="117"/>
                    </a:lnTo>
                    <a:lnTo>
                      <a:pt x="90" y="117"/>
                    </a:lnTo>
                    <a:lnTo>
                      <a:pt x="93" y="117"/>
                    </a:lnTo>
                    <a:lnTo>
                      <a:pt x="96" y="119"/>
                    </a:lnTo>
                    <a:lnTo>
                      <a:pt x="99" y="119"/>
                    </a:lnTo>
                    <a:lnTo>
                      <a:pt x="101" y="118"/>
                    </a:lnTo>
                    <a:lnTo>
                      <a:pt x="105" y="117"/>
                    </a:lnTo>
                    <a:lnTo>
                      <a:pt x="108" y="117"/>
                    </a:lnTo>
                    <a:lnTo>
                      <a:pt x="110" y="117"/>
                    </a:lnTo>
                    <a:lnTo>
                      <a:pt x="113" y="117"/>
                    </a:lnTo>
                    <a:lnTo>
                      <a:pt x="116" y="117"/>
                    </a:lnTo>
                    <a:lnTo>
                      <a:pt x="119" y="116"/>
                    </a:lnTo>
                    <a:lnTo>
                      <a:pt x="122" y="113"/>
                    </a:lnTo>
                    <a:lnTo>
                      <a:pt x="124" y="115"/>
                    </a:lnTo>
                    <a:lnTo>
                      <a:pt x="127" y="115"/>
                    </a:lnTo>
                    <a:lnTo>
                      <a:pt x="122" y="116"/>
                    </a:lnTo>
                    <a:lnTo>
                      <a:pt x="118" y="117"/>
                    </a:lnTo>
                    <a:lnTo>
                      <a:pt x="113" y="118"/>
                    </a:lnTo>
                    <a:lnTo>
                      <a:pt x="109" y="119"/>
                    </a:lnTo>
                    <a:lnTo>
                      <a:pt x="110" y="122"/>
                    </a:lnTo>
                    <a:lnTo>
                      <a:pt x="110" y="125"/>
                    </a:lnTo>
                    <a:lnTo>
                      <a:pt x="111" y="127"/>
                    </a:lnTo>
                    <a:lnTo>
                      <a:pt x="110" y="130"/>
                    </a:lnTo>
                    <a:lnTo>
                      <a:pt x="113" y="133"/>
                    </a:lnTo>
                    <a:lnTo>
                      <a:pt x="109" y="138"/>
                    </a:lnTo>
                    <a:lnTo>
                      <a:pt x="106" y="139"/>
                    </a:lnTo>
                    <a:lnTo>
                      <a:pt x="103" y="141"/>
                    </a:lnTo>
                    <a:lnTo>
                      <a:pt x="100" y="144"/>
                    </a:lnTo>
                    <a:lnTo>
                      <a:pt x="98" y="146"/>
                    </a:lnTo>
                    <a:lnTo>
                      <a:pt x="94" y="146"/>
                    </a:lnTo>
                    <a:lnTo>
                      <a:pt x="91" y="145"/>
                    </a:lnTo>
                    <a:lnTo>
                      <a:pt x="89" y="145"/>
                    </a:lnTo>
                    <a:lnTo>
                      <a:pt x="86" y="146"/>
                    </a:lnTo>
                    <a:lnTo>
                      <a:pt x="83" y="146"/>
                    </a:lnTo>
                    <a:lnTo>
                      <a:pt x="80" y="146"/>
                    </a:lnTo>
                    <a:lnTo>
                      <a:pt x="77" y="146"/>
                    </a:lnTo>
                    <a:lnTo>
                      <a:pt x="75" y="147"/>
                    </a:lnTo>
                    <a:lnTo>
                      <a:pt x="72" y="149"/>
                    </a:lnTo>
                    <a:lnTo>
                      <a:pt x="69" y="147"/>
                    </a:lnTo>
                    <a:lnTo>
                      <a:pt x="66" y="149"/>
                    </a:lnTo>
                    <a:lnTo>
                      <a:pt x="64" y="149"/>
                    </a:lnTo>
                    <a:lnTo>
                      <a:pt x="60" y="150"/>
                    </a:lnTo>
                    <a:lnTo>
                      <a:pt x="58" y="150"/>
                    </a:lnTo>
                    <a:lnTo>
                      <a:pt x="55" y="151"/>
                    </a:lnTo>
                    <a:lnTo>
                      <a:pt x="57" y="153"/>
                    </a:lnTo>
                    <a:lnTo>
                      <a:pt x="55" y="154"/>
                    </a:lnTo>
                    <a:lnTo>
                      <a:pt x="51" y="155"/>
                    </a:lnTo>
                    <a:lnTo>
                      <a:pt x="49" y="156"/>
                    </a:lnTo>
                    <a:lnTo>
                      <a:pt x="46" y="156"/>
                    </a:lnTo>
                    <a:lnTo>
                      <a:pt x="43" y="156"/>
                    </a:lnTo>
                    <a:lnTo>
                      <a:pt x="42" y="156"/>
                    </a:lnTo>
                    <a:lnTo>
                      <a:pt x="42" y="158"/>
                    </a:lnTo>
                    <a:lnTo>
                      <a:pt x="39" y="158"/>
                    </a:lnTo>
                    <a:lnTo>
                      <a:pt x="37" y="159"/>
                    </a:lnTo>
                    <a:lnTo>
                      <a:pt x="33" y="159"/>
                    </a:lnTo>
                    <a:lnTo>
                      <a:pt x="31" y="162"/>
                    </a:lnTo>
                    <a:lnTo>
                      <a:pt x="29" y="162"/>
                    </a:lnTo>
                    <a:lnTo>
                      <a:pt x="25" y="161"/>
                    </a:lnTo>
                    <a:lnTo>
                      <a:pt x="22" y="161"/>
                    </a:lnTo>
                    <a:lnTo>
                      <a:pt x="20" y="162"/>
                    </a:lnTo>
                    <a:lnTo>
                      <a:pt x="16" y="163"/>
                    </a:lnTo>
                    <a:lnTo>
                      <a:pt x="14" y="163"/>
                    </a:lnTo>
                    <a:lnTo>
                      <a:pt x="11" y="164"/>
                    </a:lnTo>
                    <a:lnTo>
                      <a:pt x="8" y="164"/>
                    </a:lnTo>
                    <a:lnTo>
                      <a:pt x="5" y="167"/>
                    </a:lnTo>
                    <a:lnTo>
                      <a:pt x="4" y="170"/>
                    </a:lnTo>
                    <a:lnTo>
                      <a:pt x="6" y="171"/>
                    </a:lnTo>
                    <a:lnTo>
                      <a:pt x="4" y="173"/>
                    </a:lnTo>
                    <a:lnTo>
                      <a:pt x="0" y="175"/>
                    </a:lnTo>
                    <a:lnTo>
                      <a:pt x="4" y="176"/>
                    </a:lnTo>
                    <a:lnTo>
                      <a:pt x="6" y="178"/>
                    </a:lnTo>
                    <a:lnTo>
                      <a:pt x="9" y="178"/>
                    </a:lnTo>
                    <a:lnTo>
                      <a:pt x="12" y="181"/>
                    </a:lnTo>
                    <a:lnTo>
                      <a:pt x="14" y="183"/>
                    </a:lnTo>
                    <a:lnTo>
                      <a:pt x="17" y="184"/>
                    </a:lnTo>
                    <a:lnTo>
                      <a:pt x="20" y="183"/>
                    </a:lnTo>
                    <a:lnTo>
                      <a:pt x="23" y="184"/>
                    </a:lnTo>
                    <a:lnTo>
                      <a:pt x="25" y="184"/>
                    </a:lnTo>
                    <a:lnTo>
                      <a:pt x="22" y="186"/>
                    </a:lnTo>
                    <a:lnTo>
                      <a:pt x="25" y="187"/>
                    </a:lnTo>
                    <a:lnTo>
                      <a:pt x="31" y="187"/>
                    </a:lnTo>
                    <a:lnTo>
                      <a:pt x="34" y="186"/>
                    </a:lnTo>
                    <a:lnTo>
                      <a:pt x="37" y="184"/>
                    </a:lnTo>
                    <a:lnTo>
                      <a:pt x="40" y="185"/>
                    </a:lnTo>
                    <a:lnTo>
                      <a:pt x="42" y="185"/>
                    </a:lnTo>
                    <a:lnTo>
                      <a:pt x="42" y="185"/>
                    </a:lnTo>
                    <a:lnTo>
                      <a:pt x="39" y="185"/>
                    </a:lnTo>
                    <a:lnTo>
                      <a:pt x="37" y="187"/>
                    </a:lnTo>
                    <a:lnTo>
                      <a:pt x="33" y="188"/>
                    </a:lnTo>
                    <a:lnTo>
                      <a:pt x="37" y="189"/>
                    </a:lnTo>
                    <a:lnTo>
                      <a:pt x="39" y="189"/>
                    </a:lnTo>
                    <a:lnTo>
                      <a:pt x="42" y="189"/>
                    </a:lnTo>
                    <a:lnTo>
                      <a:pt x="45" y="189"/>
                    </a:lnTo>
                    <a:lnTo>
                      <a:pt x="48" y="188"/>
                    </a:lnTo>
                    <a:lnTo>
                      <a:pt x="45" y="190"/>
                    </a:lnTo>
                    <a:lnTo>
                      <a:pt x="39" y="193"/>
                    </a:lnTo>
                    <a:lnTo>
                      <a:pt x="42" y="194"/>
                    </a:lnTo>
                    <a:lnTo>
                      <a:pt x="45" y="194"/>
                    </a:lnTo>
                    <a:lnTo>
                      <a:pt x="48" y="195"/>
                    </a:lnTo>
                    <a:lnTo>
                      <a:pt x="50" y="196"/>
                    </a:lnTo>
                    <a:lnTo>
                      <a:pt x="54" y="196"/>
                    </a:lnTo>
                    <a:lnTo>
                      <a:pt x="56" y="195"/>
                    </a:lnTo>
                    <a:lnTo>
                      <a:pt x="59" y="195"/>
                    </a:lnTo>
                    <a:lnTo>
                      <a:pt x="60" y="193"/>
                    </a:lnTo>
                    <a:lnTo>
                      <a:pt x="64" y="193"/>
                    </a:lnTo>
                    <a:lnTo>
                      <a:pt x="64" y="195"/>
                    </a:lnTo>
                    <a:lnTo>
                      <a:pt x="71" y="194"/>
                    </a:lnTo>
                    <a:lnTo>
                      <a:pt x="73" y="194"/>
                    </a:lnTo>
                    <a:lnTo>
                      <a:pt x="76" y="194"/>
                    </a:lnTo>
                    <a:lnTo>
                      <a:pt x="79" y="193"/>
                    </a:lnTo>
                    <a:lnTo>
                      <a:pt x="81" y="190"/>
                    </a:lnTo>
                    <a:lnTo>
                      <a:pt x="84" y="189"/>
                    </a:lnTo>
                    <a:lnTo>
                      <a:pt x="86" y="188"/>
                    </a:lnTo>
                    <a:lnTo>
                      <a:pt x="90" y="190"/>
                    </a:lnTo>
                    <a:lnTo>
                      <a:pt x="92" y="192"/>
                    </a:lnTo>
                    <a:lnTo>
                      <a:pt x="94" y="194"/>
                    </a:lnTo>
                    <a:lnTo>
                      <a:pt x="96" y="197"/>
                    </a:lnTo>
                    <a:lnTo>
                      <a:pt x="92" y="197"/>
                    </a:lnTo>
                    <a:lnTo>
                      <a:pt x="90" y="197"/>
                    </a:lnTo>
                    <a:lnTo>
                      <a:pt x="90" y="200"/>
                    </a:lnTo>
                    <a:lnTo>
                      <a:pt x="92" y="201"/>
                    </a:lnTo>
                    <a:lnTo>
                      <a:pt x="90" y="201"/>
                    </a:lnTo>
                    <a:lnTo>
                      <a:pt x="86" y="200"/>
                    </a:lnTo>
                    <a:lnTo>
                      <a:pt x="83" y="198"/>
                    </a:lnTo>
                    <a:lnTo>
                      <a:pt x="81" y="198"/>
                    </a:lnTo>
                    <a:lnTo>
                      <a:pt x="75" y="198"/>
                    </a:lnTo>
                    <a:lnTo>
                      <a:pt x="72" y="198"/>
                    </a:lnTo>
                    <a:lnTo>
                      <a:pt x="68" y="198"/>
                    </a:lnTo>
                    <a:lnTo>
                      <a:pt x="66" y="198"/>
                    </a:lnTo>
                    <a:lnTo>
                      <a:pt x="64" y="198"/>
                    </a:lnTo>
                    <a:lnTo>
                      <a:pt x="60" y="200"/>
                    </a:lnTo>
                    <a:lnTo>
                      <a:pt x="58" y="201"/>
                    </a:lnTo>
                    <a:lnTo>
                      <a:pt x="55" y="201"/>
                    </a:lnTo>
                    <a:lnTo>
                      <a:pt x="58" y="203"/>
                    </a:lnTo>
                    <a:lnTo>
                      <a:pt x="60" y="203"/>
                    </a:lnTo>
                    <a:lnTo>
                      <a:pt x="64" y="203"/>
                    </a:lnTo>
                    <a:lnTo>
                      <a:pt x="66" y="203"/>
                    </a:lnTo>
                    <a:lnTo>
                      <a:pt x="68" y="203"/>
                    </a:lnTo>
                    <a:lnTo>
                      <a:pt x="72" y="203"/>
                    </a:lnTo>
                    <a:lnTo>
                      <a:pt x="74" y="203"/>
                    </a:lnTo>
                    <a:lnTo>
                      <a:pt x="77" y="204"/>
                    </a:lnTo>
                    <a:lnTo>
                      <a:pt x="83" y="205"/>
                    </a:lnTo>
                    <a:lnTo>
                      <a:pt x="85" y="205"/>
                    </a:lnTo>
                    <a:lnTo>
                      <a:pt x="89" y="205"/>
                    </a:lnTo>
                    <a:lnTo>
                      <a:pt x="94" y="204"/>
                    </a:lnTo>
                    <a:lnTo>
                      <a:pt x="91" y="205"/>
                    </a:lnTo>
                    <a:lnTo>
                      <a:pt x="89" y="205"/>
                    </a:lnTo>
                    <a:lnTo>
                      <a:pt x="85" y="205"/>
                    </a:lnTo>
                    <a:lnTo>
                      <a:pt x="83" y="205"/>
                    </a:lnTo>
                    <a:lnTo>
                      <a:pt x="80" y="205"/>
                    </a:lnTo>
                    <a:lnTo>
                      <a:pt x="77" y="204"/>
                    </a:lnTo>
                    <a:lnTo>
                      <a:pt x="74" y="204"/>
                    </a:lnTo>
                    <a:lnTo>
                      <a:pt x="72" y="203"/>
                    </a:lnTo>
                    <a:lnTo>
                      <a:pt x="69" y="204"/>
                    </a:lnTo>
                    <a:lnTo>
                      <a:pt x="66" y="204"/>
                    </a:lnTo>
                    <a:lnTo>
                      <a:pt x="64" y="204"/>
                    </a:lnTo>
                    <a:lnTo>
                      <a:pt x="60" y="204"/>
                    </a:lnTo>
                    <a:lnTo>
                      <a:pt x="58" y="204"/>
                    </a:lnTo>
                    <a:lnTo>
                      <a:pt x="55" y="203"/>
                    </a:lnTo>
                    <a:lnTo>
                      <a:pt x="51" y="203"/>
                    </a:lnTo>
                    <a:lnTo>
                      <a:pt x="49" y="203"/>
                    </a:lnTo>
                    <a:lnTo>
                      <a:pt x="47" y="203"/>
                    </a:lnTo>
                    <a:lnTo>
                      <a:pt x="43" y="203"/>
                    </a:lnTo>
                    <a:lnTo>
                      <a:pt x="42" y="202"/>
                    </a:lnTo>
                    <a:lnTo>
                      <a:pt x="39" y="202"/>
                    </a:lnTo>
                    <a:lnTo>
                      <a:pt x="37" y="203"/>
                    </a:lnTo>
                    <a:lnTo>
                      <a:pt x="31" y="204"/>
                    </a:lnTo>
                    <a:lnTo>
                      <a:pt x="29" y="205"/>
                    </a:lnTo>
                    <a:lnTo>
                      <a:pt x="25" y="205"/>
                    </a:lnTo>
                    <a:lnTo>
                      <a:pt x="23" y="209"/>
                    </a:lnTo>
                    <a:lnTo>
                      <a:pt x="25" y="211"/>
                    </a:lnTo>
                    <a:lnTo>
                      <a:pt x="29" y="211"/>
                    </a:lnTo>
                    <a:lnTo>
                      <a:pt x="31" y="211"/>
                    </a:lnTo>
                    <a:lnTo>
                      <a:pt x="29" y="212"/>
                    </a:lnTo>
                    <a:lnTo>
                      <a:pt x="31" y="214"/>
                    </a:lnTo>
                    <a:lnTo>
                      <a:pt x="34" y="215"/>
                    </a:lnTo>
                    <a:lnTo>
                      <a:pt x="38" y="215"/>
                    </a:lnTo>
                    <a:lnTo>
                      <a:pt x="40" y="213"/>
                    </a:lnTo>
                    <a:lnTo>
                      <a:pt x="42" y="212"/>
                    </a:lnTo>
                    <a:lnTo>
                      <a:pt x="42" y="212"/>
                    </a:lnTo>
                    <a:lnTo>
                      <a:pt x="45" y="210"/>
                    </a:lnTo>
                    <a:lnTo>
                      <a:pt x="48" y="210"/>
                    </a:lnTo>
                    <a:lnTo>
                      <a:pt x="45" y="211"/>
                    </a:lnTo>
                    <a:lnTo>
                      <a:pt x="42" y="213"/>
                    </a:lnTo>
                    <a:lnTo>
                      <a:pt x="42" y="216"/>
                    </a:lnTo>
                    <a:lnTo>
                      <a:pt x="45" y="216"/>
                    </a:lnTo>
                    <a:lnTo>
                      <a:pt x="48" y="218"/>
                    </a:lnTo>
                    <a:lnTo>
                      <a:pt x="50" y="218"/>
                    </a:lnTo>
                    <a:lnTo>
                      <a:pt x="54" y="219"/>
                    </a:lnTo>
                    <a:lnTo>
                      <a:pt x="59" y="219"/>
                    </a:lnTo>
                    <a:lnTo>
                      <a:pt x="63" y="219"/>
                    </a:lnTo>
                    <a:lnTo>
                      <a:pt x="65" y="219"/>
                    </a:lnTo>
                    <a:lnTo>
                      <a:pt x="67" y="218"/>
                    </a:lnTo>
                    <a:lnTo>
                      <a:pt x="69" y="221"/>
                    </a:lnTo>
                    <a:lnTo>
                      <a:pt x="66" y="221"/>
                    </a:lnTo>
                    <a:lnTo>
                      <a:pt x="64" y="221"/>
                    </a:lnTo>
                    <a:lnTo>
                      <a:pt x="60" y="221"/>
                    </a:lnTo>
                    <a:lnTo>
                      <a:pt x="58" y="222"/>
                    </a:lnTo>
                    <a:lnTo>
                      <a:pt x="56" y="223"/>
                    </a:lnTo>
                    <a:lnTo>
                      <a:pt x="52" y="224"/>
                    </a:lnTo>
                    <a:lnTo>
                      <a:pt x="49" y="226"/>
                    </a:lnTo>
                    <a:lnTo>
                      <a:pt x="49" y="228"/>
                    </a:lnTo>
                    <a:lnTo>
                      <a:pt x="51" y="229"/>
                    </a:lnTo>
                    <a:lnTo>
                      <a:pt x="55" y="230"/>
                    </a:lnTo>
                    <a:lnTo>
                      <a:pt x="58" y="231"/>
                    </a:lnTo>
                    <a:lnTo>
                      <a:pt x="60" y="233"/>
                    </a:lnTo>
                    <a:lnTo>
                      <a:pt x="64" y="233"/>
                    </a:lnTo>
                    <a:lnTo>
                      <a:pt x="64" y="236"/>
                    </a:lnTo>
                    <a:lnTo>
                      <a:pt x="67" y="236"/>
                    </a:lnTo>
                    <a:lnTo>
                      <a:pt x="72" y="237"/>
                    </a:lnTo>
                    <a:lnTo>
                      <a:pt x="75" y="237"/>
                    </a:lnTo>
                    <a:lnTo>
                      <a:pt x="77" y="237"/>
                    </a:lnTo>
                    <a:lnTo>
                      <a:pt x="81" y="238"/>
                    </a:lnTo>
                    <a:lnTo>
                      <a:pt x="83" y="238"/>
                    </a:lnTo>
                    <a:lnTo>
                      <a:pt x="86" y="239"/>
                    </a:lnTo>
                    <a:lnTo>
                      <a:pt x="89" y="238"/>
                    </a:lnTo>
                    <a:lnTo>
                      <a:pt x="86" y="237"/>
                    </a:lnTo>
                    <a:lnTo>
                      <a:pt x="83" y="235"/>
                    </a:lnTo>
                    <a:lnTo>
                      <a:pt x="81" y="232"/>
                    </a:lnTo>
                    <a:lnTo>
                      <a:pt x="83" y="230"/>
                    </a:lnTo>
                    <a:lnTo>
                      <a:pt x="86" y="231"/>
                    </a:lnTo>
                    <a:lnTo>
                      <a:pt x="89" y="235"/>
                    </a:lnTo>
                    <a:lnTo>
                      <a:pt x="92" y="235"/>
                    </a:lnTo>
                    <a:lnTo>
                      <a:pt x="92" y="232"/>
                    </a:lnTo>
                    <a:lnTo>
                      <a:pt x="94" y="230"/>
                    </a:lnTo>
                    <a:lnTo>
                      <a:pt x="98" y="230"/>
                    </a:lnTo>
                    <a:lnTo>
                      <a:pt x="100" y="230"/>
                    </a:lnTo>
                    <a:lnTo>
                      <a:pt x="103" y="231"/>
                    </a:lnTo>
                    <a:lnTo>
                      <a:pt x="100" y="232"/>
                    </a:lnTo>
                    <a:lnTo>
                      <a:pt x="100" y="236"/>
                    </a:lnTo>
                    <a:lnTo>
                      <a:pt x="103" y="237"/>
                    </a:lnTo>
                    <a:lnTo>
                      <a:pt x="106" y="237"/>
                    </a:lnTo>
                    <a:lnTo>
                      <a:pt x="106" y="233"/>
                    </a:lnTo>
                    <a:lnTo>
                      <a:pt x="111" y="235"/>
                    </a:lnTo>
                    <a:lnTo>
                      <a:pt x="113" y="232"/>
                    </a:lnTo>
                    <a:lnTo>
                      <a:pt x="115" y="233"/>
                    </a:lnTo>
                    <a:lnTo>
                      <a:pt x="116" y="230"/>
                    </a:lnTo>
                    <a:lnTo>
                      <a:pt x="119" y="230"/>
                    </a:lnTo>
                    <a:lnTo>
                      <a:pt x="120" y="228"/>
                    </a:lnTo>
                    <a:lnTo>
                      <a:pt x="122" y="230"/>
                    </a:lnTo>
                    <a:lnTo>
                      <a:pt x="123" y="233"/>
                    </a:lnTo>
                    <a:lnTo>
                      <a:pt x="125" y="233"/>
                    </a:lnTo>
                    <a:lnTo>
                      <a:pt x="128" y="231"/>
                    </a:lnTo>
                    <a:lnTo>
                      <a:pt x="131" y="229"/>
                    </a:lnTo>
                    <a:lnTo>
                      <a:pt x="134" y="227"/>
                    </a:lnTo>
                    <a:lnTo>
                      <a:pt x="140" y="229"/>
                    </a:lnTo>
                    <a:lnTo>
                      <a:pt x="142" y="230"/>
                    </a:lnTo>
                    <a:lnTo>
                      <a:pt x="145" y="230"/>
                    </a:lnTo>
                    <a:lnTo>
                      <a:pt x="148" y="230"/>
                    </a:lnTo>
                    <a:lnTo>
                      <a:pt x="151" y="231"/>
                    </a:lnTo>
                    <a:lnTo>
                      <a:pt x="153" y="231"/>
                    </a:lnTo>
                    <a:lnTo>
                      <a:pt x="156" y="232"/>
                    </a:lnTo>
                    <a:lnTo>
                      <a:pt x="159" y="233"/>
                    </a:lnTo>
                    <a:lnTo>
                      <a:pt x="161" y="232"/>
                    </a:lnTo>
                    <a:lnTo>
                      <a:pt x="165" y="233"/>
                    </a:lnTo>
                    <a:lnTo>
                      <a:pt x="167" y="235"/>
                    </a:lnTo>
                    <a:lnTo>
                      <a:pt x="168" y="237"/>
                    </a:lnTo>
                    <a:lnTo>
                      <a:pt x="176" y="237"/>
                    </a:lnTo>
                    <a:lnTo>
                      <a:pt x="179" y="238"/>
                    </a:lnTo>
                    <a:lnTo>
                      <a:pt x="179" y="239"/>
                    </a:lnTo>
                    <a:lnTo>
                      <a:pt x="182" y="239"/>
                    </a:lnTo>
                    <a:lnTo>
                      <a:pt x="185" y="240"/>
                    </a:lnTo>
                    <a:lnTo>
                      <a:pt x="182" y="243"/>
                    </a:lnTo>
                    <a:lnTo>
                      <a:pt x="185" y="243"/>
                    </a:lnTo>
                    <a:lnTo>
                      <a:pt x="187" y="241"/>
                    </a:lnTo>
                    <a:lnTo>
                      <a:pt x="191" y="241"/>
                    </a:lnTo>
                    <a:lnTo>
                      <a:pt x="190" y="244"/>
                    </a:lnTo>
                    <a:lnTo>
                      <a:pt x="192" y="245"/>
                    </a:lnTo>
                    <a:lnTo>
                      <a:pt x="195" y="246"/>
                    </a:lnTo>
                    <a:lnTo>
                      <a:pt x="197" y="245"/>
                    </a:lnTo>
                    <a:lnTo>
                      <a:pt x="201" y="245"/>
                    </a:lnTo>
                    <a:lnTo>
                      <a:pt x="202" y="248"/>
                    </a:lnTo>
                    <a:lnTo>
                      <a:pt x="203" y="250"/>
                    </a:lnTo>
                    <a:lnTo>
                      <a:pt x="203" y="253"/>
                    </a:lnTo>
                    <a:lnTo>
                      <a:pt x="200" y="254"/>
                    </a:lnTo>
                    <a:lnTo>
                      <a:pt x="197" y="255"/>
                    </a:lnTo>
                    <a:lnTo>
                      <a:pt x="200" y="255"/>
                    </a:lnTo>
                    <a:lnTo>
                      <a:pt x="203" y="254"/>
                    </a:lnTo>
                    <a:lnTo>
                      <a:pt x="201" y="257"/>
                    </a:lnTo>
                    <a:lnTo>
                      <a:pt x="203" y="260"/>
                    </a:lnTo>
                    <a:lnTo>
                      <a:pt x="205" y="260"/>
                    </a:lnTo>
                    <a:lnTo>
                      <a:pt x="205" y="263"/>
                    </a:lnTo>
                    <a:lnTo>
                      <a:pt x="208" y="264"/>
                    </a:lnTo>
                    <a:lnTo>
                      <a:pt x="211" y="265"/>
                    </a:lnTo>
                    <a:lnTo>
                      <a:pt x="212" y="266"/>
                    </a:lnTo>
                    <a:lnTo>
                      <a:pt x="216" y="267"/>
                    </a:lnTo>
                    <a:lnTo>
                      <a:pt x="218" y="267"/>
                    </a:lnTo>
                    <a:lnTo>
                      <a:pt x="221" y="270"/>
                    </a:lnTo>
                    <a:lnTo>
                      <a:pt x="218" y="271"/>
                    </a:lnTo>
                    <a:lnTo>
                      <a:pt x="220" y="274"/>
                    </a:lnTo>
                    <a:lnTo>
                      <a:pt x="222" y="274"/>
                    </a:lnTo>
                    <a:lnTo>
                      <a:pt x="226" y="275"/>
                    </a:lnTo>
                    <a:lnTo>
                      <a:pt x="228" y="278"/>
                    </a:lnTo>
                    <a:lnTo>
                      <a:pt x="231" y="278"/>
                    </a:lnTo>
                    <a:lnTo>
                      <a:pt x="228" y="280"/>
                    </a:lnTo>
                    <a:lnTo>
                      <a:pt x="226" y="280"/>
                    </a:lnTo>
                    <a:lnTo>
                      <a:pt x="222" y="280"/>
                    </a:lnTo>
                    <a:lnTo>
                      <a:pt x="226" y="281"/>
                    </a:lnTo>
                    <a:lnTo>
                      <a:pt x="231" y="281"/>
                    </a:lnTo>
                    <a:lnTo>
                      <a:pt x="229" y="283"/>
                    </a:lnTo>
                    <a:lnTo>
                      <a:pt x="226" y="283"/>
                    </a:lnTo>
                    <a:lnTo>
                      <a:pt x="228" y="284"/>
                    </a:lnTo>
                    <a:lnTo>
                      <a:pt x="226" y="286"/>
                    </a:lnTo>
                    <a:lnTo>
                      <a:pt x="222" y="287"/>
                    </a:lnTo>
                    <a:lnTo>
                      <a:pt x="220" y="288"/>
                    </a:lnTo>
                    <a:lnTo>
                      <a:pt x="218" y="288"/>
                    </a:lnTo>
                    <a:lnTo>
                      <a:pt x="220" y="289"/>
                    </a:lnTo>
                    <a:lnTo>
                      <a:pt x="224" y="289"/>
                    </a:lnTo>
                    <a:lnTo>
                      <a:pt x="226" y="288"/>
                    </a:lnTo>
                    <a:lnTo>
                      <a:pt x="229" y="287"/>
                    </a:lnTo>
                    <a:lnTo>
                      <a:pt x="231" y="284"/>
                    </a:lnTo>
                    <a:lnTo>
                      <a:pt x="230" y="288"/>
                    </a:lnTo>
                    <a:lnTo>
                      <a:pt x="229" y="290"/>
                    </a:lnTo>
                    <a:lnTo>
                      <a:pt x="233" y="291"/>
                    </a:lnTo>
                    <a:lnTo>
                      <a:pt x="235" y="293"/>
                    </a:lnTo>
                    <a:lnTo>
                      <a:pt x="237" y="296"/>
                    </a:lnTo>
                    <a:lnTo>
                      <a:pt x="235" y="298"/>
                    </a:lnTo>
                    <a:lnTo>
                      <a:pt x="238" y="300"/>
                    </a:lnTo>
                    <a:lnTo>
                      <a:pt x="236" y="299"/>
                    </a:lnTo>
                    <a:lnTo>
                      <a:pt x="233" y="301"/>
                    </a:lnTo>
                    <a:lnTo>
                      <a:pt x="236" y="303"/>
                    </a:lnTo>
                    <a:lnTo>
                      <a:pt x="238" y="304"/>
                    </a:lnTo>
                    <a:lnTo>
                      <a:pt x="241" y="306"/>
                    </a:lnTo>
                    <a:lnTo>
                      <a:pt x="243" y="307"/>
                    </a:lnTo>
                    <a:lnTo>
                      <a:pt x="246" y="308"/>
                    </a:lnTo>
                    <a:lnTo>
                      <a:pt x="246" y="309"/>
                    </a:lnTo>
                    <a:lnTo>
                      <a:pt x="243" y="309"/>
                    </a:lnTo>
                    <a:lnTo>
                      <a:pt x="242" y="312"/>
                    </a:lnTo>
                    <a:lnTo>
                      <a:pt x="244" y="313"/>
                    </a:lnTo>
                    <a:lnTo>
                      <a:pt x="242" y="314"/>
                    </a:lnTo>
                    <a:lnTo>
                      <a:pt x="238" y="315"/>
                    </a:lnTo>
                    <a:lnTo>
                      <a:pt x="242" y="317"/>
                    </a:lnTo>
                    <a:lnTo>
                      <a:pt x="244" y="318"/>
                    </a:lnTo>
                    <a:lnTo>
                      <a:pt x="247" y="317"/>
                    </a:lnTo>
                    <a:lnTo>
                      <a:pt x="250" y="318"/>
                    </a:lnTo>
                    <a:lnTo>
                      <a:pt x="252" y="321"/>
                    </a:lnTo>
                    <a:lnTo>
                      <a:pt x="252" y="324"/>
                    </a:lnTo>
                    <a:lnTo>
                      <a:pt x="250" y="324"/>
                    </a:lnTo>
                    <a:lnTo>
                      <a:pt x="252" y="325"/>
                    </a:lnTo>
                    <a:lnTo>
                      <a:pt x="251" y="327"/>
                    </a:lnTo>
                    <a:lnTo>
                      <a:pt x="247" y="330"/>
                    </a:lnTo>
                    <a:lnTo>
                      <a:pt x="251" y="332"/>
                    </a:lnTo>
                    <a:lnTo>
                      <a:pt x="253" y="332"/>
                    </a:lnTo>
                    <a:lnTo>
                      <a:pt x="255" y="332"/>
                    </a:lnTo>
                    <a:lnTo>
                      <a:pt x="253" y="332"/>
                    </a:lnTo>
                    <a:lnTo>
                      <a:pt x="251" y="332"/>
                    </a:lnTo>
                    <a:lnTo>
                      <a:pt x="247" y="332"/>
                    </a:lnTo>
                    <a:lnTo>
                      <a:pt x="243" y="332"/>
                    </a:lnTo>
                    <a:lnTo>
                      <a:pt x="239" y="332"/>
                    </a:lnTo>
                    <a:lnTo>
                      <a:pt x="243" y="334"/>
                    </a:lnTo>
                    <a:lnTo>
                      <a:pt x="245" y="335"/>
                    </a:lnTo>
                    <a:lnTo>
                      <a:pt x="247" y="334"/>
                    </a:lnTo>
                    <a:lnTo>
                      <a:pt x="251" y="335"/>
                    </a:lnTo>
                    <a:lnTo>
                      <a:pt x="248" y="338"/>
                    </a:lnTo>
                    <a:lnTo>
                      <a:pt x="246" y="340"/>
                    </a:lnTo>
                    <a:lnTo>
                      <a:pt x="246" y="340"/>
                    </a:lnTo>
                    <a:lnTo>
                      <a:pt x="244" y="343"/>
                    </a:lnTo>
                    <a:lnTo>
                      <a:pt x="242" y="346"/>
                    </a:lnTo>
                    <a:lnTo>
                      <a:pt x="244" y="347"/>
                    </a:lnTo>
                    <a:lnTo>
                      <a:pt x="247" y="347"/>
                    </a:lnTo>
                    <a:lnTo>
                      <a:pt x="250" y="346"/>
                    </a:lnTo>
                    <a:lnTo>
                      <a:pt x="253" y="344"/>
                    </a:lnTo>
                    <a:lnTo>
                      <a:pt x="254" y="341"/>
                    </a:lnTo>
                    <a:lnTo>
                      <a:pt x="253" y="344"/>
                    </a:lnTo>
                    <a:lnTo>
                      <a:pt x="251" y="346"/>
                    </a:lnTo>
                    <a:lnTo>
                      <a:pt x="248" y="348"/>
                    </a:lnTo>
                    <a:lnTo>
                      <a:pt x="245" y="348"/>
                    </a:lnTo>
                    <a:lnTo>
                      <a:pt x="243" y="348"/>
                    </a:lnTo>
                    <a:lnTo>
                      <a:pt x="244" y="350"/>
                    </a:lnTo>
                    <a:lnTo>
                      <a:pt x="241" y="350"/>
                    </a:lnTo>
                    <a:lnTo>
                      <a:pt x="238" y="351"/>
                    </a:lnTo>
                    <a:lnTo>
                      <a:pt x="235" y="354"/>
                    </a:lnTo>
                    <a:lnTo>
                      <a:pt x="238" y="355"/>
                    </a:lnTo>
                    <a:lnTo>
                      <a:pt x="239" y="357"/>
                    </a:lnTo>
                    <a:lnTo>
                      <a:pt x="243" y="360"/>
                    </a:lnTo>
                    <a:lnTo>
                      <a:pt x="245" y="358"/>
                    </a:lnTo>
                    <a:lnTo>
                      <a:pt x="247" y="359"/>
                    </a:lnTo>
                    <a:lnTo>
                      <a:pt x="251" y="361"/>
                    </a:lnTo>
                    <a:lnTo>
                      <a:pt x="253" y="361"/>
                    </a:lnTo>
                    <a:lnTo>
                      <a:pt x="256" y="360"/>
                    </a:lnTo>
                    <a:lnTo>
                      <a:pt x="259" y="360"/>
                    </a:lnTo>
                    <a:lnTo>
                      <a:pt x="261" y="359"/>
                    </a:lnTo>
                    <a:lnTo>
                      <a:pt x="263" y="357"/>
                    </a:lnTo>
                    <a:lnTo>
                      <a:pt x="262" y="354"/>
                    </a:lnTo>
                    <a:lnTo>
                      <a:pt x="264" y="354"/>
                    </a:lnTo>
                    <a:lnTo>
                      <a:pt x="264" y="351"/>
                    </a:lnTo>
                    <a:lnTo>
                      <a:pt x="267" y="351"/>
                    </a:lnTo>
                    <a:lnTo>
                      <a:pt x="269" y="349"/>
                    </a:lnTo>
                    <a:lnTo>
                      <a:pt x="268" y="346"/>
                    </a:lnTo>
                    <a:lnTo>
                      <a:pt x="267" y="343"/>
                    </a:lnTo>
                    <a:lnTo>
                      <a:pt x="264" y="341"/>
                    </a:lnTo>
                    <a:lnTo>
                      <a:pt x="263" y="339"/>
                    </a:lnTo>
                    <a:lnTo>
                      <a:pt x="263" y="335"/>
                    </a:lnTo>
                    <a:lnTo>
                      <a:pt x="267" y="335"/>
                    </a:lnTo>
                    <a:lnTo>
                      <a:pt x="263" y="337"/>
                    </a:lnTo>
                    <a:lnTo>
                      <a:pt x="264" y="340"/>
                    </a:lnTo>
                    <a:lnTo>
                      <a:pt x="267" y="342"/>
                    </a:lnTo>
                    <a:lnTo>
                      <a:pt x="269" y="344"/>
                    </a:lnTo>
                    <a:lnTo>
                      <a:pt x="270" y="347"/>
                    </a:lnTo>
                    <a:lnTo>
                      <a:pt x="272" y="349"/>
                    </a:lnTo>
                    <a:lnTo>
                      <a:pt x="276" y="349"/>
                    </a:lnTo>
                    <a:lnTo>
                      <a:pt x="276" y="346"/>
                    </a:lnTo>
                    <a:lnTo>
                      <a:pt x="279" y="344"/>
                    </a:lnTo>
                    <a:lnTo>
                      <a:pt x="276" y="347"/>
                    </a:lnTo>
                    <a:lnTo>
                      <a:pt x="275" y="350"/>
                    </a:lnTo>
                    <a:lnTo>
                      <a:pt x="271" y="352"/>
                    </a:lnTo>
                    <a:lnTo>
                      <a:pt x="275" y="352"/>
                    </a:lnTo>
                    <a:lnTo>
                      <a:pt x="280" y="352"/>
                    </a:lnTo>
                    <a:lnTo>
                      <a:pt x="282" y="354"/>
                    </a:lnTo>
                    <a:lnTo>
                      <a:pt x="286" y="355"/>
                    </a:lnTo>
                    <a:lnTo>
                      <a:pt x="288" y="354"/>
                    </a:lnTo>
                    <a:lnTo>
                      <a:pt x="290" y="354"/>
                    </a:lnTo>
                    <a:lnTo>
                      <a:pt x="294" y="352"/>
                    </a:lnTo>
                    <a:lnTo>
                      <a:pt x="291" y="355"/>
                    </a:lnTo>
                    <a:lnTo>
                      <a:pt x="286" y="356"/>
                    </a:lnTo>
                    <a:lnTo>
                      <a:pt x="284" y="356"/>
                    </a:lnTo>
                    <a:lnTo>
                      <a:pt x="280" y="357"/>
                    </a:lnTo>
                    <a:lnTo>
                      <a:pt x="278" y="358"/>
                    </a:lnTo>
                    <a:lnTo>
                      <a:pt x="276" y="359"/>
                    </a:lnTo>
                    <a:lnTo>
                      <a:pt x="278" y="360"/>
                    </a:lnTo>
                    <a:lnTo>
                      <a:pt x="281" y="360"/>
                    </a:lnTo>
                    <a:lnTo>
                      <a:pt x="284" y="360"/>
                    </a:lnTo>
                    <a:lnTo>
                      <a:pt x="286" y="359"/>
                    </a:lnTo>
                    <a:lnTo>
                      <a:pt x="289" y="358"/>
                    </a:lnTo>
                    <a:lnTo>
                      <a:pt x="291" y="357"/>
                    </a:lnTo>
                    <a:lnTo>
                      <a:pt x="295" y="357"/>
                    </a:lnTo>
                    <a:lnTo>
                      <a:pt x="297" y="358"/>
                    </a:lnTo>
                    <a:lnTo>
                      <a:pt x="295" y="358"/>
                    </a:lnTo>
                    <a:lnTo>
                      <a:pt x="289" y="359"/>
                    </a:lnTo>
                    <a:lnTo>
                      <a:pt x="286" y="360"/>
                    </a:lnTo>
                    <a:lnTo>
                      <a:pt x="285" y="363"/>
                    </a:lnTo>
                    <a:lnTo>
                      <a:pt x="282" y="364"/>
                    </a:lnTo>
                    <a:lnTo>
                      <a:pt x="285" y="365"/>
                    </a:lnTo>
                    <a:lnTo>
                      <a:pt x="288" y="364"/>
                    </a:lnTo>
                    <a:lnTo>
                      <a:pt x="290" y="361"/>
                    </a:lnTo>
                    <a:lnTo>
                      <a:pt x="294" y="361"/>
                    </a:lnTo>
                    <a:lnTo>
                      <a:pt x="295" y="364"/>
                    </a:lnTo>
                    <a:lnTo>
                      <a:pt x="291" y="364"/>
                    </a:lnTo>
                    <a:lnTo>
                      <a:pt x="289" y="365"/>
                    </a:lnTo>
                    <a:lnTo>
                      <a:pt x="286" y="366"/>
                    </a:lnTo>
                    <a:lnTo>
                      <a:pt x="289" y="367"/>
                    </a:lnTo>
                    <a:lnTo>
                      <a:pt x="291" y="366"/>
                    </a:lnTo>
                    <a:lnTo>
                      <a:pt x="295" y="367"/>
                    </a:lnTo>
                    <a:lnTo>
                      <a:pt x="297" y="366"/>
                    </a:lnTo>
                    <a:lnTo>
                      <a:pt x="298" y="369"/>
                    </a:lnTo>
                    <a:lnTo>
                      <a:pt x="302" y="369"/>
                    </a:lnTo>
                    <a:lnTo>
                      <a:pt x="298" y="370"/>
                    </a:lnTo>
                    <a:lnTo>
                      <a:pt x="296" y="369"/>
                    </a:lnTo>
                    <a:lnTo>
                      <a:pt x="293" y="369"/>
                    </a:lnTo>
                    <a:lnTo>
                      <a:pt x="290" y="368"/>
                    </a:lnTo>
                    <a:lnTo>
                      <a:pt x="293" y="370"/>
                    </a:lnTo>
                    <a:lnTo>
                      <a:pt x="296" y="372"/>
                    </a:lnTo>
                    <a:lnTo>
                      <a:pt x="298" y="373"/>
                    </a:lnTo>
                    <a:lnTo>
                      <a:pt x="302" y="374"/>
                    </a:lnTo>
                    <a:lnTo>
                      <a:pt x="304" y="373"/>
                    </a:lnTo>
                    <a:lnTo>
                      <a:pt x="306" y="376"/>
                    </a:lnTo>
                    <a:lnTo>
                      <a:pt x="303" y="376"/>
                    </a:lnTo>
                    <a:lnTo>
                      <a:pt x="301" y="375"/>
                    </a:lnTo>
                    <a:lnTo>
                      <a:pt x="297" y="376"/>
                    </a:lnTo>
                    <a:lnTo>
                      <a:pt x="299" y="377"/>
                    </a:lnTo>
                    <a:lnTo>
                      <a:pt x="306" y="378"/>
                    </a:lnTo>
                    <a:lnTo>
                      <a:pt x="303" y="380"/>
                    </a:lnTo>
                    <a:lnTo>
                      <a:pt x="305" y="381"/>
                    </a:lnTo>
                    <a:lnTo>
                      <a:pt x="303" y="382"/>
                    </a:lnTo>
                    <a:lnTo>
                      <a:pt x="299" y="381"/>
                    </a:lnTo>
                    <a:lnTo>
                      <a:pt x="303" y="383"/>
                    </a:lnTo>
                    <a:lnTo>
                      <a:pt x="305" y="384"/>
                    </a:lnTo>
                    <a:lnTo>
                      <a:pt x="308" y="382"/>
                    </a:lnTo>
                    <a:lnTo>
                      <a:pt x="307" y="384"/>
                    </a:lnTo>
                    <a:lnTo>
                      <a:pt x="304" y="386"/>
                    </a:lnTo>
                    <a:lnTo>
                      <a:pt x="302" y="385"/>
                    </a:lnTo>
                    <a:lnTo>
                      <a:pt x="298" y="385"/>
                    </a:lnTo>
                    <a:lnTo>
                      <a:pt x="296" y="384"/>
                    </a:lnTo>
                    <a:lnTo>
                      <a:pt x="294" y="383"/>
                    </a:lnTo>
                    <a:lnTo>
                      <a:pt x="290" y="382"/>
                    </a:lnTo>
                    <a:lnTo>
                      <a:pt x="288" y="381"/>
                    </a:lnTo>
                    <a:lnTo>
                      <a:pt x="285" y="380"/>
                    </a:lnTo>
                    <a:lnTo>
                      <a:pt x="282" y="377"/>
                    </a:lnTo>
                    <a:lnTo>
                      <a:pt x="279" y="376"/>
                    </a:lnTo>
                    <a:lnTo>
                      <a:pt x="277" y="376"/>
                    </a:lnTo>
                    <a:lnTo>
                      <a:pt x="273" y="375"/>
                    </a:lnTo>
                    <a:lnTo>
                      <a:pt x="271" y="376"/>
                    </a:lnTo>
                    <a:lnTo>
                      <a:pt x="268" y="376"/>
                    </a:lnTo>
                    <a:lnTo>
                      <a:pt x="265" y="375"/>
                    </a:lnTo>
                    <a:lnTo>
                      <a:pt x="262" y="375"/>
                    </a:lnTo>
                    <a:lnTo>
                      <a:pt x="260" y="374"/>
                    </a:lnTo>
                    <a:lnTo>
                      <a:pt x="256" y="375"/>
                    </a:lnTo>
                    <a:lnTo>
                      <a:pt x="254" y="376"/>
                    </a:lnTo>
                    <a:lnTo>
                      <a:pt x="254" y="380"/>
                    </a:lnTo>
                    <a:lnTo>
                      <a:pt x="258" y="381"/>
                    </a:lnTo>
                    <a:lnTo>
                      <a:pt x="260" y="384"/>
                    </a:lnTo>
                    <a:lnTo>
                      <a:pt x="263" y="385"/>
                    </a:lnTo>
                    <a:lnTo>
                      <a:pt x="265" y="385"/>
                    </a:lnTo>
                    <a:lnTo>
                      <a:pt x="269" y="386"/>
                    </a:lnTo>
                    <a:lnTo>
                      <a:pt x="271" y="386"/>
                    </a:lnTo>
                    <a:lnTo>
                      <a:pt x="273" y="387"/>
                    </a:lnTo>
                    <a:lnTo>
                      <a:pt x="277" y="387"/>
                    </a:lnTo>
                    <a:lnTo>
                      <a:pt x="280" y="389"/>
                    </a:lnTo>
                    <a:lnTo>
                      <a:pt x="282" y="392"/>
                    </a:lnTo>
                    <a:lnTo>
                      <a:pt x="285" y="393"/>
                    </a:lnTo>
                    <a:lnTo>
                      <a:pt x="288" y="393"/>
                    </a:lnTo>
                    <a:lnTo>
                      <a:pt x="290" y="394"/>
                    </a:lnTo>
                    <a:lnTo>
                      <a:pt x="294" y="394"/>
                    </a:lnTo>
                    <a:lnTo>
                      <a:pt x="295" y="394"/>
                    </a:lnTo>
                    <a:lnTo>
                      <a:pt x="295" y="395"/>
                    </a:lnTo>
                    <a:lnTo>
                      <a:pt x="297" y="394"/>
                    </a:lnTo>
                    <a:lnTo>
                      <a:pt x="299" y="393"/>
                    </a:lnTo>
                    <a:lnTo>
                      <a:pt x="303" y="394"/>
                    </a:lnTo>
                    <a:lnTo>
                      <a:pt x="301" y="394"/>
                    </a:lnTo>
                    <a:lnTo>
                      <a:pt x="303" y="395"/>
                    </a:lnTo>
                    <a:lnTo>
                      <a:pt x="306" y="394"/>
                    </a:lnTo>
                    <a:lnTo>
                      <a:pt x="307" y="394"/>
                    </a:lnTo>
                    <a:lnTo>
                      <a:pt x="310" y="393"/>
                    </a:lnTo>
                    <a:lnTo>
                      <a:pt x="312" y="393"/>
                    </a:lnTo>
                    <a:lnTo>
                      <a:pt x="313" y="394"/>
                    </a:lnTo>
                    <a:lnTo>
                      <a:pt x="312" y="395"/>
                    </a:lnTo>
                    <a:lnTo>
                      <a:pt x="308" y="397"/>
                    </a:lnTo>
                    <a:lnTo>
                      <a:pt x="312" y="398"/>
                    </a:lnTo>
                    <a:lnTo>
                      <a:pt x="313" y="401"/>
                    </a:lnTo>
                    <a:lnTo>
                      <a:pt x="311" y="400"/>
                    </a:lnTo>
                    <a:lnTo>
                      <a:pt x="307" y="400"/>
                    </a:lnTo>
                    <a:lnTo>
                      <a:pt x="305" y="402"/>
                    </a:lnTo>
                    <a:lnTo>
                      <a:pt x="307" y="402"/>
                    </a:lnTo>
                    <a:lnTo>
                      <a:pt x="311" y="404"/>
                    </a:lnTo>
                    <a:lnTo>
                      <a:pt x="307" y="403"/>
                    </a:lnTo>
                    <a:lnTo>
                      <a:pt x="305" y="404"/>
                    </a:lnTo>
                    <a:lnTo>
                      <a:pt x="304" y="408"/>
                    </a:lnTo>
                    <a:lnTo>
                      <a:pt x="307" y="407"/>
                    </a:lnTo>
                    <a:lnTo>
                      <a:pt x="310" y="406"/>
                    </a:lnTo>
                    <a:lnTo>
                      <a:pt x="312" y="407"/>
                    </a:lnTo>
                    <a:lnTo>
                      <a:pt x="310" y="407"/>
                    </a:lnTo>
                    <a:lnTo>
                      <a:pt x="307" y="408"/>
                    </a:lnTo>
                    <a:lnTo>
                      <a:pt x="304" y="409"/>
                    </a:lnTo>
                    <a:lnTo>
                      <a:pt x="303" y="411"/>
                    </a:lnTo>
                    <a:lnTo>
                      <a:pt x="302" y="415"/>
                    </a:lnTo>
                    <a:lnTo>
                      <a:pt x="304" y="415"/>
                    </a:lnTo>
                    <a:lnTo>
                      <a:pt x="307" y="414"/>
                    </a:lnTo>
                    <a:lnTo>
                      <a:pt x="310" y="411"/>
                    </a:lnTo>
                    <a:lnTo>
                      <a:pt x="310" y="415"/>
                    </a:lnTo>
                    <a:lnTo>
                      <a:pt x="312" y="416"/>
                    </a:lnTo>
                    <a:lnTo>
                      <a:pt x="310" y="416"/>
                    </a:lnTo>
                    <a:lnTo>
                      <a:pt x="307" y="417"/>
                    </a:lnTo>
                    <a:lnTo>
                      <a:pt x="310" y="418"/>
                    </a:lnTo>
                    <a:lnTo>
                      <a:pt x="312" y="418"/>
                    </a:lnTo>
                    <a:lnTo>
                      <a:pt x="310" y="418"/>
                    </a:lnTo>
                    <a:lnTo>
                      <a:pt x="312" y="421"/>
                    </a:lnTo>
                    <a:lnTo>
                      <a:pt x="308" y="419"/>
                    </a:lnTo>
                    <a:lnTo>
                      <a:pt x="307" y="417"/>
                    </a:lnTo>
                    <a:lnTo>
                      <a:pt x="304" y="416"/>
                    </a:lnTo>
                    <a:lnTo>
                      <a:pt x="302" y="416"/>
                    </a:lnTo>
                    <a:lnTo>
                      <a:pt x="301" y="419"/>
                    </a:lnTo>
                    <a:lnTo>
                      <a:pt x="302" y="421"/>
                    </a:lnTo>
                    <a:lnTo>
                      <a:pt x="303" y="420"/>
                    </a:lnTo>
                    <a:lnTo>
                      <a:pt x="299" y="423"/>
                    </a:lnTo>
                    <a:lnTo>
                      <a:pt x="299" y="425"/>
                    </a:lnTo>
                    <a:lnTo>
                      <a:pt x="303" y="424"/>
                    </a:lnTo>
                    <a:lnTo>
                      <a:pt x="305" y="424"/>
                    </a:lnTo>
                    <a:lnTo>
                      <a:pt x="304" y="427"/>
                    </a:lnTo>
                    <a:lnTo>
                      <a:pt x="302" y="427"/>
                    </a:lnTo>
                    <a:lnTo>
                      <a:pt x="299" y="429"/>
                    </a:lnTo>
                    <a:lnTo>
                      <a:pt x="297" y="429"/>
                    </a:lnTo>
                    <a:lnTo>
                      <a:pt x="295" y="431"/>
                    </a:lnTo>
                    <a:lnTo>
                      <a:pt x="291" y="431"/>
                    </a:lnTo>
                    <a:lnTo>
                      <a:pt x="289" y="429"/>
                    </a:lnTo>
                    <a:lnTo>
                      <a:pt x="284" y="429"/>
                    </a:lnTo>
                    <a:lnTo>
                      <a:pt x="280" y="431"/>
                    </a:lnTo>
                    <a:lnTo>
                      <a:pt x="284" y="431"/>
                    </a:lnTo>
                    <a:lnTo>
                      <a:pt x="280" y="432"/>
                    </a:lnTo>
                    <a:lnTo>
                      <a:pt x="278" y="434"/>
                    </a:lnTo>
                    <a:lnTo>
                      <a:pt x="275" y="435"/>
                    </a:lnTo>
                    <a:lnTo>
                      <a:pt x="272" y="435"/>
                    </a:lnTo>
                    <a:lnTo>
                      <a:pt x="275" y="436"/>
                    </a:lnTo>
                    <a:lnTo>
                      <a:pt x="278" y="435"/>
                    </a:lnTo>
                    <a:lnTo>
                      <a:pt x="280" y="435"/>
                    </a:lnTo>
                    <a:lnTo>
                      <a:pt x="278" y="436"/>
                    </a:lnTo>
                    <a:lnTo>
                      <a:pt x="280" y="436"/>
                    </a:lnTo>
                    <a:lnTo>
                      <a:pt x="284" y="438"/>
                    </a:lnTo>
                    <a:lnTo>
                      <a:pt x="286" y="437"/>
                    </a:lnTo>
                    <a:lnTo>
                      <a:pt x="288" y="437"/>
                    </a:lnTo>
                    <a:lnTo>
                      <a:pt x="291" y="437"/>
                    </a:lnTo>
                    <a:lnTo>
                      <a:pt x="294" y="436"/>
                    </a:lnTo>
                    <a:lnTo>
                      <a:pt x="297" y="434"/>
                    </a:lnTo>
                    <a:lnTo>
                      <a:pt x="294" y="433"/>
                    </a:lnTo>
                    <a:lnTo>
                      <a:pt x="297" y="433"/>
                    </a:lnTo>
                    <a:lnTo>
                      <a:pt x="299" y="433"/>
                    </a:lnTo>
                    <a:lnTo>
                      <a:pt x="303" y="432"/>
                    </a:lnTo>
                    <a:lnTo>
                      <a:pt x="305" y="432"/>
                    </a:lnTo>
                    <a:lnTo>
                      <a:pt x="303" y="432"/>
                    </a:lnTo>
                    <a:lnTo>
                      <a:pt x="299" y="433"/>
                    </a:lnTo>
                    <a:lnTo>
                      <a:pt x="299" y="436"/>
                    </a:lnTo>
                    <a:lnTo>
                      <a:pt x="297" y="436"/>
                    </a:lnTo>
                    <a:lnTo>
                      <a:pt x="299" y="437"/>
                    </a:lnTo>
                    <a:lnTo>
                      <a:pt x="303" y="438"/>
                    </a:lnTo>
                    <a:lnTo>
                      <a:pt x="299" y="438"/>
                    </a:lnTo>
                    <a:lnTo>
                      <a:pt x="297" y="438"/>
                    </a:lnTo>
                    <a:lnTo>
                      <a:pt x="299" y="440"/>
                    </a:lnTo>
                    <a:lnTo>
                      <a:pt x="303" y="441"/>
                    </a:lnTo>
                    <a:lnTo>
                      <a:pt x="305" y="442"/>
                    </a:lnTo>
                    <a:lnTo>
                      <a:pt x="308" y="443"/>
                    </a:lnTo>
                    <a:lnTo>
                      <a:pt x="313" y="444"/>
                    </a:lnTo>
                    <a:lnTo>
                      <a:pt x="311" y="444"/>
                    </a:lnTo>
                    <a:lnTo>
                      <a:pt x="308" y="445"/>
                    </a:lnTo>
                    <a:lnTo>
                      <a:pt x="305" y="444"/>
                    </a:lnTo>
                    <a:lnTo>
                      <a:pt x="303" y="443"/>
                    </a:lnTo>
                    <a:lnTo>
                      <a:pt x="299" y="441"/>
                    </a:lnTo>
                    <a:lnTo>
                      <a:pt x="294" y="441"/>
                    </a:lnTo>
                    <a:lnTo>
                      <a:pt x="291" y="442"/>
                    </a:lnTo>
                    <a:lnTo>
                      <a:pt x="289" y="441"/>
                    </a:lnTo>
                    <a:lnTo>
                      <a:pt x="286" y="441"/>
                    </a:lnTo>
                    <a:lnTo>
                      <a:pt x="284" y="440"/>
                    </a:lnTo>
                    <a:lnTo>
                      <a:pt x="280" y="438"/>
                    </a:lnTo>
                    <a:lnTo>
                      <a:pt x="278" y="438"/>
                    </a:lnTo>
                    <a:lnTo>
                      <a:pt x="280" y="440"/>
                    </a:lnTo>
                    <a:lnTo>
                      <a:pt x="284" y="441"/>
                    </a:lnTo>
                    <a:lnTo>
                      <a:pt x="280" y="441"/>
                    </a:lnTo>
                    <a:lnTo>
                      <a:pt x="278" y="440"/>
                    </a:lnTo>
                    <a:lnTo>
                      <a:pt x="275" y="438"/>
                    </a:lnTo>
                    <a:lnTo>
                      <a:pt x="272" y="438"/>
                    </a:lnTo>
                    <a:lnTo>
                      <a:pt x="269" y="438"/>
                    </a:lnTo>
                    <a:lnTo>
                      <a:pt x="272" y="440"/>
                    </a:lnTo>
                    <a:lnTo>
                      <a:pt x="275" y="441"/>
                    </a:lnTo>
                    <a:lnTo>
                      <a:pt x="278" y="443"/>
                    </a:lnTo>
                    <a:lnTo>
                      <a:pt x="280" y="443"/>
                    </a:lnTo>
                    <a:lnTo>
                      <a:pt x="286" y="444"/>
                    </a:lnTo>
                    <a:lnTo>
                      <a:pt x="284" y="444"/>
                    </a:lnTo>
                    <a:lnTo>
                      <a:pt x="280" y="444"/>
                    </a:lnTo>
                    <a:lnTo>
                      <a:pt x="278" y="443"/>
                    </a:lnTo>
                    <a:lnTo>
                      <a:pt x="275" y="442"/>
                    </a:lnTo>
                    <a:lnTo>
                      <a:pt x="272" y="442"/>
                    </a:lnTo>
                    <a:lnTo>
                      <a:pt x="275" y="443"/>
                    </a:lnTo>
                    <a:lnTo>
                      <a:pt x="272" y="443"/>
                    </a:lnTo>
                    <a:lnTo>
                      <a:pt x="271" y="446"/>
                    </a:lnTo>
                    <a:lnTo>
                      <a:pt x="269" y="445"/>
                    </a:lnTo>
                    <a:lnTo>
                      <a:pt x="271" y="446"/>
                    </a:lnTo>
                    <a:lnTo>
                      <a:pt x="269" y="448"/>
                    </a:lnTo>
                    <a:lnTo>
                      <a:pt x="265" y="448"/>
                    </a:lnTo>
                    <a:lnTo>
                      <a:pt x="268" y="450"/>
                    </a:lnTo>
                    <a:lnTo>
                      <a:pt x="264" y="452"/>
                    </a:lnTo>
                    <a:lnTo>
                      <a:pt x="268" y="453"/>
                    </a:lnTo>
                    <a:lnTo>
                      <a:pt x="270" y="452"/>
                    </a:lnTo>
                    <a:lnTo>
                      <a:pt x="273" y="450"/>
                    </a:lnTo>
                    <a:lnTo>
                      <a:pt x="276" y="449"/>
                    </a:lnTo>
                    <a:lnTo>
                      <a:pt x="278" y="448"/>
                    </a:lnTo>
                    <a:lnTo>
                      <a:pt x="281" y="448"/>
                    </a:lnTo>
                    <a:lnTo>
                      <a:pt x="284" y="445"/>
                    </a:lnTo>
                    <a:lnTo>
                      <a:pt x="286" y="445"/>
                    </a:lnTo>
                    <a:lnTo>
                      <a:pt x="289" y="445"/>
                    </a:lnTo>
                    <a:lnTo>
                      <a:pt x="291" y="444"/>
                    </a:lnTo>
                    <a:lnTo>
                      <a:pt x="289" y="445"/>
                    </a:lnTo>
                    <a:lnTo>
                      <a:pt x="286" y="445"/>
                    </a:lnTo>
                    <a:lnTo>
                      <a:pt x="289" y="449"/>
                    </a:lnTo>
                    <a:lnTo>
                      <a:pt x="291" y="448"/>
                    </a:lnTo>
                    <a:lnTo>
                      <a:pt x="294" y="449"/>
                    </a:lnTo>
                    <a:lnTo>
                      <a:pt x="297" y="449"/>
                    </a:lnTo>
                    <a:lnTo>
                      <a:pt x="296" y="445"/>
                    </a:lnTo>
                    <a:lnTo>
                      <a:pt x="298" y="444"/>
                    </a:lnTo>
                    <a:lnTo>
                      <a:pt x="302" y="443"/>
                    </a:lnTo>
                    <a:lnTo>
                      <a:pt x="298" y="445"/>
                    </a:lnTo>
                    <a:lnTo>
                      <a:pt x="299" y="448"/>
                    </a:lnTo>
                    <a:lnTo>
                      <a:pt x="302" y="448"/>
                    </a:lnTo>
                    <a:lnTo>
                      <a:pt x="304" y="448"/>
                    </a:lnTo>
                    <a:lnTo>
                      <a:pt x="305" y="445"/>
                    </a:lnTo>
                    <a:lnTo>
                      <a:pt x="308" y="445"/>
                    </a:lnTo>
                    <a:lnTo>
                      <a:pt x="311" y="446"/>
                    </a:lnTo>
                    <a:lnTo>
                      <a:pt x="308" y="446"/>
                    </a:lnTo>
                    <a:lnTo>
                      <a:pt x="305" y="448"/>
                    </a:lnTo>
                    <a:lnTo>
                      <a:pt x="303" y="449"/>
                    </a:lnTo>
                    <a:lnTo>
                      <a:pt x="299" y="449"/>
                    </a:lnTo>
                    <a:lnTo>
                      <a:pt x="303" y="451"/>
                    </a:lnTo>
                    <a:lnTo>
                      <a:pt x="305" y="451"/>
                    </a:lnTo>
                    <a:lnTo>
                      <a:pt x="308" y="450"/>
                    </a:lnTo>
                    <a:lnTo>
                      <a:pt x="311" y="449"/>
                    </a:lnTo>
                    <a:lnTo>
                      <a:pt x="313" y="449"/>
                    </a:lnTo>
                    <a:lnTo>
                      <a:pt x="316" y="450"/>
                    </a:lnTo>
                    <a:lnTo>
                      <a:pt x="316" y="450"/>
                    </a:lnTo>
                    <a:lnTo>
                      <a:pt x="313" y="449"/>
                    </a:lnTo>
                    <a:lnTo>
                      <a:pt x="311" y="450"/>
                    </a:lnTo>
                    <a:lnTo>
                      <a:pt x="308" y="451"/>
                    </a:lnTo>
                    <a:lnTo>
                      <a:pt x="305" y="452"/>
                    </a:lnTo>
                    <a:lnTo>
                      <a:pt x="308" y="454"/>
                    </a:lnTo>
                    <a:lnTo>
                      <a:pt x="311" y="454"/>
                    </a:lnTo>
                    <a:lnTo>
                      <a:pt x="313" y="454"/>
                    </a:lnTo>
                    <a:lnTo>
                      <a:pt x="311" y="454"/>
                    </a:lnTo>
                    <a:lnTo>
                      <a:pt x="308" y="454"/>
                    </a:lnTo>
                    <a:lnTo>
                      <a:pt x="305" y="454"/>
                    </a:lnTo>
                    <a:lnTo>
                      <a:pt x="303" y="452"/>
                    </a:lnTo>
                    <a:lnTo>
                      <a:pt x="299" y="451"/>
                    </a:lnTo>
                    <a:lnTo>
                      <a:pt x="297" y="450"/>
                    </a:lnTo>
                    <a:lnTo>
                      <a:pt x="294" y="451"/>
                    </a:lnTo>
                    <a:lnTo>
                      <a:pt x="291" y="451"/>
                    </a:lnTo>
                    <a:lnTo>
                      <a:pt x="288" y="450"/>
                    </a:lnTo>
                    <a:lnTo>
                      <a:pt x="286" y="449"/>
                    </a:lnTo>
                    <a:lnTo>
                      <a:pt x="284" y="449"/>
                    </a:lnTo>
                    <a:lnTo>
                      <a:pt x="280" y="449"/>
                    </a:lnTo>
                    <a:lnTo>
                      <a:pt x="278" y="449"/>
                    </a:lnTo>
                    <a:lnTo>
                      <a:pt x="280" y="449"/>
                    </a:lnTo>
                    <a:lnTo>
                      <a:pt x="275" y="450"/>
                    </a:lnTo>
                    <a:lnTo>
                      <a:pt x="272" y="452"/>
                    </a:lnTo>
                    <a:lnTo>
                      <a:pt x="269" y="454"/>
                    </a:lnTo>
                    <a:lnTo>
                      <a:pt x="267" y="454"/>
                    </a:lnTo>
                    <a:lnTo>
                      <a:pt x="264" y="457"/>
                    </a:lnTo>
                    <a:lnTo>
                      <a:pt x="263" y="459"/>
                    </a:lnTo>
                    <a:lnTo>
                      <a:pt x="265" y="461"/>
                    </a:lnTo>
                    <a:lnTo>
                      <a:pt x="271" y="459"/>
                    </a:lnTo>
                    <a:lnTo>
                      <a:pt x="275" y="459"/>
                    </a:lnTo>
                    <a:lnTo>
                      <a:pt x="277" y="459"/>
                    </a:lnTo>
                    <a:lnTo>
                      <a:pt x="280" y="458"/>
                    </a:lnTo>
                    <a:lnTo>
                      <a:pt x="282" y="458"/>
                    </a:lnTo>
                    <a:lnTo>
                      <a:pt x="285" y="457"/>
                    </a:lnTo>
                    <a:lnTo>
                      <a:pt x="288" y="458"/>
                    </a:lnTo>
                    <a:lnTo>
                      <a:pt x="294" y="458"/>
                    </a:lnTo>
                    <a:lnTo>
                      <a:pt x="296" y="457"/>
                    </a:lnTo>
                    <a:lnTo>
                      <a:pt x="299" y="457"/>
                    </a:lnTo>
                    <a:lnTo>
                      <a:pt x="296" y="458"/>
                    </a:lnTo>
                    <a:lnTo>
                      <a:pt x="297" y="460"/>
                    </a:lnTo>
                    <a:lnTo>
                      <a:pt x="299" y="462"/>
                    </a:lnTo>
                    <a:lnTo>
                      <a:pt x="303" y="462"/>
                    </a:lnTo>
                    <a:lnTo>
                      <a:pt x="305" y="461"/>
                    </a:lnTo>
                    <a:lnTo>
                      <a:pt x="308" y="461"/>
                    </a:lnTo>
                    <a:lnTo>
                      <a:pt x="311" y="461"/>
                    </a:lnTo>
                    <a:lnTo>
                      <a:pt x="308" y="462"/>
                    </a:lnTo>
                    <a:lnTo>
                      <a:pt x="305" y="462"/>
                    </a:lnTo>
                    <a:lnTo>
                      <a:pt x="303" y="462"/>
                    </a:lnTo>
                    <a:lnTo>
                      <a:pt x="299" y="463"/>
                    </a:lnTo>
                    <a:lnTo>
                      <a:pt x="297" y="461"/>
                    </a:lnTo>
                    <a:lnTo>
                      <a:pt x="295" y="459"/>
                    </a:lnTo>
                    <a:lnTo>
                      <a:pt x="293" y="458"/>
                    </a:lnTo>
                    <a:lnTo>
                      <a:pt x="289" y="458"/>
                    </a:lnTo>
                    <a:lnTo>
                      <a:pt x="287" y="458"/>
                    </a:lnTo>
                    <a:lnTo>
                      <a:pt x="285" y="458"/>
                    </a:lnTo>
                    <a:lnTo>
                      <a:pt x="281" y="459"/>
                    </a:lnTo>
                    <a:lnTo>
                      <a:pt x="279" y="459"/>
                    </a:lnTo>
                    <a:lnTo>
                      <a:pt x="276" y="460"/>
                    </a:lnTo>
                    <a:lnTo>
                      <a:pt x="271" y="460"/>
                    </a:lnTo>
                    <a:lnTo>
                      <a:pt x="268" y="460"/>
                    </a:lnTo>
                    <a:lnTo>
                      <a:pt x="265" y="462"/>
                    </a:lnTo>
                    <a:lnTo>
                      <a:pt x="263" y="462"/>
                    </a:lnTo>
                    <a:lnTo>
                      <a:pt x="265" y="463"/>
                    </a:lnTo>
                    <a:lnTo>
                      <a:pt x="268" y="463"/>
                    </a:lnTo>
                    <a:lnTo>
                      <a:pt x="265" y="464"/>
                    </a:lnTo>
                    <a:lnTo>
                      <a:pt x="268" y="466"/>
                    </a:lnTo>
                    <a:lnTo>
                      <a:pt x="271" y="466"/>
                    </a:lnTo>
                    <a:lnTo>
                      <a:pt x="268" y="467"/>
                    </a:lnTo>
                    <a:lnTo>
                      <a:pt x="265" y="467"/>
                    </a:lnTo>
                    <a:lnTo>
                      <a:pt x="268" y="468"/>
                    </a:lnTo>
                    <a:lnTo>
                      <a:pt x="271" y="468"/>
                    </a:lnTo>
                    <a:lnTo>
                      <a:pt x="273" y="468"/>
                    </a:lnTo>
                    <a:lnTo>
                      <a:pt x="277" y="468"/>
                    </a:lnTo>
                    <a:lnTo>
                      <a:pt x="279" y="468"/>
                    </a:lnTo>
                    <a:lnTo>
                      <a:pt x="281" y="467"/>
                    </a:lnTo>
                    <a:lnTo>
                      <a:pt x="285" y="468"/>
                    </a:lnTo>
                    <a:lnTo>
                      <a:pt x="281" y="469"/>
                    </a:lnTo>
                    <a:lnTo>
                      <a:pt x="279" y="469"/>
                    </a:lnTo>
                    <a:lnTo>
                      <a:pt x="277" y="470"/>
                    </a:lnTo>
                    <a:lnTo>
                      <a:pt x="273" y="470"/>
                    </a:lnTo>
                    <a:lnTo>
                      <a:pt x="277" y="470"/>
                    </a:lnTo>
                    <a:lnTo>
                      <a:pt x="279" y="470"/>
                    </a:lnTo>
                    <a:lnTo>
                      <a:pt x="277" y="471"/>
                    </a:lnTo>
                    <a:lnTo>
                      <a:pt x="273" y="471"/>
                    </a:lnTo>
                    <a:lnTo>
                      <a:pt x="277" y="472"/>
                    </a:lnTo>
                    <a:lnTo>
                      <a:pt x="279" y="472"/>
                    </a:lnTo>
                    <a:lnTo>
                      <a:pt x="277" y="474"/>
                    </a:lnTo>
                    <a:lnTo>
                      <a:pt x="273" y="474"/>
                    </a:lnTo>
                    <a:lnTo>
                      <a:pt x="271" y="474"/>
                    </a:lnTo>
                    <a:lnTo>
                      <a:pt x="269" y="475"/>
                    </a:lnTo>
                    <a:lnTo>
                      <a:pt x="271" y="476"/>
                    </a:lnTo>
                    <a:lnTo>
                      <a:pt x="273" y="476"/>
                    </a:lnTo>
                    <a:lnTo>
                      <a:pt x="277" y="476"/>
                    </a:lnTo>
                    <a:lnTo>
                      <a:pt x="279" y="476"/>
                    </a:lnTo>
                    <a:lnTo>
                      <a:pt x="281" y="476"/>
                    </a:lnTo>
                    <a:lnTo>
                      <a:pt x="279" y="477"/>
                    </a:lnTo>
                    <a:lnTo>
                      <a:pt x="277" y="476"/>
                    </a:lnTo>
                    <a:lnTo>
                      <a:pt x="273" y="477"/>
                    </a:lnTo>
                    <a:lnTo>
                      <a:pt x="271" y="477"/>
                    </a:lnTo>
                    <a:lnTo>
                      <a:pt x="269" y="477"/>
                    </a:lnTo>
                    <a:lnTo>
                      <a:pt x="265" y="479"/>
                    </a:lnTo>
                    <a:lnTo>
                      <a:pt x="265" y="483"/>
                    </a:lnTo>
                    <a:lnTo>
                      <a:pt x="269" y="483"/>
                    </a:lnTo>
                    <a:lnTo>
                      <a:pt x="271" y="483"/>
                    </a:lnTo>
                    <a:lnTo>
                      <a:pt x="269" y="484"/>
                    </a:lnTo>
                    <a:lnTo>
                      <a:pt x="265" y="486"/>
                    </a:lnTo>
                    <a:lnTo>
                      <a:pt x="267" y="486"/>
                    </a:lnTo>
                    <a:lnTo>
                      <a:pt x="269" y="486"/>
                    </a:lnTo>
                    <a:lnTo>
                      <a:pt x="272" y="486"/>
                    </a:lnTo>
                    <a:lnTo>
                      <a:pt x="275" y="485"/>
                    </a:lnTo>
                    <a:lnTo>
                      <a:pt x="277" y="483"/>
                    </a:lnTo>
                    <a:lnTo>
                      <a:pt x="280" y="480"/>
                    </a:lnTo>
                    <a:lnTo>
                      <a:pt x="282" y="479"/>
                    </a:lnTo>
                    <a:lnTo>
                      <a:pt x="286" y="477"/>
                    </a:lnTo>
                    <a:lnTo>
                      <a:pt x="288" y="475"/>
                    </a:lnTo>
                    <a:lnTo>
                      <a:pt x="290" y="474"/>
                    </a:lnTo>
                    <a:lnTo>
                      <a:pt x="294" y="471"/>
                    </a:lnTo>
                    <a:lnTo>
                      <a:pt x="296" y="470"/>
                    </a:lnTo>
                    <a:lnTo>
                      <a:pt x="299" y="468"/>
                    </a:lnTo>
                    <a:lnTo>
                      <a:pt x="302" y="467"/>
                    </a:lnTo>
                    <a:lnTo>
                      <a:pt x="304" y="466"/>
                    </a:lnTo>
                    <a:lnTo>
                      <a:pt x="307" y="466"/>
                    </a:lnTo>
                    <a:lnTo>
                      <a:pt x="310" y="464"/>
                    </a:lnTo>
                    <a:lnTo>
                      <a:pt x="307" y="466"/>
                    </a:lnTo>
                    <a:lnTo>
                      <a:pt x="310" y="466"/>
                    </a:lnTo>
                    <a:lnTo>
                      <a:pt x="313" y="467"/>
                    </a:lnTo>
                    <a:lnTo>
                      <a:pt x="315" y="467"/>
                    </a:lnTo>
                    <a:lnTo>
                      <a:pt x="313" y="467"/>
                    </a:lnTo>
                    <a:lnTo>
                      <a:pt x="307" y="466"/>
                    </a:lnTo>
                    <a:lnTo>
                      <a:pt x="305" y="467"/>
                    </a:lnTo>
                    <a:lnTo>
                      <a:pt x="304" y="469"/>
                    </a:lnTo>
                    <a:lnTo>
                      <a:pt x="307" y="469"/>
                    </a:lnTo>
                    <a:lnTo>
                      <a:pt x="310" y="469"/>
                    </a:lnTo>
                    <a:lnTo>
                      <a:pt x="307" y="469"/>
                    </a:lnTo>
                    <a:lnTo>
                      <a:pt x="304" y="470"/>
                    </a:lnTo>
                    <a:lnTo>
                      <a:pt x="302" y="469"/>
                    </a:lnTo>
                    <a:lnTo>
                      <a:pt x="299" y="469"/>
                    </a:lnTo>
                    <a:lnTo>
                      <a:pt x="296" y="471"/>
                    </a:lnTo>
                    <a:lnTo>
                      <a:pt x="294" y="472"/>
                    </a:lnTo>
                    <a:lnTo>
                      <a:pt x="290" y="474"/>
                    </a:lnTo>
                    <a:lnTo>
                      <a:pt x="288" y="477"/>
                    </a:lnTo>
                    <a:lnTo>
                      <a:pt x="286" y="478"/>
                    </a:lnTo>
                    <a:lnTo>
                      <a:pt x="282" y="479"/>
                    </a:lnTo>
                    <a:lnTo>
                      <a:pt x="280" y="481"/>
                    </a:lnTo>
                    <a:lnTo>
                      <a:pt x="277" y="484"/>
                    </a:lnTo>
                    <a:lnTo>
                      <a:pt x="275" y="485"/>
                    </a:lnTo>
                    <a:lnTo>
                      <a:pt x="272" y="486"/>
                    </a:lnTo>
                    <a:lnTo>
                      <a:pt x="269" y="487"/>
                    </a:lnTo>
                    <a:lnTo>
                      <a:pt x="272" y="488"/>
                    </a:lnTo>
                    <a:lnTo>
                      <a:pt x="269" y="489"/>
                    </a:lnTo>
                    <a:lnTo>
                      <a:pt x="272" y="491"/>
                    </a:lnTo>
                    <a:lnTo>
                      <a:pt x="275" y="488"/>
                    </a:lnTo>
                    <a:lnTo>
                      <a:pt x="272" y="491"/>
                    </a:lnTo>
                    <a:lnTo>
                      <a:pt x="275" y="492"/>
                    </a:lnTo>
                    <a:lnTo>
                      <a:pt x="280" y="489"/>
                    </a:lnTo>
                    <a:lnTo>
                      <a:pt x="282" y="491"/>
                    </a:lnTo>
                    <a:lnTo>
                      <a:pt x="286" y="489"/>
                    </a:lnTo>
                    <a:lnTo>
                      <a:pt x="288" y="488"/>
                    </a:lnTo>
                    <a:lnTo>
                      <a:pt x="290" y="487"/>
                    </a:lnTo>
                    <a:lnTo>
                      <a:pt x="293" y="491"/>
                    </a:lnTo>
                    <a:lnTo>
                      <a:pt x="290" y="488"/>
                    </a:lnTo>
                    <a:lnTo>
                      <a:pt x="287" y="489"/>
                    </a:lnTo>
                    <a:lnTo>
                      <a:pt x="285" y="493"/>
                    </a:lnTo>
                    <a:lnTo>
                      <a:pt x="281" y="492"/>
                    </a:lnTo>
                    <a:lnTo>
                      <a:pt x="279" y="491"/>
                    </a:lnTo>
                    <a:lnTo>
                      <a:pt x="277" y="492"/>
                    </a:lnTo>
                    <a:lnTo>
                      <a:pt x="273" y="493"/>
                    </a:lnTo>
                    <a:lnTo>
                      <a:pt x="277" y="493"/>
                    </a:lnTo>
                    <a:lnTo>
                      <a:pt x="273" y="495"/>
                    </a:lnTo>
                    <a:lnTo>
                      <a:pt x="277" y="496"/>
                    </a:lnTo>
                    <a:lnTo>
                      <a:pt x="279" y="493"/>
                    </a:lnTo>
                    <a:lnTo>
                      <a:pt x="279" y="496"/>
                    </a:lnTo>
                    <a:lnTo>
                      <a:pt x="278" y="498"/>
                    </a:lnTo>
                    <a:lnTo>
                      <a:pt x="281" y="498"/>
                    </a:lnTo>
                    <a:lnTo>
                      <a:pt x="280" y="501"/>
                    </a:lnTo>
                    <a:lnTo>
                      <a:pt x="282" y="502"/>
                    </a:lnTo>
                    <a:lnTo>
                      <a:pt x="286" y="501"/>
                    </a:lnTo>
                    <a:lnTo>
                      <a:pt x="288" y="500"/>
                    </a:lnTo>
                    <a:lnTo>
                      <a:pt x="289" y="497"/>
                    </a:lnTo>
                    <a:lnTo>
                      <a:pt x="291" y="496"/>
                    </a:lnTo>
                    <a:lnTo>
                      <a:pt x="295" y="495"/>
                    </a:lnTo>
                    <a:lnTo>
                      <a:pt x="297" y="494"/>
                    </a:lnTo>
                    <a:lnTo>
                      <a:pt x="299" y="494"/>
                    </a:lnTo>
                    <a:lnTo>
                      <a:pt x="303" y="494"/>
                    </a:lnTo>
                    <a:lnTo>
                      <a:pt x="305" y="494"/>
                    </a:lnTo>
                    <a:lnTo>
                      <a:pt x="306" y="494"/>
                    </a:lnTo>
                    <a:lnTo>
                      <a:pt x="306" y="496"/>
                    </a:lnTo>
                    <a:lnTo>
                      <a:pt x="304" y="494"/>
                    </a:lnTo>
                    <a:lnTo>
                      <a:pt x="298" y="494"/>
                    </a:lnTo>
                    <a:lnTo>
                      <a:pt x="295" y="495"/>
                    </a:lnTo>
                    <a:lnTo>
                      <a:pt x="293" y="496"/>
                    </a:lnTo>
                    <a:lnTo>
                      <a:pt x="290" y="498"/>
                    </a:lnTo>
                    <a:lnTo>
                      <a:pt x="288" y="501"/>
                    </a:lnTo>
                    <a:lnTo>
                      <a:pt x="286" y="502"/>
                    </a:lnTo>
                    <a:lnTo>
                      <a:pt x="282" y="503"/>
                    </a:lnTo>
                    <a:lnTo>
                      <a:pt x="284" y="505"/>
                    </a:lnTo>
                    <a:lnTo>
                      <a:pt x="286" y="504"/>
                    </a:lnTo>
                    <a:lnTo>
                      <a:pt x="286" y="506"/>
                    </a:lnTo>
                    <a:lnTo>
                      <a:pt x="288" y="505"/>
                    </a:lnTo>
                    <a:lnTo>
                      <a:pt x="286" y="508"/>
                    </a:lnTo>
                    <a:lnTo>
                      <a:pt x="286" y="510"/>
                    </a:lnTo>
                    <a:lnTo>
                      <a:pt x="287" y="513"/>
                    </a:lnTo>
                    <a:lnTo>
                      <a:pt x="286" y="515"/>
                    </a:lnTo>
                    <a:lnTo>
                      <a:pt x="288" y="515"/>
                    </a:lnTo>
                    <a:lnTo>
                      <a:pt x="291" y="513"/>
                    </a:lnTo>
                    <a:lnTo>
                      <a:pt x="293" y="511"/>
                    </a:lnTo>
                    <a:lnTo>
                      <a:pt x="295" y="513"/>
                    </a:lnTo>
                    <a:lnTo>
                      <a:pt x="298" y="512"/>
                    </a:lnTo>
                    <a:lnTo>
                      <a:pt x="295" y="514"/>
                    </a:lnTo>
                    <a:lnTo>
                      <a:pt x="293" y="514"/>
                    </a:lnTo>
                    <a:lnTo>
                      <a:pt x="289" y="515"/>
                    </a:lnTo>
                    <a:lnTo>
                      <a:pt x="287" y="518"/>
                    </a:lnTo>
                    <a:lnTo>
                      <a:pt x="288" y="520"/>
                    </a:lnTo>
                    <a:lnTo>
                      <a:pt x="287" y="523"/>
                    </a:lnTo>
                    <a:lnTo>
                      <a:pt x="288" y="526"/>
                    </a:lnTo>
                    <a:lnTo>
                      <a:pt x="289" y="529"/>
                    </a:lnTo>
                    <a:lnTo>
                      <a:pt x="291" y="528"/>
                    </a:lnTo>
                    <a:lnTo>
                      <a:pt x="293" y="525"/>
                    </a:lnTo>
                    <a:lnTo>
                      <a:pt x="296" y="522"/>
                    </a:lnTo>
                    <a:lnTo>
                      <a:pt x="296" y="520"/>
                    </a:lnTo>
                    <a:lnTo>
                      <a:pt x="298" y="518"/>
                    </a:lnTo>
                    <a:lnTo>
                      <a:pt x="301" y="517"/>
                    </a:lnTo>
                    <a:lnTo>
                      <a:pt x="301" y="520"/>
                    </a:lnTo>
                    <a:lnTo>
                      <a:pt x="304" y="518"/>
                    </a:lnTo>
                    <a:lnTo>
                      <a:pt x="306" y="515"/>
                    </a:lnTo>
                    <a:lnTo>
                      <a:pt x="306" y="513"/>
                    </a:lnTo>
                    <a:lnTo>
                      <a:pt x="304" y="510"/>
                    </a:lnTo>
                    <a:lnTo>
                      <a:pt x="304" y="508"/>
                    </a:lnTo>
                    <a:lnTo>
                      <a:pt x="306" y="508"/>
                    </a:lnTo>
                    <a:lnTo>
                      <a:pt x="305" y="510"/>
                    </a:lnTo>
                    <a:lnTo>
                      <a:pt x="306" y="512"/>
                    </a:lnTo>
                    <a:lnTo>
                      <a:pt x="308" y="515"/>
                    </a:lnTo>
                    <a:lnTo>
                      <a:pt x="311" y="517"/>
                    </a:lnTo>
                    <a:lnTo>
                      <a:pt x="313" y="515"/>
                    </a:lnTo>
                    <a:lnTo>
                      <a:pt x="316" y="514"/>
                    </a:lnTo>
                    <a:lnTo>
                      <a:pt x="316" y="514"/>
                    </a:lnTo>
                    <a:lnTo>
                      <a:pt x="315" y="514"/>
                    </a:lnTo>
                    <a:lnTo>
                      <a:pt x="313" y="518"/>
                    </a:lnTo>
                    <a:lnTo>
                      <a:pt x="316" y="518"/>
                    </a:lnTo>
                    <a:lnTo>
                      <a:pt x="316" y="519"/>
                    </a:lnTo>
                    <a:lnTo>
                      <a:pt x="314" y="519"/>
                    </a:lnTo>
                    <a:lnTo>
                      <a:pt x="316" y="522"/>
                    </a:lnTo>
                    <a:lnTo>
                      <a:pt x="319" y="523"/>
                    </a:lnTo>
                    <a:lnTo>
                      <a:pt x="321" y="526"/>
                    </a:lnTo>
                    <a:lnTo>
                      <a:pt x="319" y="525"/>
                    </a:lnTo>
                    <a:lnTo>
                      <a:pt x="316" y="523"/>
                    </a:lnTo>
                    <a:lnTo>
                      <a:pt x="313" y="522"/>
                    </a:lnTo>
                    <a:lnTo>
                      <a:pt x="312" y="519"/>
                    </a:lnTo>
                    <a:lnTo>
                      <a:pt x="310" y="518"/>
                    </a:lnTo>
                    <a:lnTo>
                      <a:pt x="307" y="518"/>
                    </a:lnTo>
                    <a:lnTo>
                      <a:pt x="310" y="519"/>
                    </a:lnTo>
                    <a:lnTo>
                      <a:pt x="307" y="519"/>
                    </a:lnTo>
                    <a:lnTo>
                      <a:pt x="304" y="519"/>
                    </a:lnTo>
                    <a:lnTo>
                      <a:pt x="307" y="520"/>
                    </a:lnTo>
                    <a:lnTo>
                      <a:pt x="310" y="521"/>
                    </a:lnTo>
                    <a:lnTo>
                      <a:pt x="311" y="523"/>
                    </a:lnTo>
                    <a:lnTo>
                      <a:pt x="313" y="523"/>
                    </a:lnTo>
                    <a:lnTo>
                      <a:pt x="311" y="525"/>
                    </a:lnTo>
                    <a:lnTo>
                      <a:pt x="307" y="523"/>
                    </a:lnTo>
                    <a:lnTo>
                      <a:pt x="305" y="523"/>
                    </a:lnTo>
                    <a:lnTo>
                      <a:pt x="303" y="527"/>
                    </a:lnTo>
                    <a:lnTo>
                      <a:pt x="299" y="529"/>
                    </a:lnTo>
                    <a:lnTo>
                      <a:pt x="297" y="529"/>
                    </a:lnTo>
                    <a:lnTo>
                      <a:pt x="295" y="528"/>
                    </a:lnTo>
                    <a:lnTo>
                      <a:pt x="297" y="530"/>
                    </a:lnTo>
                    <a:lnTo>
                      <a:pt x="295" y="530"/>
                    </a:lnTo>
                    <a:lnTo>
                      <a:pt x="297" y="531"/>
                    </a:lnTo>
                    <a:lnTo>
                      <a:pt x="299" y="531"/>
                    </a:lnTo>
                    <a:lnTo>
                      <a:pt x="303" y="530"/>
                    </a:lnTo>
                    <a:lnTo>
                      <a:pt x="308" y="528"/>
                    </a:lnTo>
                    <a:lnTo>
                      <a:pt x="311" y="526"/>
                    </a:lnTo>
                    <a:lnTo>
                      <a:pt x="308" y="528"/>
                    </a:lnTo>
                    <a:lnTo>
                      <a:pt x="312" y="529"/>
                    </a:lnTo>
                    <a:lnTo>
                      <a:pt x="314" y="528"/>
                    </a:lnTo>
                    <a:lnTo>
                      <a:pt x="315" y="531"/>
                    </a:lnTo>
                    <a:lnTo>
                      <a:pt x="312" y="529"/>
                    </a:lnTo>
                    <a:lnTo>
                      <a:pt x="310" y="530"/>
                    </a:lnTo>
                    <a:lnTo>
                      <a:pt x="307" y="529"/>
                    </a:lnTo>
                    <a:lnTo>
                      <a:pt x="304" y="531"/>
                    </a:lnTo>
                    <a:lnTo>
                      <a:pt x="302" y="531"/>
                    </a:lnTo>
                    <a:lnTo>
                      <a:pt x="299" y="531"/>
                    </a:lnTo>
                    <a:lnTo>
                      <a:pt x="296" y="532"/>
                    </a:lnTo>
                    <a:lnTo>
                      <a:pt x="295" y="532"/>
                    </a:lnTo>
                    <a:lnTo>
                      <a:pt x="297" y="534"/>
                    </a:lnTo>
                    <a:lnTo>
                      <a:pt x="297" y="537"/>
                    </a:lnTo>
                    <a:lnTo>
                      <a:pt x="299" y="536"/>
                    </a:lnTo>
                    <a:lnTo>
                      <a:pt x="303" y="535"/>
                    </a:lnTo>
                    <a:lnTo>
                      <a:pt x="299" y="537"/>
                    </a:lnTo>
                    <a:lnTo>
                      <a:pt x="297" y="538"/>
                    </a:lnTo>
                    <a:lnTo>
                      <a:pt x="295" y="540"/>
                    </a:lnTo>
                    <a:lnTo>
                      <a:pt x="298" y="541"/>
                    </a:lnTo>
                    <a:lnTo>
                      <a:pt x="301" y="540"/>
                    </a:lnTo>
                    <a:lnTo>
                      <a:pt x="304" y="541"/>
                    </a:lnTo>
                    <a:lnTo>
                      <a:pt x="306" y="540"/>
                    </a:lnTo>
                    <a:lnTo>
                      <a:pt x="308" y="540"/>
                    </a:lnTo>
                    <a:lnTo>
                      <a:pt x="306" y="541"/>
                    </a:lnTo>
                    <a:lnTo>
                      <a:pt x="304" y="541"/>
                    </a:lnTo>
                    <a:lnTo>
                      <a:pt x="301" y="541"/>
                    </a:lnTo>
                    <a:lnTo>
                      <a:pt x="304" y="544"/>
                    </a:lnTo>
                    <a:lnTo>
                      <a:pt x="301" y="545"/>
                    </a:lnTo>
                    <a:lnTo>
                      <a:pt x="304" y="547"/>
                    </a:lnTo>
                    <a:lnTo>
                      <a:pt x="306" y="546"/>
                    </a:lnTo>
                    <a:lnTo>
                      <a:pt x="308" y="546"/>
                    </a:lnTo>
                    <a:lnTo>
                      <a:pt x="312" y="546"/>
                    </a:lnTo>
                    <a:lnTo>
                      <a:pt x="308" y="547"/>
                    </a:lnTo>
                    <a:lnTo>
                      <a:pt x="306" y="547"/>
                    </a:lnTo>
                    <a:lnTo>
                      <a:pt x="304" y="547"/>
                    </a:lnTo>
                    <a:lnTo>
                      <a:pt x="301" y="547"/>
                    </a:lnTo>
                    <a:lnTo>
                      <a:pt x="302" y="551"/>
                    </a:lnTo>
                    <a:lnTo>
                      <a:pt x="304" y="549"/>
                    </a:lnTo>
                    <a:lnTo>
                      <a:pt x="307" y="551"/>
                    </a:lnTo>
                    <a:lnTo>
                      <a:pt x="310" y="551"/>
                    </a:lnTo>
                    <a:lnTo>
                      <a:pt x="312" y="549"/>
                    </a:lnTo>
                    <a:lnTo>
                      <a:pt x="315" y="549"/>
                    </a:lnTo>
                    <a:lnTo>
                      <a:pt x="312" y="551"/>
                    </a:lnTo>
                    <a:lnTo>
                      <a:pt x="310" y="552"/>
                    </a:lnTo>
                    <a:lnTo>
                      <a:pt x="308" y="555"/>
                    </a:lnTo>
                    <a:lnTo>
                      <a:pt x="312" y="555"/>
                    </a:lnTo>
                    <a:lnTo>
                      <a:pt x="311" y="558"/>
                    </a:lnTo>
                    <a:lnTo>
                      <a:pt x="313" y="556"/>
                    </a:lnTo>
                    <a:lnTo>
                      <a:pt x="316" y="555"/>
                    </a:lnTo>
                    <a:lnTo>
                      <a:pt x="319" y="554"/>
                    </a:lnTo>
                    <a:lnTo>
                      <a:pt x="316" y="555"/>
                    </a:lnTo>
                    <a:lnTo>
                      <a:pt x="314" y="556"/>
                    </a:lnTo>
                    <a:lnTo>
                      <a:pt x="313" y="560"/>
                    </a:lnTo>
                    <a:lnTo>
                      <a:pt x="316" y="558"/>
                    </a:lnTo>
                    <a:lnTo>
                      <a:pt x="316" y="558"/>
                    </a:lnTo>
                    <a:lnTo>
                      <a:pt x="315" y="560"/>
                    </a:lnTo>
                    <a:lnTo>
                      <a:pt x="313" y="562"/>
                    </a:lnTo>
                    <a:lnTo>
                      <a:pt x="312" y="565"/>
                    </a:lnTo>
                    <a:lnTo>
                      <a:pt x="313" y="568"/>
                    </a:lnTo>
                    <a:lnTo>
                      <a:pt x="316" y="570"/>
                    </a:lnTo>
                    <a:lnTo>
                      <a:pt x="318" y="569"/>
                    </a:lnTo>
                    <a:lnTo>
                      <a:pt x="319" y="571"/>
                    </a:lnTo>
                    <a:lnTo>
                      <a:pt x="321" y="571"/>
                    </a:lnTo>
                    <a:lnTo>
                      <a:pt x="323" y="571"/>
                    </a:lnTo>
                    <a:lnTo>
                      <a:pt x="321" y="573"/>
                    </a:lnTo>
                    <a:lnTo>
                      <a:pt x="323" y="574"/>
                    </a:lnTo>
                    <a:lnTo>
                      <a:pt x="321" y="573"/>
                    </a:lnTo>
                    <a:lnTo>
                      <a:pt x="322" y="577"/>
                    </a:lnTo>
                    <a:lnTo>
                      <a:pt x="325" y="577"/>
                    </a:lnTo>
                    <a:lnTo>
                      <a:pt x="328" y="575"/>
                    </a:lnTo>
                    <a:lnTo>
                      <a:pt x="329" y="573"/>
                    </a:lnTo>
                    <a:lnTo>
                      <a:pt x="330" y="575"/>
                    </a:lnTo>
                    <a:lnTo>
                      <a:pt x="327" y="577"/>
                    </a:lnTo>
                    <a:lnTo>
                      <a:pt x="324" y="578"/>
                    </a:lnTo>
                    <a:lnTo>
                      <a:pt x="324" y="580"/>
                    </a:lnTo>
                    <a:lnTo>
                      <a:pt x="327" y="580"/>
                    </a:lnTo>
                    <a:lnTo>
                      <a:pt x="330" y="578"/>
                    </a:lnTo>
                    <a:lnTo>
                      <a:pt x="332" y="577"/>
                    </a:lnTo>
                    <a:lnTo>
                      <a:pt x="330" y="579"/>
                    </a:lnTo>
                    <a:lnTo>
                      <a:pt x="329" y="582"/>
                    </a:lnTo>
                    <a:lnTo>
                      <a:pt x="331" y="581"/>
                    </a:lnTo>
                    <a:lnTo>
                      <a:pt x="331" y="585"/>
                    </a:lnTo>
                    <a:lnTo>
                      <a:pt x="333" y="585"/>
                    </a:lnTo>
                    <a:lnTo>
                      <a:pt x="331" y="585"/>
                    </a:lnTo>
                    <a:lnTo>
                      <a:pt x="329" y="585"/>
                    </a:lnTo>
                    <a:lnTo>
                      <a:pt x="325" y="586"/>
                    </a:lnTo>
                    <a:lnTo>
                      <a:pt x="329" y="587"/>
                    </a:lnTo>
                    <a:lnTo>
                      <a:pt x="331" y="587"/>
                    </a:lnTo>
                    <a:lnTo>
                      <a:pt x="333" y="587"/>
                    </a:lnTo>
                    <a:lnTo>
                      <a:pt x="337" y="586"/>
                    </a:lnTo>
                    <a:lnTo>
                      <a:pt x="339" y="586"/>
                    </a:lnTo>
                    <a:lnTo>
                      <a:pt x="337" y="587"/>
                    </a:lnTo>
                    <a:lnTo>
                      <a:pt x="333" y="588"/>
                    </a:lnTo>
                    <a:lnTo>
                      <a:pt x="331" y="589"/>
                    </a:lnTo>
                    <a:lnTo>
                      <a:pt x="333" y="589"/>
                    </a:lnTo>
                    <a:lnTo>
                      <a:pt x="337" y="589"/>
                    </a:lnTo>
                    <a:lnTo>
                      <a:pt x="337" y="591"/>
                    </a:lnTo>
                    <a:lnTo>
                      <a:pt x="338" y="595"/>
                    </a:lnTo>
                    <a:lnTo>
                      <a:pt x="340" y="592"/>
                    </a:lnTo>
                    <a:lnTo>
                      <a:pt x="342" y="591"/>
                    </a:lnTo>
                    <a:lnTo>
                      <a:pt x="340" y="594"/>
                    </a:lnTo>
                    <a:lnTo>
                      <a:pt x="342" y="595"/>
                    </a:lnTo>
                    <a:lnTo>
                      <a:pt x="346" y="594"/>
                    </a:lnTo>
                    <a:lnTo>
                      <a:pt x="342" y="596"/>
                    </a:lnTo>
                    <a:lnTo>
                      <a:pt x="340" y="597"/>
                    </a:lnTo>
                    <a:lnTo>
                      <a:pt x="342" y="597"/>
                    </a:lnTo>
                    <a:lnTo>
                      <a:pt x="346" y="598"/>
                    </a:lnTo>
                    <a:lnTo>
                      <a:pt x="342" y="599"/>
                    </a:lnTo>
                    <a:lnTo>
                      <a:pt x="340" y="602"/>
                    </a:lnTo>
                    <a:lnTo>
                      <a:pt x="342" y="600"/>
                    </a:lnTo>
                    <a:lnTo>
                      <a:pt x="346" y="600"/>
                    </a:lnTo>
                    <a:lnTo>
                      <a:pt x="348" y="602"/>
                    </a:lnTo>
                    <a:lnTo>
                      <a:pt x="352" y="599"/>
                    </a:lnTo>
                    <a:lnTo>
                      <a:pt x="346" y="599"/>
                    </a:lnTo>
                    <a:lnTo>
                      <a:pt x="352" y="598"/>
                    </a:lnTo>
                    <a:lnTo>
                      <a:pt x="354" y="599"/>
                    </a:lnTo>
                    <a:lnTo>
                      <a:pt x="357" y="598"/>
                    </a:lnTo>
                    <a:lnTo>
                      <a:pt x="356" y="600"/>
                    </a:lnTo>
                    <a:lnTo>
                      <a:pt x="359" y="602"/>
                    </a:lnTo>
                    <a:lnTo>
                      <a:pt x="361" y="598"/>
                    </a:lnTo>
                    <a:lnTo>
                      <a:pt x="364" y="597"/>
                    </a:lnTo>
                    <a:lnTo>
                      <a:pt x="366" y="596"/>
                    </a:lnTo>
                    <a:lnTo>
                      <a:pt x="369" y="596"/>
                    </a:lnTo>
                    <a:lnTo>
                      <a:pt x="372" y="595"/>
                    </a:lnTo>
                    <a:lnTo>
                      <a:pt x="372" y="592"/>
                    </a:lnTo>
                    <a:lnTo>
                      <a:pt x="374" y="590"/>
                    </a:lnTo>
                    <a:lnTo>
                      <a:pt x="373" y="592"/>
                    </a:lnTo>
                    <a:lnTo>
                      <a:pt x="375" y="596"/>
                    </a:lnTo>
                    <a:lnTo>
                      <a:pt x="373" y="596"/>
                    </a:lnTo>
                    <a:lnTo>
                      <a:pt x="370" y="598"/>
                    </a:lnTo>
                    <a:lnTo>
                      <a:pt x="373" y="598"/>
                    </a:lnTo>
                    <a:lnTo>
                      <a:pt x="375" y="597"/>
                    </a:lnTo>
                    <a:lnTo>
                      <a:pt x="378" y="595"/>
                    </a:lnTo>
                    <a:lnTo>
                      <a:pt x="378" y="592"/>
                    </a:lnTo>
                    <a:lnTo>
                      <a:pt x="379" y="595"/>
                    </a:lnTo>
                    <a:lnTo>
                      <a:pt x="382" y="592"/>
                    </a:lnTo>
                    <a:lnTo>
                      <a:pt x="379" y="596"/>
                    </a:lnTo>
                    <a:lnTo>
                      <a:pt x="376" y="598"/>
                    </a:lnTo>
                    <a:lnTo>
                      <a:pt x="374" y="598"/>
                    </a:lnTo>
                    <a:lnTo>
                      <a:pt x="371" y="599"/>
                    </a:lnTo>
                    <a:lnTo>
                      <a:pt x="369" y="602"/>
                    </a:lnTo>
                    <a:lnTo>
                      <a:pt x="371" y="600"/>
                    </a:lnTo>
                    <a:lnTo>
                      <a:pt x="370" y="603"/>
                    </a:lnTo>
                    <a:lnTo>
                      <a:pt x="373" y="603"/>
                    </a:lnTo>
                    <a:lnTo>
                      <a:pt x="375" y="602"/>
                    </a:lnTo>
                    <a:lnTo>
                      <a:pt x="378" y="599"/>
                    </a:lnTo>
                    <a:lnTo>
                      <a:pt x="381" y="599"/>
                    </a:lnTo>
                    <a:lnTo>
                      <a:pt x="378" y="600"/>
                    </a:lnTo>
                    <a:lnTo>
                      <a:pt x="375" y="603"/>
                    </a:lnTo>
                    <a:lnTo>
                      <a:pt x="373" y="604"/>
                    </a:lnTo>
                    <a:lnTo>
                      <a:pt x="375" y="604"/>
                    </a:lnTo>
                    <a:lnTo>
                      <a:pt x="373" y="606"/>
                    </a:lnTo>
                    <a:lnTo>
                      <a:pt x="375" y="605"/>
                    </a:lnTo>
                    <a:lnTo>
                      <a:pt x="376" y="607"/>
                    </a:lnTo>
                    <a:lnTo>
                      <a:pt x="378" y="605"/>
                    </a:lnTo>
                    <a:lnTo>
                      <a:pt x="381" y="605"/>
                    </a:lnTo>
                    <a:lnTo>
                      <a:pt x="380" y="607"/>
                    </a:lnTo>
                    <a:lnTo>
                      <a:pt x="382" y="606"/>
                    </a:lnTo>
                    <a:lnTo>
                      <a:pt x="381" y="608"/>
                    </a:lnTo>
                    <a:lnTo>
                      <a:pt x="383" y="608"/>
                    </a:lnTo>
                    <a:lnTo>
                      <a:pt x="387" y="606"/>
                    </a:lnTo>
                    <a:lnTo>
                      <a:pt x="389" y="603"/>
                    </a:lnTo>
                    <a:lnTo>
                      <a:pt x="388" y="606"/>
                    </a:lnTo>
                    <a:lnTo>
                      <a:pt x="384" y="612"/>
                    </a:lnTo>
                    <a:lnTo>
                      <a:pt x="383" y="614"/>
                    </a:lnTo>
                    <a:lnTo>
                      <a:pt x="386" y="614"/>
                    </a:lnTo>
                    <a:lnTo>
                      <a:pt x="388" y="611"/>
                    </a:lnTo>
                    <a:lnTo>
                      <a:pt x="390" y="608"/>
                    </a:lnTo>
                    <a:lnTo>
                      <a:pt x="388" y="612"/>
                    </a:lnTo>
                    <a:lnTo>
                      <a:pt x="387" y="614"/>
                    </a:lnTo>
                    <a:lnTo>
                      <a:pt x="383" y="616"/>
                    </a:lnTo>
                    <a:lnTo>
                      <a:pt x="387" y="615"/>
                    </a:lnTo>
                    <a:lnTo>
                      <a:pt x="388" y="617"/>
                    </a:lnTo>
                    <a:lnTo>
                      <a:pt x="390" y="617"/>
                    </a:lnTo>
                    <a:lnTo>
                      <a:pt x="391" y="615"/>
                    </a:lnTo>
                    <a:lnTo>
                      <a:pt x="395" y="615"/>
                    </a:lnTo>
                    <a:lnTo>
                      <a:pt x="396" y="612"/>
                    </a:lnTo>
                    <a:lnTo>
                      <a:pt x="398" y="612"/>
                    </a:lnTo>
                    <a:lnTo>
                      <a:pt x="398" y="614"/>
                    </a:lnTo>
                    <a:lnTo>
                      <a:pt x="401" y="615"/>
                    </a:lnTo>
                    <a:lnTo>
                      <a:pt x="404" y="615"/>
                    </a:lnTo>
                    <a:lnTo>
                      <a:pt x="406" y="615"/>
                    </a:lnTo>
                    <a:lnTo>
                      <a:pt x="409" y="615"/>
                    </a:lnTo>
                    <a:lnTo>
                      <a:pt x="409" y="613"/>
                    </a:lnTo>
                    <a:lnTo>
                      <a:pt x="408" y="609"/>
                    </a:lnTo>
                    <a:lnTo>
                      <a:pt x="405" y="611"/>
                    </a:lnTo>
                    <a:lnTo>
                      <a:pt x="406" y="608"/>
                    </a:lnTo>
                    <a:lnTo>
                      <a:pt x="402" y="607"/>
                    </a:lnTo>
                    <a:lnTo>
                      <a:pt x="400" y="606"/>
                    </a:lnTo>
                    <a:lnTo>
                      <a:pt x="397" y="606"/>
                    </a:lnTo>
                    <a:lnTo>
                      <a:pt x="400" y="606"/>
                    </a:lnTo>
                    <a:lnTo>
                      <a:pt x="402" y="604"/>
                    </a:lnTo>
                    <a:lnTo>
                      <a:pt x="404" y="607"/>
                    </a:lnTo>
                    <a:lnTo>
                      <a:pt x="407" y="607"/>
                    </a:lnTo>
                    <a:lnTo>
                      <a:pt x="409" y="607"/>
                    </a:lnTo>
                    <a:lnTo>
                      <a:pt x="413" y="606"/>
                    </a:lnTo>
                    <a:lnTo>
                      <a:pt x="415" y="604"/>
                    </a:lnTo>
                    <a:lnTo>
                      <a:pt x="413" y="605"/>
                    </a:lnTo>
                    <a:lnTo>
                      <a:pt x="409" y="604"/>
                    </a:lnTo>
                    <a:lnTo>
                      <a:pt x="413" y="605"/>
                    </a:lnTo>
                    <a:lnTo>
                      <a:pt x="413" y="602"/>
                    </a:lnTo>
                    <a:lnTo>
                      <a:pt x="409" y="602"/>
                    </a:lnTo>
                    <a:lnTo>
                      <a:pt x="407" y="600"/>
                    </a:lnTo>
                    <a:lnTo>
                      <a:pt x="410" y="602"/>
                    </a:lnTo>
                    <a:lnTo>
                      <a:pt x="413" y="600"/>
                    </a:lnTo>
                    <a:lnTo>
                      <a:pt x="410" y="600"/>
                    </a:lnTo>
                    <a:lnTo>
                      <a:pt x="407" y="599"/>
                    </a:lnTo>
                    <a:lnTo>
                      <a:pt x="410" y="599"/>
                    </a:lnTo>
                    <a:lnTo>
                      <a:pt x="413" y="599"/>
                    </a:lnTo>
                    <a:lnTo>
                      <a:pt x="416" y="598"/>
                    </a:lnTo>
                    <a:lnTo>
                      <a:pt x="416" y="596"/>
                    </a:lnTo>
                    <a:lnTo>
                      <a:pt x="413" y="596"/>
                    </a:lnTo>
                    <a:lnTo>
                      <a:pt x="410" y="595"/>
                    </a:lnTo>
                    <a:lnTo>
                      <a:pt x="408" y="595"/>
                    </a:lnTo>
                    <a:lnTo>
                      <a:pt x="406" y="595"/>
                    </a:lnTo>
                    <a:lnTo>
                      <a:pt x="408" y="595"/>
                    </a:lnTo>
                    <a:lnTo>
                      <a:pt x="414" y="595"/>
                    </a:lnTo>
                    <a:lnTo>
                      <a:pt x="416" y="595"/>
                    </a:lnTo>
                    <a:lnTo>
                      <a:pt x="412" y="592"/>
                    </a:lnTo>
                    <a:lnTo>
                      <a:pt x="414" y="592"/>
                    </a:lnTo>
                    <a:lnTo>
                      <a:pt x="416" y="591"/>
                    </a:lnTo>
                    <a:lnTo>
                      <a:pt x="412" y="590"/>
                    </a:lnTo>
                    <a:lnTo>
                      <a:pt x="414" y="590"/>
                    </a:lnTo>
                    <a:lnTo>
                      <a:pt x="416" y="590"/>
                    </a:lnTo>
                    <a:lnTo>
                      <a:pt x="419" y="588"/>
                    </a:lnTo>
                    <a:lnTo>
                      <a:pt x="417" y="586"/>
                    </a:lnTo>
                    <a:lnTo>
                      <a:pt x="414" y="586"/>
                    </a:lnTo>
                    <a:lnTo>
                      <a:pt x="412" y="585"/>
                    </a:lnTo>
                    <a:lnTo>
                      <a:pt x="414" y="586"/>
                    </a:lnTo>
                    <a:lnTo>
                      <a:pt x="417" y="586"/>
                    </a:lnTo>
                    <a:lnTo>
                      <a:pt x="419" y="585"/>
                    </a:lnTo>
                    <a:lnTo>
                      <a:pt x="421" y="582"/>
                    </a:lnTo>
                    <a:lnTo>
                      <a:pt x="418" y="582"/>
                    </a:lnTo>
                    <a:lnTo>
                      <a:pt x="416" y="581"/>
                    </a:lnTo>
                    <a:lnTo>
                      <a:pt x="418" y="582"/>
                    </a:lnTo>
                    <a:lnTo>
                      <a:pt x="421" y="581"/>
                    </a:lnTo>
                    <a:lnTo>
                      <a:pt x="421" y="579"/>
                    </a:lnTo>
                    <a:lnTo>
                      <a:pt x="422" y="575"/>
                    </a:lnTo>
                    <a:lnTo>
                      <a:pt x="419" y="577"/>
                    </a:lnTo>
                    <a:lnTo>
                      <a:pt x="419" y="575"/>
                    </a:lnTo>
                    <a:lnTo>
                      <a:pt x="422" y="572"/>
                    </a:lnTo>
                    <a:lnTo>
                      <a:pt x="421" y="570"/>
                    </a:lnTo>
                    <a:lnTo>
                      <a:pt x="418" y="569"/>
                    </a:lnTo>
                    <a:lnTo>
                      <a:pt x="415" y="568"/>
                    </a:lnTo>
                    <a:lnTo>
                      <a:pt x="413" y="565"/>
                    </a:lnTo>
                    <a:lnTo>
                      <a:pt x="415" y="565"/>
                    </a:lnTo>
                    <a:lnTo>
                      <a:pt x="418" y="568"/>
                    </a:lnTo>
                    <a:lnTo>
                      <a:pt x="421" y="566"/>
                    </a:lnTo>
                    <a:lnTo>
                      <a:pt x="418" y="565"/>
                    </a:lnTo>
                    <a:lnTo>
                      <a:pt x="421" y="566"/>
                    </a:lnTo>
                    <a:lnTo>
                      <a:pt x="418" y="563"/>
                    </a:lnTo>
                    <a:lnTo>
                      <a:pt x="416" y="563"/>
                    </a:lnTo>
                    <a:lnTo>
                      <a:pt x="413" y="562"/>
                    </a:lnTo>
                    <a:lnTo>
                      <a:pt x="410" y="560"/>
                    </a:lnTo>
                    <a:lnTo>
                      <a:pt x="413" y="561"/>
                    </a:lnTo>
                    <a:lnTo>
                      <a:pt x="416" y="560"/>
                    </a:lnTo>
                    <a:lnTo>
                      <a:pt x="418" y="561"/>
                    </a:lnTo>
                    <a:lnTo>
                      <a:pt x="418" y="557"/>
                    </a:lnTo>
                    <a:lnTo>
                      <a:pt x="421" y="557"/>
                    </a:lnTo>
                    <a:lnTo>
                      <a:pt x="424" y="558"/>
                    </a:lnTo>
                    <a:lnTo>
                      <a:pt x="426" y="558"/>
                    </a:lnTo>
                    <a:lnTo>
                      <a:pt x="429" y="558"/>
                    </a:lnTo>
                    <a:lnTo>
                      <a:pt x="431" y="555"/>
                    </a:lnTo>
                    <a:lnTo>
                      <a:pt x="429" y="554"/>
                    </a:lnTo>
                    <a:lnTo>
                      <a:pt x="425" y="554"/>
                    </a:lnTo>
                    <a:lnTo>
                      <a:pt x="423" y="551"/>
                    </a:lnTo>
                    <a:lnTo>
                      <a:pt x="426" y="554"/>
                    </a:lnTo>
                    <a:lnTo>
                      <a:pt x="429" y="554"/>
                    </a:lnTo>
                    <a:lnTo>
                      <a:pt x="432" y="554"/>
                    </a:lnTo>
                    <a:lnTo>
                      <a:pt x="429" y="552"/>
                    </a:lnTo>
                    <a:lnTo>
                      <a:pt x="426" y="551"/>
                    </a:lnTo>
                    <a:lnTo>
                      <a:pt x="429" y="551"/>
                    </a:lnTo>
                    <a:lnTo>
                      <a:pt x="432" y="553"/>
                    </a:lnTo>
                    <a:lnTo>
                      <a:pt x="433" y="551"/>
                    </a:lnTo>
                    <a:lnTo>
                      <a:pt x="430" y="548"/>
                    </a:lnTo>
                    <a:lnTo>
                      <a:pt x="427" y="546"/>
                    </a:lnTo>
                    <a:lnTo>
                      <a:pt x="429" y="544"/>
                    </a:lnTo>
                    <a:lnTo>
                      <a:pt x="432" y="546"/>
                    </a:lnTo>
                    <a:lnTo>
                      <a:pt x="434" y="547"/>
                    </a:lnTo>
                    <a:lnTo>
                      <a:pt x="438" y="548"/>
                    </a:lnTo>
                    <a:lnTo>
                      <a:pt x="434" y="546"/>
                    </a:lnTo>
                    <a:lnTo>
                      <a:pt x="432" y="545"/>
                    </a:lnTo>
                    <a:lnTo>
                      <a:pt x="434" y="546"/>
                    </a:lnTo>
                    <a:lnTo>
                      <a:pt x="433" y="543"/>
                    </a:lnTo>
                    <a:lnTo>
                      <a:pt x="436" y="545"/>
                    </a:lnTo>
                    <a:lnTo>
                      <a:pt x="439" y="546"/>
                    </a:lnTo>
                    <a:lnTo>
                      <a:pt x="436" y="544"/>
                    </a:lnTo>
                    <a:lnTo>
                      <a:pt x="439" y="545"/>
                    </a:lnTo>
                    <a:lnTo>
                      <a:pt x="441" y="544"/>
                    </a:lnTo>
                    <a:lnTo>
                      <a:pt x="441" y="541"/>
                    </a:lnTo>
                    <a:lnTo>
                      <a:pt x="439" y="540"/>
                    </a:lnTo>
                    <a:lnTo>
                      <a:pt x="436" y="540"/>
                    </a:lnTo>
                    <a:lnTo>
                      <a:pt x="433" y="538"/>
                    </a:lnTo>
                    <a:lnTo>
                      <a:pt x="435" y="538"/>
                    </a:lnTo>
                    <a:lnTo>
                      <a:pt x="439" y="539"/>
                    </a:lnTo>
                    <a:lnTo>
                      <a:pt x="441" y="540"/>
                    </a:lnTo>
                    <a:lnTo>
                      <a:pt x="444" y="539"/>
                    </a:lnTo>
                    <a:lnTo>
                      <a:pt x="446" y="537"/>
                    </a:lnTo>
                    <a:lnTo>
                      <a:pt x="442" y="535"/>
                    </a:lnTo>
                    <a:lnTo>
                      <a:pt x="446" y="532"/>
                    </a:lnTo>
                    <a:lnTo>
                      <a:pt x="442" y="530"/>
                    </a:lnTo>
                    <a:lnTo>
                      <a:pt x="440" y="530"/>
                    </a:lnTo>
                    <a:lnTo>
                      <a:pt x="436" y="530"/>
                    </a:lnTo>
                    <a:lnTo>
                      <a:pt x="434" y="529"/>
                    </a:lnTo>
                    <a:lnTo>
                      <a:pt x="432" y="528"/>
                    </a:lnTo>
                    <a:lnTo>
                      <a:pt x="434" y="526"/>
                    </a:lnTo>
                    <a:lnTo>
                      <a:pt x="436" y="527"/>
                    </a:lnTo>
                    <a:lnTo>
                      <a:pt x="440" y="527"/>
                    </a:lnTo>
                    <a:lnTo>
                      <a:pt x="442" y="526"/>
                    </a:lnTo>
                    <a:lnTo>
                      <a:pt x="446" y="526"/>
                    </a:lnTo>
                    <a:lnTo>
                      <a:pt x="448" y="526"/>
                    </a:lnTo>
                    <a:lnTo>
                      <a:pt x="446" y="523"/>
                    </a:lnTo>
                    <a:lnTo>
                      <a:pt x="444" y="521"/>
                    </a:lnTo>
                    <a:lnTo>
                      <a:pt x="443" y="518"/>
                    </a:lnTo>
                    <a:lnTo>
                      <a:pt x="441" y="515"/>
                    </a:lnTo>
                    <a:lnTo>
                      <a:pt x="438" y="513"/>
                    </a:lnTo>
                    <a:lnTo>
                      <a:pt x="439" y="511"/>
                    </a:lnTo>
                    <a:lnTo>
                      <a:pt x="442" y="510"/>
                    </a:lnTo>
                    <a:lnTo>
                      <a:pt x="444" y="508"/>
                    </a:lnTo>
                    <a:lnTo>
                      <a:pt x="447" y="511"/>
                    </a:lnTo>
                    <a:lnTo>
                      <a:pt x="450" y="510"/>
                    </a:lnTo>
                    <a:lnTo>
                      <a:pt x="452" y="510"/>
                    </a:lnTo>
                    <a:lnTo>
                      <a:pt x="452" y="510"/>
                    </a:lnTo>
                    <a:lnTo>
                      <a:pt x="452" y="506"/>
                    </a:lnTo>
                    <a:lnTo>
                      <a:pt x="456" y="506"/>
                    </a:lnTo>
                    <a:lnTo>
                      <a:pt x="453" y="503"/>
                    </a:lnTo>
                    <a:lnTo>
                      <a:pt x="452" y="502"/>
                    </a:lnTo>
                    <a:lnTo>
                      <a:pt x="450" y="501"/>
                    </a:lnTo>
                    <a:lnTo>
                      <a:pt x="452" y="498"/>
                    </a:lnTo>
                    <a:lnTo>
                      <a:pt x="456" y="500"/>
                    </a:lnTo>
                    <a:lnTo>
                      <a:pt x="457" y="497"/>
                    </a:lnTo>
                    <a:lnTo>
                      <a:pt x="459" y="497"/>
                    </a:lnTo>
                    <a:lnTo>
                      <a:pt x="463" y="500"/>
                    </a:lnTo>
                    <a:lnTo>
                      <a:pt x="464" y="496"/>
                    </a:lnTo>
                    <a:lnTo>
                      <a:pt x="467" y="498"/>
                    </a:lnTo>
                    <a:lnTo>
                      <a:pt x="469" y="496"/>
                    </a:lnTo>
                    <a:lnTo>
                      <a:pt x="473" y="497"/>
                    </a:lnTo>
                    <a:lnTo>
                      <a:pt x="475" y="497"/>
                    </a:lnTo>
                    <a:lnTo>
                      <a:pt x="477" y="495"/>
                    </a:lnTo>
                    <a:lnTo>
                      <a:pt x="477" y="493"/>
                    </a:lnTo>
                    <a:lnTo>
                      <a:pt x="475" y="492"/>
                    </a:lnTo>
                    <a:lnTo>
                      <a:pt x="475" y="488"/>
                    </a:lnTo>
                    <a:lnTo>
                      <a:pt x="477" y="489"/>
                    </a:lnTo>
                    <a:lnTo>
                      <a:pt x="481" y="488"/>
                    </a:lnTo>
                    <a:lnTo>
                      <a:pt x="481" y="486"/>
                    </a:lnTo>
                    <a:lnTo>
                      <a:pt x="481" y="484"/>
                    </a:lnTo>
                    <a:lnTo>
                      <a:pt x="483" y="483"/>
                    </a:lnTo>
                    <a:lnTo>
                      <a:pt x="481" y="480"/>
                    </a:lnTo>
                    <a:lnTo>
                      <a:pt x="483" y="480"/>
                    </a:lnTo>
                    <a:lnTo>
                      <a:pt x="486" y="481"/>
                    </a:lnTo>
                    <a:lnTo>
                      <a:pt x="489" y="481"/>
                    </a:lnTo>
                    <a:lnTo>
                      <a:pt x="491" y="481"/>
                    </a:lnTo>
                    <a:lnTo>
                      <a:pt x="489" y="484"/>
                    </a:lnTo>
                    <a:lnTo>
                      <a:pt x="486" y="486"/>
                    </a:lnTo>
                    <a:lnTo>
                      <a:pt x="483" y="488"/>
                    </a:lnTo>
                    <a:lnTo>
                      <a:pt x="483" y="491"/>
                    </a:lnTo>
                    <a:lnTo>
                      <a:pt x="486" y="491"/>
                    </a:lnTo>
                    <a:lnTo>
                      <a:pt x="489" y="493"/>
                    </a:lnTo>
                    <a:lnTo>
                      <a:pt x="491" y="494"/>
                    </a:lnTo>
                    <a:lnTo>
                      <a:pt x="492" y="491"/>
                    </a:lnTo>
                    <a:lnTo>
                      <a:pt x="493" y="488"/>
                    </a:lnTo>
                    <a:lnTo>
                      <a:pt x="493" y="491"/>
                    </a:lnTo>
                    <a:lnTo>
                      <a:pt x="495" y="491"/>
                    </a:lnTo>
                    <a:lnTo>
                      <a:pt x="499" y="489"/>
                    </a:lnTo>
                    <a:lnTo>
                      <a:pt x="501" y="487"/>
                    </a:lnTo>
                    <a:lnTo>
                      <a:pt x="503" y="489"/>
                    </a:lnTo>
                    <a:lnTo>
                      <a:pt x="507" y="491"/>
                    </a:lnTo>
                    <a:lnTo>
                      <a:pt x="509" y="488"/>
                    </a:lnTo>
                    <a:lnTo>
                      <a:pt x="509" y="486"/>
                    </a:lnTo>
                    <a:lnTo>
                      <a:pt x="512" y="486"/>
                    </a:lnTo>
                    <a:lnTo>
                      <a:pt x="514" y="484"/>
                    </a:lnTo>
                    <a:lnTo>
                      <a:pt x="511" y="480"/>
                    </a:lnTo>
                    <a:lnTo>
                      <a:pt x="514" y="483"/>
                    </a:lnTo>
                    <a:lnTo>
                      <a:pt x="517" y="483"/>
                    </a:lnTo>
                    <a:lnTo>
                      <a:pt x="519" y="484"/>
                    </a:lnTo>
                    <a:lnTo>
                      <a:pt x="518" y="480"/>
                    </a:lnTo>
                    <a:lnTo>
                      <a:pt x="521" y="481"/>
                    </a:lnTo>
                    <a:lnTo>
                      <a:pt x="524" y="480"/>
                    </a:lnTo>
                    <a:lnTo>
                      <a:pt x="526" y="480"/>
                    </a:lnTo>
                    <a:lnTo>
                      <a:pt x="528" y="478"/>
                    </a:lnTo>
                    <a:lnTo>
                      <a:pt x="528" y="475"/>
                    </a:lnTo>
                    <a:lnTo>
                      <a:pt x="529" y="472"/>
                    </a:lnTo>
                    <a:lnTo>
                      <a:pt x="529" y="475"/>
                    </a:lnTo>
                    <a:lnTo>
                      <a:pt x="533" y="474"/>
                    </a:lnTo>
                    <a:lnTo>
                      <a:pt x="534" y="471"/>
                    </a:lnTo>
                    <a:lnTo>
                      <a:pt x="535" y="469"/>
                    </a:lnTo>
                    <a:lnTo>
                      <a:pt x="536" y="467"/>
                    </a:lnTo>
                    <a:lnTo>
                      <a:pt x="538" y="464"/>
                    </a:lnTo>
                    <a:lnTo>
                      <a:pt x="541" y="463"/>
                    </a:lnTo>
                    <a:lnTo>
                      <a:pt x="541" y="461"/>
                    </a:lnTo>
                    <a:lnTo>
                      <a:pt x="544" y="460"/>
                    </a:lnTo>
                    <a:lnTo>
                      <a:pt x="542" y="458"/>
                    </a:lnTo>
                    <a:lnTo>
                      <a:pt x="544" y="457"/>
                    </a:lnTo>
                    <a:lnTo>
                      <a:pt x="544" y="453"/>
                    </a:lnTo>
                    <a:lnTo>
                      <a:pt x="546" y="453"/>
                    </a:lnTo>
                    <a:lnTo>
                      <a:pt x="549" y="450"/>
                    </a:lnTo>
                    <a:lnTo>
                      <a:pt x="551" y="449"/>
                    </a:lnTo>
                    <a:lnTo>
                      <a:pt x="554" y="448"/>
                    </a:lnTo>
                    <a:lnTo>
                      <a:pt x="557" y="445"/>
                    </a:lnTo>
                    <a:lnTo>
                      <a:pt x="559" y="446"/>
                    </a:lnTo>
                    <a:lnTo>
                      <a:pt x="562" y="444"/>
                    </a:lnTo>
                    <a:lnTo>
                      <a:pt x="560" y="442"/>
                    </a:lnTo>
                    <a:lnTo>
                      <a:pt x="561" y="440"/>
                    </a:lnTo>
                    <a:lnTo>
                      <a:pt x="558" y="437"/>
                    </a:lnTo>
                    <a:lnTo>
                      <a:pt x="561" y="437"/>
                    </a:lnTo>
                    <a:lnTo>
                      <a:pt x="559" y="434"/>
                    </a:lnTo>
                    <a:lnTo>
                      <a:pt x="557" y="434"/>
                    </a:lnTo>
                    <a:lnTo>
                      <a:pt x="555" y="431"/>
                    </a:lnTo>
                    <a:lnTo>
                      <a:pt x="558" y="429"/>
                    </a:lnTo>
                    <a:lnTo>
                      <a:pt x="559" y="433"/>
                    </a:lnTo>
                    <a:lnTo>
                      <a:pt x="561" y="434"/>
                    </a:lnTo>
                    <a:lnTo>
                      <a:pt x="563" y="436"/>
                    </a:lnTo>
                    <a:lnTo>
                      <a:pt x="567" y="437"/>
                    </a:lnTo>
                    <a:lnTo>
                      <a:pt x="568" y="441"/>
                    </a:lnTo>
                    <a:lnTo>
                      <a:pt x="570" y="440"/>
                    </a:lnTo>
                    <a:lnTo>
                      <a:pt x="572" y="441"/>
                    </a:lnTo>
                    <a:lnTo>
                      <a:pt x="576" y="442"/>
                    </a:lnTo>
                    <a:lnTo>
                      <a:pt x="578" y="441"/>
                    </a:lnTo>
                    <a:lnTo>
                      <a:pt x="581" y="441"/>
                    </a:lnTo>
                    <a:lnTo>
                      <a:pt x="584" y="441"/>
                    </a:lnTo>
                    <a:lnTo>
                      <a:pt x="581" y="437"/>
                    </a:lnTo>
                    <a:lnTo>
                      <a:pt x="579" y="436"/>
                    </a:lnTo>
                    <a:lnTo>
                      <a:pt x="581" y="437"/>
                    </a:lnTo>
                    <a:lnTo>
                      <a:pt x="584" y="437"/>
                    </a:lnTo>
                    <a:lnTo>
                      <a:pt x="586" y="441"/>
                    </a:lnTo>
                    <a:lnTo>
                      <a:pt x="589" y="440"/>
                    </a:lnTo>
                    <a:lnTo>
                      <a:pt x="587" y="436"/>
                    </a:lnTo>
                    <a:lnTo>
                      <a:pt x="589" y="437"/>
                    </a:lnTo>
                    <a:lnTo>
                      <a:pt x="589" y="434"/>
                    </a:lnTo>
                    <a:lnTo>
                      <a:pt x="592" y="433"/>
                    </a:lnTo>
                    <a:lnTo>
                      <a:pt x="594" y="436"/>
                    </a:lnTo>
                    <a:lnTo>
                      <a:pt x="597" y="436"/>
                    </a:lnTo>
                    <a:lnTo>
                      <a:pt x="600" y="435"/>
                    </a:lnTo>
                    <a:lnTo>
                      <a:pt x="603" y="434"/>
                    </a:lnTo>
                    <a:lnTo>
                      <a:pt x="605" y="435"/>
                    </a:lnTo>
                    <a:lnTo>
                      <a:pt x="608" y="434"/>
                    </a:lnTo>
                    <a:lnTo>
                      <a:pt x="611" y="432"/>
                    </a:lnTo>
                    <a:lnTo>
                      <a:pt x="613" y="431"/>
                    </a:lnTo>
                    <a:lnTo>
                      <a:pt x="617" y="432"/>
                    </a:lnTo>
                    <a:lnTo>
                      <a:pt x="619" y="432"/>
                    </a:lnTo>
                    <a:lnTo>
                      <a:pt x="622" y="431"/>
                    </a:lnTo>
                    <a:lnTo>
                      <a:pt x="625" y="431"/>
                    </a:lnTo>
                    <a:lnTo>
                      <a:pt x="628" y="428"/>
                    </a:lnTo>
                    <a:lnTo>
                      <a:pt x="630" y="429"/>
                    </a:lnTo>
                    <a:lnTo>
                      <a:pt x="631" y="427"/>
                    </a:lnTo>
                    <a:lnTo>
                      <a:pt x="635" y="426"/>
                    </a:lnTo>
                    <a:lnTo>
                      <a:pt x="637" y="427"/>
                    </a:lnTo>
                    <a:lnTo>
                      <a:pt x="639" y="427"/>
                    </a:lnTo>
                    <a:lnTo>
                      <a:pt x="643" y="424"/>
                    </a:lnTo>
                    <a:lnTo>
                      <a:pt x="645" y="424"/>
                    </a:lnTo>
                    <a:lnTo>
                      <a:pt x="647" y="423"/>
                    </a:lnTo>
                    <a:lnTo>
                      <a:pt x="649" y="419"/>
                    </a:lnTo>
                    <a:lnTo>
                      <a:pt x="652" y="419"/>
                    </a:lnTo>
                    <a:lnTo>
                      <a:pt x="651" y="417"/>
                    </a:lnTo>
                    <a:lnTo>
                      <a:pt x="653" y="418"/>
                    </a:lnTo>
                    <a:lnTo>
                      <a:pt x="656" y="416"/>
                    </a:lnTo>
                    <a:lnTo>
                      <a:pt x="658" y="414"/>
                    </a:lnTo>
                    <a:lnTo>
                      <a:pt x="655" y="414"/>
                    </a:lnTo>
                    <a:lnTo>
                      <a:pt x="658" y="412"/>
                    </a:lnTo>
                    <a:lnTo>
                      <a:pt x="661" y="412"/>
                    </a:lnTo>
                    <a:lnTo>
                      <a:pt x="663" y="412"/>
                    </a:lnTo>
                    <a:lnTo>
                      <a:pt x="663" y="410"/>
                    </a:lnTo>
                    <a:lnTo>
                      <a:pt x="665" y="410"/>
                    </a:lnTo>
                    <a:lnTo>
                      <a:pt x="669" y="408"/>
                    </a:lnTo>
                    <a:lnTo>
                      <a:pt x="671" y="408"/>
                    </a:lnTo>
                    <a:lnTo>
                      <a:pt x="669" y="406"/>
                    </a:lnTo>
                    <a:lnTo>
                      <a:pt x="671" y="406"/>
                    </a:lnTo>
                    <a:lnTo>
                      <a:pt x="673" y="407"/>
                    </a:lnTo>
                    <a:lnTo>
                      <a:pt x="677" y="406"/>
                    </a:lnTo>
                    <a:lnTo>
                      <a:pt x="677" y="403"/>
                    </a:lnTo>
                    <a:lnTo>
                      <a:pt x="674" y="401"/>
                    </a:lnTo>
                    <a:lnTo>
                      <a:pt x="677" y="401"/>
                    </a:lnTo>
                    <a:lnTo>
                      <a:pt x="680" y="401"/>
                    </a:lnTo>
                    <a:lnTo>
                      <a:pt x="682" y="401"/>
                    </a:lnTo>
                    <a:lnTo>
                      <a:pt x="686" y="401"/>
                    </a:lnTo>
                    <a:lnTo>
                      <a:pt x="682" y="398"/>
                    </a:lnTo>
                    <a:lnTo>
                      <a:pt x="686" y="398"/>
                    </a:lnTo>
                    <a:lnTo>
                      <a:pt x="688" y="398"/>
                    </a:lnTo>
                    <a:lnTo>
                      <a:pt x="690" y="397"/>
                    </a:lnTo>
                    <a:lnTo>
                      <a:pt x="692" y="394"/>
                    </a:lnTo>
                    <a:lnTo>
                      <a:pt x="695" y="394"/>
                    </a:lnTo>
                    <a:lnTo>
                      <a:pt x="698" y="392"/>
                    </a:lnTo>
                    <a:lnTo>
                      <a:pt x="695" y="392"/>
                    </a:lnTo>
                    <a:lnTo>
                      <a:pt x="692" y="392"/>
                    </a:lnTo>
                    <a:lnTo>
                      <a:pt x="690" y="393"/>
                    </a:lnTo>
                    <a:lnTo>
                      <a:pt x="687" y="393"/>
                    </a:lnTo>
                    <a:lnTo>
                      <a:pt x="685" y="392"/>
                    </a:lnTo>
                    <a:lnTo>
                      <a:pt x="681" y="392"/>
                    </a:lnTo>
                    <a:lnTo>
                      <a:pt x="679" y="392"/>
                    </a:lnTo>
                    <a:lnTo>
                      <a:pt x="677" y="391"/>
                    </a:lnTo>
                    <a:lnTo>
                      <a:pt x="673" y="391"/>
                    </a:lnTo>
                    <a:lnTo>
                      <a:pt x="671" y="390"/>
                    </a:lnTo>
                    <a:lnTo>
                      <a:pt x="668" y="390"/>
                    </a:lnTo>
                    <a:lnTo>
                      <a:pt x="665" y="389"/>
                    </a:lnTo>
                    <a:lnTo>
                      <a:pt x="662" y="387"/>
                    </a:lnTo>
                    <a:lnTo>
                      <a:pt x="660" y="387"/>
                    </a:lnTo>
                    <a:lnTo>
                      <a:pt x="657" y="386"/>
                    </a:lnTo>
                    <a:lnTo>
                      <a:pt x="654" y="387"/>
                    </a:lnTo>
                    <a:lnTo>
                      <a:pt x="655" y="385"/>
                    </a:lnTo>
                    <a:lnTo>
                      <a:pt x="652" y="385"/>
                    </a:lnTo>
                    <a:lnTo>
                      <a:pt x="649" y="386"/>
                    </a:lnTo>
                    <a:lnTo>
                      <a:pt x="647" y="387"/>
                    </a:lnTo>
                    <a:lnTo>
                      <a:pt x="644" y="389"/>
                    </a:lnTo>
                    <a:lnTo>
                      <a:pt x="642" y="390"/>
                    </a:lnTo>
                    <a:lnTo>
                      <a:pt x="638" y="390"/>
                    </a:lnTo>
                    <a:lnTo>
                      <a:pt x="636" y="389"/>
                    </a:lnTo>
                    <a:lnTo>
                      <a:pt x="634" y="389"/>
                    </a:lnTo>
                    <a:lnTo>
                      <a:pt x="630" y="390"/>
                    </a:lnTo>
                    <a:lnTo>
                      <a:pt x="628" y="393"/>
                    </a:lnTo>
                    <a:lnTo>
                      <a:pt x="627" y="394"/>
                    </a:lnTo>
                    <a:lnTo>
                      <a:pt x="625" y="395"/>
                    </a:lnTo>
                    <a:lnTo>
                      <a:pt x="623" y="394"/>
                    </a:lnTo>
                    <a:lnTo>
                      <a:pt x="623" y="393"/>
                    </a:lnTo>
                    <a:lnTo>
                      <a:pt x="620" y="394"/>
                    </a:lnTo>
                    <a:lnTo>
                      <a:pt x="618" y="394"/>
                    </a:lnTo>
                    <a:lnTo>
                      <a:pt x="615" y="393"/>
                    </a:lnTo>
                    <a:lnTo>
                      <a:pt x="612" y="393"/>
                    </a:lnTo>
                    <a:lnTo>
                      <a:pt x="610" y="392"/>
                    </a:lnTo>
                    <a:lnTo>
                      <a:pt x="612" y="392"/>
                    </a:lnTo>
                    <a:lnTo>
                      <a:pt x="614" y="391"/>
                    </a:lnTo>
                    <a:lnTo>
                      <a:pt x="618" y="392"/>
                    </a:lnTo>
                    <a:lnTo>
                      <a:pt x="620" y="392"/>
                    </a:lnTo>
                    <a:lnTo>
                      <a:pt x="623" y="391"/>
                    </a:lnTo>
                    <a:lnTo>
                      <a:pt x="626" y="390"/>
                    </a:lnTo>
                    <a:lnTo>
                      <a:pt x="629" y="387"/>
                    </a:lnTo>
                    <a:lnTo>
                      <a:pt x="631" y="386"/>
                    </a:lnTo>
                    <a:lnTo>
                      <a:pt x="634" y="387"/>
                    </a:lnTo>
                    <a:lnTo>
                      <a:pt x="637" y="387"/>
                    </a:lnTo>
                    <a:lnTo>
                      <a:pt x="639" y="386"/>
                    </a:lnTo>
                    <a:lnTo>
                      <a:pt x="638" y="383"/>
                    </a:lnTo>
                    <a:lnTo>
                      <a:pt x="635" y="383"/>
                    </a:lnTo>
                    <a:lnTo>
                      <a:pt x="632" y="384"/>
                    </a:lnTo>
                    <a:lnTo>
                      <a:pt x="630" y="384"/>
                    </a:lnTo>
                    <a:lnTo>
                      <a:pt x="627" y="384"/>
                    </a:lnTo>
                    <a:lnTo>
                      <a:pt x="625" y="384"/>
                    </a:lnTo>
                    <a:lnTo>
                      <a:pt x="621" y="384"/>
                    </a:lnTo>
                    <a:lnTo>
                      <a:pt x="619" y="385"/>
                    </a:lnTo>
                    <a:lnTo>
                      <a:pt x="615" y="385"/>
                    </a:lnTo>
                    <a:lnTo>
                      <a:pt x="613" y="385"/>
                    </a:lnTo>
                    <a:lnTo>
                      <a:pt x="613" y="382"/>
                    </a:lnTo>
                    <a:lnTo>
                      <a:pt x="611" y="382"/>
                    </a:lnTo>
                    <a:lnTo>
                      <a:pt x="608" y="383"/>
                    </a:lnTo>
                    <a:lnTo>
                      <a:pt x="605" y="384"/>
                    </a:lnTo>
                    <a:lnTo>
                      <a:pt x="602" y="383"/>
                    </a:lnTo>
                    <a:lnTo>
                      <a:pt x="605" y="382"/>
                    </a:lnTo>
                    <a:lnTo>
                      <a:pt x="608" y="382"/>
                    </a:lnTo>
                    <a:lnTo>
                      <a:pt x="611" y="382"/>
                    </a:lnTo>
                    <a:lnTo>
                      <a:pt x="613" y="380"/>
                    </a:lnTo>
                    <a:lnTo>
                      <a:pt x="615" y="378"/>
                    </a:lnTo>
                    <a:lnTo>
                      <a:pt x="618" y="375"/>
                    </a:lnTo>
                    <a:lnTo>
                      <a:pt x="617" y="373"/>
                    </a:lnTo>
                    <a:lnTo>
                      <a:pt x="614" y="372"/>
                    </a:lnTo>
                    <a:lnTo>
                      <a:pt x="612" y="370"/>
                    </a:lnTo>
                    <a:lnTo>
                      <a:pt x="614" y="370"/>
                    </a:lnTo>
                    <a:lnTo>
                      <a:pt x="617" y="370"/>
                    </a:lnTo>
                    <a:lnTo>
                      <a:pt x="620" y="370"/>
                    </a:lnTo>
                    <a:lnTo>
                      <a:pt x="622" y="370"/>
                    </a:lnTo>
                    <a:lnTo>
                      <a:pt x="620" y="369"/>
                    </a:lnTo>
                    <a:lnTo>
                      <a:pt x="620" y="366"/>
                    </a:lnTo>
                    <a:lnTo>
                      <a:pt x="622" y="369"/>
                    </a:lnTo>
                    <a:lnTo>
                      <a:pt x="625" y="372"/>
                    </a:lnTo>
                    <a:lnTo>
                      <a:pt x="628" y="372"/>
                    </a:lnTo>
                    <a:lnTo>
                      <a:pt x="630" y="372"/>
                    </a:lnTo>
                    <a:lnTo>
                      <a:pt x="634" y="372"/>
                    </a:lnTo>
                    <a:lnTo>
                      <a:pt x="636" y="372"/>
                    </a:lnTo>
                    <a:lnTo>
                      <a:pt x="638" y="370"/>
                    </a:lnTo>
                    <a:lnTo>
                      <a:pt x="642" y="369"/>
                    </a:lnTo>
                    <a:lnTo>
                      <a:pt x="644" y="368"/>
                    </a:lnTo>
                    <a:lnTo>
                      <a:pt x="647" y="367"/>
                    </a:lnTo>
                    <a:lnTo>
                      <a:pt x="647" y="367"/>
                    </a:lnTo>
                    <a:lnTo>
                      <a:pt x="649" y="364"/>
                    </a:lnTo>
                    <a:lnTo>
                      <a:pt x="653" y="363"/>
                    </a:lnTo>
                    <a:lnTo>
                      <a:pt x="651" y="360"/>
                    </a:lnTo>
                    <a:lnTo>
                      <a:pt x="648" y="358"/>
                    </a:lnTo>
                    <a:lnTo>
                      <a:pt x="645" y="358"/>
                    </a:lnTo>
                    <a:lnTo>
                      <a:pt x="643" y="358"/>
                    </a:lnTo>
                    <a:lnTo>
                      <a:pt x="639" y="357"/>
                    </a:lnTo>
                    <a:lnTo>
                      <a:pt x="637" y="358"/>
                    </a:lnTo>
                    <a:lnTo>
                      <a:pt x="634" y="357"/>
                    </a:lnTo>
                    <a:lnTo>
                      <a:pt x="631" y="357"/>
                    </a:lnTo>
                    <a:lnTo>
                      <a:pt x="629" y="356"/>
                    </a:lnTo>
                    <a:lnTo>
                      <a:pt x="626" y="355"/>
                    </a:lnTo>
                    <a:lnTo>
                      <a:pt x="623" y="355"/>
                    </a:lnTo>
                    <a:lnTo>
                      <a:pt x="620" y="355"/>
                    </a:lnTo>
                    <a:lnTo>
                      <a:pt x="618" y="356"/>
                    </a:lnTo>
                    <a:lnTo>
                      <a:pt x="614" y="356"/>
                    </a:lnTo>
                    <a:lnTo>
                      <a:pt x="612" y="356"/>
                    </a:lnTo>
                    <a:lnTo>
                      <a:pt x="614" y="356"/>
                    </a:lnTo>
                    <a:lnTo>
                      <a:pt x="617" y="355"/>
                    </a:lnTo>
                    <a:lnTo>
                      <a:pt x="620" y="355"/>
                    </a:lnTo>
                    <a:lnTo>
                      <a:pt x="622" y="354"/>
                    </a:lnTo>
                    <a:lnTo>
                      <a:pt x="626" y="354"/>
                    </a:lnTo>
                    <a:lnTo>
                      <a:pt x="625" y="351"/>
                    </a:lnTo>
                    <a:lnTo>
                      <a:pt x="621" y="350"/>
                    </a:lnTo>
                    <a:lnTo>
                      <a:pt x="619" y="347"/>
                    </a:lnTo>
                    <a:lnTo>
                      <a:pt x="617" y="347"/>
                    </a:lnTo>
                    <a:lnTo>
                      <a:pt x="613" y="347"/>
                    </a:lnTo>
                    <a:lnTo>
                      <a:pt x="611" y="346"/>
                    </a:lnTo>
                    <a:lnTo>
                      <a:pt x="611" y="343"/>
                    </a:lnTo>
                    <a:lnTo>
                      <a:pt x="608" y="342"/>
                    </a:lnTo>
                    <a:lnTo>
                      <a:pt x="611" y="342"/>
                    </a:lnTo>
                    <a:lnTo>
                      <a:pt x="613" y="343"/>
                    </a:lnTo>
                    <a:lnTo>
                      <a:pt x="617" y="346"/>
                    </a:lnTo>
                    <a:lnTo>
                      <a:pt x="619" y="346"/>
                    </a:lnTo>
                    <a:lnTo>
                      <a:pt x="621" y="347"/>
                    </a:lnTo>
                    <a:lnTo>
                      <a:pt x="625" y="349"/>
                    </a:lnTo>
                    <a:lnTo>
                      <a:pt x="627" y="350"/>
                    </a:lnTo>
                    <a:lnTo>
                      <a:pt x="629" y="354"/>
                    </a:lnTo>
                    <a:lnTo>
                      <a:pt x="632" y="356"/>
                    </a:lnTo>
                    <a:lnTo>
                      <a:pt x="635" y="356"/>
                    </a:lnTo>
                    <a:lnTo>
                      <a:pt x="637" y="356"/>
                    </a:lnTo>
                    <a:lnTo>
                      <a:pt x="640" y="356"/>
                    </a:lnTo>
                    <a:lnTo>
                      <a:pt x="643" y="355"/>
                    </a:lnTo>
                    <a:lnTo>
                      <a:pt x="646" y="356"/>
                    </a:lnTo>
                    <a:lnTo>
                      <a:pt x="648" y="357"/>
                    </a:lnTo>
                    <a:lnTo>
                      <a:pt x="649" y="357"/>
                    </a:lnTo>
                    <a:lnTo>
                      <a:pt x="655" y="360"/>
                    </a:lnTo>
                    <a:lnTo>
                      <a:pt x="657" y="363"/>
                    </a:lnTo>
                    <a:lnTo>
                      <a:pt x="660" y="363"/>
                    </a:lnTo>
                    <a:lnTo>
                      <a:pt x="663" y="363"/>
                    </a:lnTo>
                    <a:lnTo>
                      <a:pt x="665" y="366"/>
                    </a:lnTo>
                    <a:lnTo>
                      <a:pt x="669" y="368"/>
                    </a:lnTo>
                    <a:lnTo>
                      <a:pt x="669" y="370"/>
                    </a:lnTo>
                    <a:lnTo>
                      <a:pt x="669" y="374"/>
                    </a:lnTo>
                    <a:lnTo>
                      <a:pt x="670" y="376"/>
                    </a:lnTo>
                    <a:lnTo>
                      <a:pt x="672" y="378"/>
                    </a:lnTo>
                    <a:lnTo>
                      <a:pt x="674" y="381"/>
                    </a:lnTo>
                    <a:lnTo>
                      <a:pt x="678" y="382"/>
                    </a:lnTo>
                    <a:lnTo>
                      <a:pt x="680" y="384"/>
                    </a:lnTo>
                    <a:lnTo>
                      <a:pt x="683" y="384"/>
                    </a:lnTo>
                    <a:lnTo>
                      <a:pt x="689" y="384"/>
                    </a:lnTo>
                    <a:lnTo>
                      <a:pt x="691" y="382"/>
                    </a:lnTo>
                    <a:lnTo>
                      <a:pt x="691" y="380"/>
                    </a:lnTo>
                    <a:lnTo>
                      <a:pt x="691" y="377"/>
                    </a:lnTo>
                    <a:lnTo>
                      <a:pt x="694" y="375"/>
                    </a:lnTo>
                    <a:lnTo>
                      <a:pt x="692" y="378"/>
                    </a:lnTo>
                    <a:lnTo>
                      <a:pt x="694" y="381"/>
                    </a:lnTo>
                    <a:lnTo>
                      <a:pt x="696" y="384"/>
                    </a:lnTo>
                    <a:lnTo>
                      <a:pt x="699" y="383"/>
                    </a:lnTo>
                    <a:lnTo>
                      <a:pt x="702" y="384"/>
                    </a:lnTo>
                    <a:lnTo>
                      <a:pt x="704" y="384"/>
                    </a:lnTo>
                    <a:lnTo>
                      <a:pt x="705" y="381"/>
                    </a:lnTo>
                    <a:lnTo>
                      <a:pt x="704" y="378"/>
                    </a:lnTo>
                    <a:lnTo>
                      <a:pt x="704" y="375"/>
                    </a:lnTo>
                    <a:lnTo>
                      <a:pt x="703" y="373"/>
                    </a:lnTo>
                    <a:lnTo>
                      <a:pt x="703" y="370"/>
                    </a:lnTo>
                    <a:lnTo>
                      <a:pt x="700" y="370"/>
                    </a:lnTo>
                    <a:lnTo>
                      <a:pt x="704" y="368"/>
                    </a:lnTo>
                    <a:lnTo>
                      <a:pt x="697" y="369"/>
                    </a:lnTo>
                    <a:lnTo>
                      <a:pt x="695" y="368"/>
                    </a:lnTo>
                    <a:lnTo>
                      <a:pt x="697" y="368"/>
                    </a:lnTo>
                    <a:lnTo>
                      <a:pt x="704" y="367"/>
                    </a:lnTo>
                    <a:lnTo>
                      <a:pt x="704" y="365"/>
                    </a:lnTo>
                    <a:lnTo>
                      <a:pt x="700" y="363"/>
                    </a:lnTo>
                    <a:lnTo>
                      <a:pt x="704" y="363"/>
                    </a:lnTo>
                    <a:lnTo>
                      <a:pt x="704" y="359"/>
                    </a:lnTo>
                    <a:lnTo>
                      <a:pt x="702" y="357"/>
                    </a:lnTo>
                    <a:lnTo>
                      <a:pt x="698" y="358"/>
                    </a:lnTo>
                    <a:lnTo>
                      <a:pt x="696" y="359"/>
                    </a:lnTo>
                    <a:lnTo>
                      <a:pt x="695" y="361"/>
                    </a:lnTo>
                    <a:lnTo>
                      <a:pt x="692" y="359"/>
                    </a:lnTo>
                    <a:lnTo>
                      <a:pt x="692" y="356"/>
                    </a:lnTo>
                    <a:lnTo>
                      <a:pt x="695" y="355"/>
                    </a:lnTo>
                    <a:lnTo>
                      <a:pt x="698" y="355"/>
                    </a:lnTo>
                    <a:lnTo>
                      <a:pt x="700" y="352"/>
                    </a:lnTo>
                    <a:lnTo>
                      <a:pt x="697" y="352"/>
                    </a:lnTo>
                    <a:lnTo>
                      <a:pt x="695" y="354"/>
                    </a:lnTo>
                    <a:lnTo>
                      <a:pt x="692" y="354"/>
                    </a:lnTo>
                    <a:lnTo>
                      <a:pt x="692" y="351"/>
                    </a:lnTo>
                    <a:lnTo>
                      <a:pt x="690" y="351"/>
                    </a:lnTo>
                    <a:lnTo>
                      <a:pt x="688" y="352"/>
                    </a:lnTo>
                    <a:lnTo>
                      <a:pt x="685" y="354"/>
                    </a:lnTo>
                    <a:lnTo>
                      <a:pt x="686" y="351"/>
                    </a:lnTo>
                    <a:lnTo>
                      <a:pt x="688" y="350"/>
                    </a:lnTo>
                    <a:lnTo>
                      <a:pt x="691" y="348"/>
                    </a:lnTo>
                    <a:lnTo>
                      <a:pt x="689" y="346"/>
                    </a:lnTo>
                    <a:lnTo>
                      <a:pt x="686" y="344"/>
                    </a:lnTo>
                    <a:lnTo>
                      <a:pt x="683" y="344"/>
                    </a:lnTo>
                    <a:lnTo>
                      <a:pt x="680" y="342"/>
                    </a:lnTo>
                    <a:lnTo>
                      <a:pt x="678" y="341"/>
                    </a:lnTo>
                    <a:lnTo>
                      <a:pt x="674" y="342"/>
                    </a:lnTo>
                    <a:lnTo>
                      <a:pt x="675" y="339"/>
                    </a:lnTo>
                    <a:lnTo>
                      <a:pt x="673" y="338"/>
                    </a:lnTo>
                    <a:lnTo>
                      <a:pt x="671" y="338"/>
                    </a:lnTo>
                    <a:lnTo>
                      <a:pt x="668" y="337"/>
                    </a:lnTo>
                    <a:lnTo>
                      <a:pt x="665" y="334"/>
                    </a:lnTo>
                    <a:lnTo>
                      <a:pt x="662" y="334"/>
                    </a:lnTo>
                    <a:lnTo>
                      <a:pt x="660" y="334"/>
                    </a:lnTo>
                    <a:lnTo>
                      <a:pt x="658" y="335"/>
                    </a:lnTo>
                    <a:lnTo>
                      <a:pt x="656" y="335"/>
                    </a:lnTo>
                    <a:lnTo>
                      <a:pt x="654" y="338"/>
                    </a:lnTo>
                    <a:lnTo>
                      <a:pt x="652" y="340"/>
                    </a:lnTo>
                    <a:lnTo>
                      <a:pt x="653" y="337"/>
                    </a:lnTo>
                    <a:lnTo>
                      <a:pt x="653" y="334"/>
                    </a:lnTo>
                    <a:lnTo>
                      <a:pt x="651" y="334"/>
                    </a:lnTo>
                    <a:lnTo>
                      <a:pt x="647" y="333"/>
                    </a:lnTo>
                    <a:lnTo>
                      <a:pt x="649" y="333"/>
                    </a:lnTo>
                    <a:lnTo>
                      <a:pt x="653" y="333"/>
                    </a:lnTo>
                    <a:lnTo>
                      <a:pt x="655" y="333"/>
                    </a:lnTo>
                    <a:lnTo>
                      <a:pt x="658" y="333"/>
                    </a:lnTo>
                    <a:lnTo>
                      <a:pt x="661" y="332"/>
                    </a:lnTo>
                    <a:lnTo>
                      <a:pt x="662" y="330"/>
                    </a:lnTo>
                    <a:lnTo>
                      <a:pt x="662" y="326"/>
                    </a:lnTo>
                    <a:lnTo>
                      <a:pt x="658" y="326"/>
                    </a:lnTo>
                    <a:lnTo>
                      <a:pt x="656" y="325"/>
                    </a:lnTo>
                    <a:lnTo>
                      <a:pt x="653" y="324"/>
                    </a:lnTo>
                    <a:lnTo>
                      <a:pt x="651" y="323"/>
                    </a:lnTo>
                    <a:lnTo>
                      <a:pt x="647" y="325"/>
                    </a:lnTo>
                    <a:lnTo>
                      <a:pt x="645" y="326"/>
                    </a:lnTo>
                    <a:lnTo>
                      <a:pt x="643" y="326"/>
                    </a:lnTo>
                    <a:lnTo>
                      <a:pt x="639" y="329"/>
                    </a:lnTo>
                    <a:lnTo>
                      <a:pt x="639" y="325"/>
                    </a:lnTo>
                    <a:lnTo>
                      <a:pt x="637" y="326"/>
                    </a:lnTo>
                    <a:lnTo>
                      <a:pt x="634" y="326"/>
                    </a:lnTo>
                    <a:lnTo>
                      <a:pt x="637" y="324"/>
                    </a:lnTo>
                    <a:lnTo>
                      <a:pt x="635" y="323"/>
                    </a:lnTo>
                    <a:lnTo>
                      <a:pt x="631" y="323"/>
                    </a:lnTo>
                    <a:lnTo>
                      <a:pt x="629" y="324"/>
                    </a:lnTo>
                    <a:lnTo>
                      <a:pt x="626" y="323"/>
                    </a:lnTo>
                    <a:lnTo>
                      <a:pt x="629" y="323"/>
                    </a:lnTo>
                    <a:lnTo>
                      <a:pt x="631" y="323"/>
                    </a:lnTo>
                    <a:lnTo>
                      <a:pt x="634" y="322"/>
                    </a:lnTo>
                    <a:lnTo>
                      <a:pt x="637" y="323"/>
                    </a:lnTo>
                    <a:lnTo>
                      <a:pt x="639" y="324"/>
                    </a:lnTo>
                    <a:lnTo>
                      <a:pt x="643" y="324"/>
                    </a:lnTo>
                    <a:lnTo>
                      <a:pt x="645" y="324"/>
                    </a:lnTo>
                    <a:lnTo>
                      <a:pt x="647" y="322"/>
                    </a:lnTo>
                    <a:lnTo>
                      <a:pt x="651" y="322"/>
                    </a:lnTo>
                    <a:lnTo>
                      <a:pt x="653" y="322"/>
                    </a:lnTo>
                    <a:lnTo>
                      <a:pt x="656" y="321"/>
                    </a:lnTo>
                    <a:lnTo>
                      <a:pt x="658" y="318"/>
                    </a:lnTo>
                    <a:lnTo>
                      <a:pt x="656" y="316"/>
                    </a:lnTo>
                    <a:lnTo>
                      <a:pt x="653" y="316"/>
                    </a:lnTo>
                    <a:lnTo>
                      <a:pt x="651" y="316"/>
                    </a:lnTo>
                    <a:lnTo>
                      <a:pt x="647" y="314"/>
                    </a:lnTo>
                    <a:lnTo>
                      <a:pt x="645" y="314"/>
                    </a:lnTo>
                    <a:lnTo>
                      <a:pt x="642" y="314"/>
                    </a:lnTo>
                    <a:lnTo>
                      <a:pt x="638" y="314"/>
                    </a:lnTo>
                    <a:lnTo>
                      <a:pt x="636" y="316"/>
                    </a:lnTo>
                    <a:lnTo>
                      <a:pt x="634" y="316"/>
                    </a:lnTo>
                    <a:lnTo>
                      <a:pt x="630" y="315"/>
                    </a:lnTo>
                    <a:lnTo>
                      <a:pt x="628" y="315"/>
                    </a:lnTo>
                    <a:lnTo>
                      <a:pt x="626" y="318"/>
                    </a:lnTo>
                    <a:lnTo>
                      <a:pt x="626" y="315"/>
                    </a:lnTo>
                    <a:lnTo>
                      <a:pt x="622" y="315"/>
                    </a:lnTo>
                    <a:lnTo>
                      <a:pt x="626" y="315"/>
                    </a:lnTo>
                    <a:lnTo>
                      <a:pt x="628" y="314"/>
                    </a:lnTo>
                    <a:lnTo>
                      <a:pt x="630" y="314"/>
                    </a:lnTo>
                    <a:lnTo>
                      <a:pt x="634" y="315"/>
                    </a:lnTo>
                    <a:lnTo>
                      <a:pt x="636" y="314"/>
                    </a:lnTo>
                    <a:lnTo>
                      <a:pt x="637" y="312"/>
                    </a:lnTo>
                    <a:lnTo>
                      <a:pt x="634" y="310"/>
                    </a:lnTo>
                    <a:lnTo>
                      <a:pt x="631" y="309"/>
                    </a:lnTo>
                    <a:lnTo>
                      <a:pt x="628" y="309"/>
                    </a:lnTo>
                    <a:lnTo>
                      <a:pt x="626" y="306"/>
                    </a:lnTo>
                    <a:lnTo>
                      <a:pt x="628" y="307"/>
                    </a:lnTo>
                    <a:lnTo>
                      <a:pt x="631" y="309"/>
                    </a:lnTo>
                    <a:lnTo>
                      <a:pt x="634" y="310"/>
                    </a:lnTo>
                    <a:lnTo>
                      <a:pt x="637" y="310"/>
                    </a:lnTo>
                    <a:lnTo>
                      <a:pt x="639" y="310"/>
                    </a:lnTo>
                    <a:lnTo>
                      <a:pt x="643" y="313"/>
                    </a:lnTo>
                    <a:lnTo>
                      <a:pt x="647" y="313"/>
                    </a:lnTo>
                    <a:lnTo>
                      <a:pt x="651" y="310"/>
                    </a:lnTo>
                    <a:lnTo>
                      <a:pt x="652" y="308"/>
                    </a:lnTo>
                    <a:lnTo>
                      <a:pt x="655" y="306"/>
                    </a:lnTo>
                    <a:lnTo>
                      <a:pt x="657" y="306"/>
                    </a:lnTo>
                    <a:lnTo>
                      <a:pt x="661" y="306"/>
                    </a:lnTo>
                    <a:lnTo>
                      <a:pt x="658" y="304"/>
                    </a:lnTo>
                    <a:lnTo>
                      <a:pt x="657" y="300"/>
                    </a:lnTo>
                    <a:lnTo>
                      <a:pt x="654" y="299"/>
                    </a:lnTo>
                    <a:lnTo>
                      <a:pt x="652" y="298"/>
                    </a:lnTo>
                    <a:lnTo>
                      <a:pt x="649" y="295"/>
                    </a:lnTo>
                    <a:lnTo>
                      <a:pt x="652" y="296"/>
                    </a:lnTo>
                    <a:lnTo>
                      <a:pt x="655" y="298"/>
                    </a:lnTo>
                    <a:lnTo>
                      <a:pt x="657" y="299"/>
                    </a:lnTo>
                    <a:lnTo>
                      <a:pt x="658" y="303"/>
                    </a:lnTo>
                    <a:lnTo>
                      <a:pt x="661" y="304"/>
                    </a:lnTo>
                    <a:lnTo>
                      <a:pt x="664" y="304"/>
                    </a:lnTo>
                    <a:lnTo>
                      <a:pt x="666" y="305"/>
                    </a:lnTo>
                    <a:lnTo>
                      <a:pt x="665" y="301"/>
                    </a:lnTo>
                    <a:lnTo>
                      <a:pt x="668" y="299"/>
                    </a:lnTo>
                    <a:lnTo>
                      <a:pt x="670" y="298"/>
                    </a:lnTo>
                    <a:lnTo>
                      <a:pt x="673" y="298"/>
                    </a:lnTo>
                    <a:lnTo>
                      <a:pt x="675" y="299"/>
                    </a:lnTo>
                    <a:lnTo>
                      <a:pt x="678" y="299"/>
                    </a:lnTo>
                    <a:lnTo>
                      <a:pt x="681" y="300"/>
                    </a:lnTo>
                    <a:lnTo>
                      <a:pt x="683" y="301"/>
                    </a:lnTo>
                    <a:lnTo>
                      <a:pt x="687" y="303"/>
                    </a:lnTo>
                    <a:lnTo>
                      <a:pt x="689" y="304"/>
                    </a:lnTo>
                    <a:lnTo>
                      <a:pt x="691" y="304"/>
                    </a:lnTo>
                    <a:lnTo>
                      <a:pt x="695" y="303"/>
                    </a:lnTo>
                    <a:lnTo>
                      <a:pt x="691" y="304"/>
                    </a:lnTo>
                    <a:lnTo>
                      <a:pt x="689" y="305"/>
                    </a:lnTo>
                    <a:lnTo>
                      <a:pt x="683" y="303"/>
                    </a:lnTo>
                    <a:lnTo>
                      <a:pt x="680" y="301"/>
                    </a:lnTo>
                    <a:lnTo>
                      <a:pt x="678" y="300"/>
                    </a:lnTo>
                    <a:lnTo>
                      <a:pt x="674" y="300"/>
                    </a:lnTo>
                    <a:lnTo>
                      <a:pt x="672" y="300"/>
                    </a:lnTo>
                    <a:lnTo>
                      <a:pt x="672" y="303"/>
                    </a:lnTo>
                    <a:lnTo>
                      <a:pt x="674" y="305"/>
                    </a:lnTo>
                    <a:lnTo>
                      <a:pt x="678" y="306"/>
                    </a:lnTo>
                    <a:lnTo>
                      <a:pt x="680" y="308"/>
                    </a:lnTo>
                    <a:lnTo>
                      <a:pt x="682" y="308"/>
                    </a:lnTo>
                    <a:lnTo>
                      <a:pt x="686" y="309"/>
                    </a:lnTo>
                    <a:lnTo>
                      <a:pt x="688" y="310"/>
                    </a:lnTo>
                    <a:lnTo>
                      <a:pt x="691" y="312"/>
                    </a:lnTo>
                    <a:lnTo>
                      <a:pt x="694" y="312"/>
                    </a:lnTo>
                    <a:lnTo>
                      <a:pt x="697" y="313"/>
                    </a:lnTo>
                    <a:lnTo>
                      <a:pt x="699" y="310"/>
                    </a:lnTo>
                    <a:lnTo>
                      <a:pt x="703" y="309"/>
                    </a:lnTo>
                    <a:lnTo>
                      <a:pt x="705" y="308"/>
                    </a:lnTo>
                    <a:lnTo>
                      <a:pt x="708" y="306"/>
                    </a:lnTo>
                    <a:lnTo>
                      <a:pt x="711" y="307"/>
                    </a:lnTo>
                    <a:lnTo>
                      <a:pt x="713" y="307"/>
                    </a:lnTo>
                    <a:lnTo>
                      <a:pt x="716" y="307"/>
                    </a:lnTo>
                    <a:lnTo>
                      <a:pt x="719" y="307"/>
                    </a:lnTo>
                    <a:lnTo>
                      <a:pt x="722" y="305"/>
                    </a:lnTo>
                    <a:lnTo>
                      <a:pt x="721" y="303"/>
                    </a:lnTo>
                    <a:lnTo>
                      <a:pt x="721" y="299"/>
                    </a:lnTo>
                    <a:lnTo>
                      <a:pt x="723" y="297"/>
                    </a:lnTo>
                    <a:lnTo>
                      <a:pt x="721" y="296"/>
                    </a:lnTo>
                    <a:lnTo>
                      <a:pt x="717" y="296"/>
                    </a:lnTo>
                    <a:lnTo>
                      <a:pt x="715" y="295"/>
                    </a:lnTo>
                    <a:lnTo>
                      <a:pt x="712" y="293"/>
                    </a:lnTo>
                    <a:lnTo>
                      <a:pt x="709" y="292"/>
                    </a:lnTo>
                    <a:lnTo>
                      <a:pt x="706" y="291"/>
                    </a:lnTo>
                    <a:lnTo>
                      <a:pt x="704" y="291"/>
                    </a:lnTo>
                    <a:lnTo>
                      <a:pt x="700" y="291"/>
                    </a:lnTo>
                    <a:lnTo>
                      <a:pt x="700" y="295"/>
                    </a:lnTo>
                    <a:lnTo>
                      <a:pt x="703" y="297"/>
                    </a:lnTo>
                    <a:lnTo>
                      <a:pt x="704" y="300"/>
                    </a:lnTo>
                    <a:lnTo>
                      <a:pt x="702" y="297"/>
                    </a:lnTo>
                    <a:lnTo>
                      <a:pt x="700" y="295"/>
                    </a:lnTo>
                    <a:lnTo>
                      <a:pt x="698" y="292"/>
                    </a:lnTo>
                    <a:lnTo>
                      <a:pt x="696" y="291"/>
                    </a:lnTo>
                    <a:lnTo>
                      <a:pt x="692" y="290"/>
                    </a:lnTo>
                    <a:lnTo>
                      <a:pt x="696" y="290"/>
                    </a:lnTo>
                    <a:lnTo>
                      <a:pt x="697" y="287"/>
                    </a:lnTo>
                    <a:lnTo>
                      <a:pt x="698" y="284"/>
                    </a:lnTo>
                    <a:lnTo>
                      <a:pt x="696" y="284"/>
                    </a:lnTo>
                    <a:lnTo>
                      <a:pt x="692" y="284"/>
                    </a:lnTo>
                    <a:lnTo>
                      <a:pt x="696" y="284"/>
                    </a:lnTo>
                    <a:lnTo>
                      <a:pt x="698" y="283"/>
                    </a:lnTo>
                    <a:lnTo>
                      <a:pt x="702" y="283"/>
                    </a:lnTo>
                    <a:lnTo>
                      <a:pt x="702" y="280"/>
                    </a:lnTo>
                    <a:lnTo>
                      <a:pt x="699" y="278"/>
                    </a:lnTo>
                    <a:lnTo>
                      <a:pt x="702" y="279"/>
                    </a:lnTo>
                    <a:lnTo>
                      <a:pt x="704" y="280"/>
                    </a:lnTo>
                    <a:lnTo>
                      <a:pt x="707" y="280"/>
                    </a:lnTo>
                    <a:lnTo>
                      <a:pt x="709" y="280"/>
                    </a:lnTo>
                    <a:lnTo>
                      <a:pt x="713" y="280"/>
                    </a:lnTo>
                    <a:lnTo>
                      <a:pt x="716" y="280"/>
                    </a:lnTo>
                    <a:lnTo>
                      <a:pt x="719" y="280"/>
                    </a:lnTo>
                    <a:lnTo>
                      <a:pt x="721" y="280"/>
                    </a:lnTo>
                    <a:lnTo>
                      <a:pt x="723" y="283"/>
                    </a:lnTo>
                    <a:lnTo>
                      <a:pt x="726" y="286"/>
                    </a:lnTo>
                    <a:lnTo>
                      <a:pt x="726" y="286"/>
                    </a:lnTo>
                    <a:lnTo>
                      <a:pt x="729" y="286"/>
                    </a:lnTo>
                    <a:lnTo>
                      <a:pt x="731" y="286"/>
                    </a:lnTo>
                    <a:lnTo>
                      <a:pt x="734" y="286"/>
                    </a:lnTo>
                    <a:lnTo>
                      <a:pt x="737" y="284"/>
                    </a:lnTo>
                    <a:lnTo>
                      <a:pt x="739" y="282"/>
                    </a:lnTo>
                    <a:lnTo>
                      <a:pt x="740" y="279"/>
                    </a:lnTo>
                    <a:lnTo>
                      <a:pt x="737" y="277"/>
                    </a:lnTo>
                    <a:lnTo>
                      <a:pt x="734" y="274"/>
                    </a:lnTo>
                    <a:lnTo>
                      <a:pt x="732" y="275"/>
                    </a:lnTo>
                    <a:lnTo>
                      <a:pt x="730" y="277"/>
                    </a:lnTo>
                    <a:lnTo>
                      <a:pt x="726" y="275"/>
                    </a:lnTo>
                    <a:lnTo>
                      <a:pt x="724" y="274"/>
                    </a:lnTo>
                    <a:lnTo>
                      <a:pt x="721" y="274"/>
                    </a:lnTo>
                    <a:lnTo>
                      <a:pt x="719" y="274"/>
                    </a:lnTo>
                    <a:lnTo>
                      <a:pt x="715" y="275"/>
                    </a:lnTo>
                    <a:lnTo>
                      <a:pt x="713" y="275"/>
                    </a:lnTo>
                    <a:lnTo>
                      <a:pt x="715" y="274"/>
                    </a:lnTo>
                    <a:lnTo>
                      <a:pt x="719" y="273"/>
                    </a:lnTo>
                    <a:lnTo>
                      <a:pt x="716" y="270"/>
                    </a:lnTo>
                    <a:lnTo>
                      <a:pt x="717" y="267"/>
                    </a:lnTo>
                    <a:lnTo>
                      <a:pt x="717" y="264"/>
                    </a:lnTo>
                    <a:lnTo>
                      <a:pt x="712" y="263"/>
                    </a:lnTo>
                    <a:lnTo>
                      <a:pt x="709" y="264"/>
                    </a:lnTo>
                    <a:lnTo>
                      <a:pt x="706" y="266"/>
                    </a:lnTo>
                    <a:lnTo>
                      <a:pt x="704" y="266"/>
                    </a:lnTo>
                    <a:lnTo>
                      <a:pt x="700" y="266"/>
                    </a:lnTo>
                    <a:lnTo>
                      <a:pt x="699" y="263"/>
                    </a:lnTo>
                    <a:lnTo>
                      <a:pt x="696" y="262"/>
                    </a:lnTo>
                    <a:lnTo>
                      <a:pt x="698" y="262"/>
                    </a:lnTo>
                    <a:lnTo>
                      <a:pt x="702" y="264"/>
                    </a:lnTo>
                    <a:lnTo>
                      <a:pt x="704" y="265"/>
                    </a:lnTo>
                    <a:lnTo>
                      <a:pt x="707" y="264"/>
                    </a:lnTo>
                    <a:lnTo>
                      <a:pt x="709" y="263"/>
                    </a:lnTo>
                    <a:lnTo>
                      <a:pt x="713" y="262"/>
                    </a:lnTo>
                    <a:lnTo>
                      <a:pt x="715" y="262"/>
                    </a:lnTo>
                    <a:lnTo>
                      <a:pt x="717" y="262"/>
                    </a:lnTo>
                    <a:lnTo>
                      <a:pt x="717" y="260"/>
                    </a:lnTo>
                    <a:lnTo>
                      <a:pt x="715" y="258"/>
                    </a:lnTo>
                    <a:lnTo>
                      <a:pt x="713" y="256"/>
                    </a:lnTo>
                    <a:lnTo>
                      <a:pt x="709" y="255"/>
                    </a:lnTo>
                    <a:lnTo>
                      <a:pt x="707" y="253"/>
                    </a:lnTo>
                    <a:lnTo>
                      <a:pt x="704" y="253"/>
                    </a:lnTo>
                    <a:lnTo>
                      <a:pt x="702" y="253"/>
                    </a:lnTo>
                    <a:lnTo>
                      <a:pt x="698" y="253"/>
                    </a:lnTo>
                    <a:lnTo>
                      <a:pt x="696" y="252"/>
                    </a:lnTo>
                    <a:lnTo>
                      <a:pt x="692" y="252"/>
                    </a:lnTo>
                    <a:lnTo>
                      <a:pt x="696" y="252"/>
                    </a:lnTo>
                    <a:lnTo>
                      <a:pt x="698" y="253"/>
                    </a:lnTo>
                    <a:lnTo>
                      <a:pt x="702" y="253"/>
                    </a:lnTo>
                    <a:lnTo>
                      <a:pt x="704" y="253"/>
                    </a:lnTo>
                    <a:lnTo>
                      <a:pt x="707" y="253"/>
                    </a:lnTo>
                    <a:lnTo>
                      <a:pt x="704" y="250"/>
                    </a:lnTo>
                    <a:lnTo>
                      <a:pt x="702" y="249"/>
                    </a:lnTo>
                    <a:lnTo>
                      <a:pt x="698" y="248"/>
                    </a:lnTo>
                    <a:lnTo>
                      <a:pt x="696" y="248"/>
                    </a:lnTo>
                    <a:lnTo>
                      <a:pt x="699" y="247"/>
                    </a:lnTo>
                    <a:lnTo>
                      <a:pt x="702" y="248"/>
                    </a:lnTo>
                    <a:lnTo>
                      <a:pt x="704" y="249"/>
                    </a:lnTo>
                    <a:lnTo>
                      <a:pt x="707" y="250"/>
                    </a:lnTo>
                    <a:lnTo>
                      <a:pt x="709" y="253"/>
                    </a:lnTo>
                    <a:lnTo>
                      <a:pt x="713" y="255"/>
                    </a:lnTo>
                    <a:lnTo>
                      <a:pt x="715" y="256"/>
                    </a:lnTo>
                    <a:lnTo>
                      <a:pt x="719" y="257"/>
                    </a:lnTo>
                    <a:lnTo>
                      <a:pt x="721" y="257"/>
                    </a:lnTo>
                    <a:lnTo>
                      <a:pt x="724" y="256"/>
                    </a:lnTo>
                    <a:lnTo>
                      <a:pt x="726" y="257"/>
                    </a:lnTo>
                    <a:lnTo>
                      <a:pt x="726" y="261"/>
                    </a:lnTo>
                    <a:lnTo>
                      <a:pt x="730" y="262"/>
                    </a:lnTo>
                    <a:lnTo>
                      <a:pt x="732" y="262"/>
                    </a:lnTo>
                    <a:lnTo>
                      <a:pt x="734" y="258"/>
                    </a:lnTo>
                    <a:lnTo>
                      <a:pt x="736" y="256"/>
                    </a:lnTo>
                    <a:lnTo>
                      <a:pt x="736" y="254"/>
                    </a:lnTo>
                    <a:lnTo>
                      <a:pt x="736" y="250"/>
                    </a:lnTo>
                    <a:lnTo>
                      <a:pt x="733" y="248"/>
                    </a:lnTo>
                    <a:lnTo>
                      <a:pt x="732" y="245"/>
                    </a:lnTo>
                    <a:lnTo>
                      <a:pt x="736" y="245"/>
                    </a:lnTo>
                    <a:lnTo>
                      <a:pt x="732" y="244"/>
                    </a:lnTo>
                    <a:lnTo>
                      <a:pt x="730" y="240"/>
                    </a:lnTo>
                    <a:lnTo>
                      <a:pt x="728" y="239"/>
                    </a:lnTo>
                    <a:lnTo>
                      <a:pt x="726" y="239"/>
                    </a:lnTo>
                    <a:lnTo>
                      <a:pt x="724" y="240"/>
                    </a:lnTo>
                    <a:lnTo>
                      <a:pt x="721" y="239"/>
                    </a:lnTo>
                    <a:lnTo>
                      <a:pt x="719" y="239"/>
                    </a:lnTo>
                    <a:lnTo>
                      <a:pt x="715" y="239"/>
                    </a:lnTo>
                    <a:lnTo>
                      <a:pt x="713" y="238"/>
                    </a:lnTo>
                    <a:lnTo>
                      <a:pt x="709" y="239"/>
                    </a:lnTo>
                    <a:lnTo>
                      <a:pt x="707" y="239"/>
                    </a:lnTo>
                    <a:lnTo>
                      <a:pt x="702" y="239"/>
                    </a:lnTo>
                    <a:lnTo>
                      <a:pt x="704" y="238"/>
                    </a:lnTo>
                    <a:lnTo>
                      <a:pt x="707" y="238"/>
                    </a:lnTo>
                    <a:lnTo>
                      <a:pt x="709" y="238"/>
                    </a:lnTo>
                    <a:lnTo>
                      <a:pt x="713" y="238"/>
                    </a:lnTo>
                    <a:lnTo>
                      <a:pt x="715" y="238"/>
                    </a:lnTo>
                    <a:lnTo>
                      <a:pt x="717" y="238"/>
                    </a:lnTo>
                    <a:lnTo>
                      <a:pt x="721" y="238"/>
                    </a:lnTo>
                    <a:lnTo>
                      <a:pt x="723" y="238"/>
                    </a:lnTo>
                    <a:lnTo>
                      <a:pt x="726" y="236"/>
                    </a:lnTo>
                    <a:lnTo>
                      <a:pt x="726" y="236"/>
                    </a:lnTo>
                    <a:lnTo>
                      <a:pt x="730" y="236"/>
                    </a:lnTo>
                    <a:lnTo>
                      <a:pt x="731" y="233"/>
                    </a:lnTo>
                    <a:lnTo>
                      <a:pt x="729" y="231"/>
                    </a:lnTo>
                    <a:lnTo>
                      <a:pt x="726" y="230"/>
                    </a:lnTo>
                    <a:lnTo>
                      <a:pt x="724" y="231"/>
                    </a:lnTo>
                    <a:lnTo>
                      <a:pt x="721" y="231"/>
                    </a:lnTo>
                    <a:lnTo>
                      <a:pt x="715" y="229"/>
                    </a:lnTo>
                    <a:lnTo>
                      <a:pt x="713" y="229"/>
                    </a:lnTo>
                    <a:lnTo>
                      <a:pt x="715" y="231"/>
                    </a:lnTo>
                    <a:lnTo>
                      <a:pt x="719" y="232"/>
                    </a:lnTo>
                    <a:lnTo>
                      <a:pt x="721" y="233"/>
                    </a:lnTo>
                    <a:lnTo>
                      <a:pt x="719" y="235"/>
                    </a:lnTo>
                    <a:lnTo>
                      <a:pt x="715" y="231"/>
                    </a:lnTo>
                    <a:lnTo>
                      <a:pt x="713" y="230"/>
                    </a:lnTo>
                    <a:lnTo>
                      <a:pt x="709" y="230"/>
                    </a:lnTo>
                    <a:lnTo>
                      <a:pt x="707" y="230"/>
                    </a:lnTo>
                    <a:lnTo>
                      <a:pt x="704" y="231"/>
                    </a:lnTo>
                    <a:lnTo>
                      <a:pt x="704" y="228"/>
                    </a:lnTo>
                    <a:lnTo>
                      <a:pt x="705" y="226"/>
                    </a:lnTo>
                    <a:lnTo>
                      <a:pt x="703" y="226"/>
                    </a:lnTo>
                    <a:lnTo>
                      <a:pt x="699" y="226"/>
                    </a:lnTo>
                    <a:lnTo>
                      <a:pt x="697" y="226"/>
                    </a:lnTo>
                    <a:lnTo>
                      <a:pt x="695" y="226"/>
                    </a:lnTo>
                    <a:lnTo>
                      <a:pt x="697" y="226"/>
                    </a:lnTo>
                    <a:lnTo>
                      <a:pt x="699" y="226"/>
                    </a:lnTo>
                    <a:lnTo>
                      <a:pt x="703" y="226"/>
                    </a:lnTo>
                    <a:lnTo>
                      <a:pt x="699" y="224"/>
                    </a:lnTo>
                    <a:lnTo>
                      <a:pt x="703" y="223"/>
                    </a:lnTo>
                    <a:lnTo>
                      <a:pt x="699" y="223"/>
                    </a:lnTo>
                    <a:lnTo>
                      <a:pt x="700" y="220"/>
                    </a:lnTo>
                    <a:lnTo>
                      <a:pt x="697" y="220"/>
                    </a:lnTo>
                    <a:lnTo>
                      <a:pt x="695" y="222"/>
                    </a:lnTo>
                    <a:lnTo>
                      <a:pt x="694" y="220"/>
                    </a:lnTo>
                    <a:lnTo>
                      <a:pt x="690" y="219"/>
                    </a:lnTo>
                    <a:lnTo>
                      <a:pt x="694" y="216"/>
                    </a:lnTo>
                    <a:lnTo>
                      <a:pt x="695" y="214"/>
                    </a:lnTo>
                    <a:lnTo>
                      <a:pt x="697" y="213"/>
                    </a:lnTo>
                    <a:lnTo>
                      <a:pt x="699" y="215"/>
                    </a:lnTo>
                    <a:lnTo>
                      <a:pt x="703" y="219"/>
                    </a:lnTo>
                    <a:lnTo>
                      <a:pt x="705" y="219"/>
                    </a:lnTo>
                    <a:lnTo>
                      <a:pt x="707" y="218"/>
                    </a:lnTo>
                    <a:lnTo>
                      <a:pt x="711" y="215"/>
                    </a:lnTo>
                    <a:lnTo>
                      <a:pt x="713" y="214"/>
                    </a:lnTo>
                    <a:lnTo>
                      <a:pt x="716" y="214"/>
                    </a:lnTo>
                    <a:lnTo>
                      <a:pt x="713" y="213"/>
                    </a:lnTo>
                    <a:lnTo>
                      <a:pt x="711" y="213"/>
                    </a:lnTo>
                    <a:lnTo>
                      <a:pt x="708" y="213"/>
                    </a:lnTo>
                    <a:lnTo>
                      <a:pt x="705" y="213"/>
                    </a:lnTo>
                    <a:lnTo>
                      <a:pt x="708" y="212"/>
                    </a:lnTo>
                    <a:lnTo>
                      <a:pt x="711" y="212"/>
                    </a:lnTo>
                    <a:lnTo>
                      <a:pt x="714" y="212"/>
                    </a:lnTo>
                    <a:lnTo>
                      <a:pt x="716" y="213"/>
                    </a:lnTo>
                    <a:lnTo>
                      <a:pt x="714" y="211"/>
                    </a:lnTo>
                    <a:lnTo>
                      <a:pt x="716" y="210"/>
                    </a:lnTo>
                    <a:lnTo>
                      <a:pt x="720" y="210"/>
                    </a:lnTo>
                    <a:lnTo>
                      <a:pt x="722" y="210"/>
                    </a:lnTo>
                    <a:lnTo>
                      <a:pt x="725" y="211"/>
                    </a:lnTo>
                    <a:lnTo>
                      <a:pt x="726" y="210"/>
                    </a:lnTo>
                    <a:lnTo>
                      <a:pt x="729" y="211"/>
                    </a:lnTo>
                    <a:lnTo>
                      <a:pt x="732" y="212"/>
                    </a:lnTo>
                    <a:lnTo>
                      <a:pt x="734" y="213"/>
                    </a:lnTo>
                    <a:lnTo>
                      <a:pt x="738" y="213"/>
                    </a:lnTo>
                    <a:lnTo>
                      <a:pt x="740" y="213"/>
                    </a:lnTo>
                    <a:lnTo>
                      <a:pt x="743" y="214"/>
                    </a:lnTo>
                    <a:lnTo>
                      <a:pt x="746" y="214"/>
                    </a:lnTo>
                    <a:lnTo>
                      <a:pt x="748" y="214"/>
                    </a:lnTo>
                    <a:lnTo>
                      <a:pt x="751" y="213"/>
                    </a:lnTo>
                    <a:lnTo>
                      <a:pt x="753" y="210"/>
                    </a:lnTo>
                    <a:lnTo>
                      <a:pt x="753" y="207"/>
                    </a:lnTo>
                    <a:lnTo>
                      <a:pt x="751" y="205"/>
                    </a:lnTo>
                    <a:lnTo>
                      <a:pt x="751" y="202"/>
                    </a:lnTo>
                    <a:lnTo>
                      <a:pt x="749" y="200"/>
                    </a:lnTo>
                    <a:lnTo>
                      <a:pt x="746" y="200"/>
                    </a:lnTo>
                    <a:lnTo>
                      <a:pt x="743" y="198"/>
                    </a:lnTo>
                    <a:lnTo>
                      <a:pt x="740" y="200"/>
                    </a:lnTo>
                    <a:lnTo>
                      <a:pt x="738" y="202"/>
                    </a:lnTo>
                    <a:lnTo>
                      <a:pt x="734" y="201"/>
                    </a:lnTo>
                    <a:lnTo>
                      <a:pt x="732" y="198"/>
                    </a:lnTo>
                    <a:lnTo>
                      <a:pt x="730" y="197"/>
                    </a:lnTo>
                    <a:lnTo>
                      <a:pt x="726" y="197"/>
                    </a:lnTo>
                    <a:lnTo>
                      <a:pt x="724" y="198"/>
                    </a:lnTo>
                    <a:lnTo>
                      <a:pt x="721" y="197"/>
                    </a:lnTo>
                    <a:lnTo>
                      <a:pt x="719" y="197"/>
                    </a:lnTo>
                    <a:lnTo>
                      <a:pt x="721" y="197"/>
                    </a:lnTo>
                    <a:lnTo>
                      <a:pt x="724" y="197"/>
                    </a:lnTo>
                    <a:lnTo>
                      <a:pt x="726" y="196"/>
                    </a:lnTo>
                    <a:lnTo>
                      <a:pt x="724" y="196"/>
                    </a:lnTo>
                    <a:lnTo>
                      <a:pt x="721" y="195"/>
                    </a:lnTo>
                    <a:lnTo>
                      <a:pt x="719" y="195"/>
                    </a:lnTo>
                    <a:lnTo>
                      <a:pt x="715" y="194"/>
                    </a:lnTo>
                    <a:lnTo>
                      <a:pt x="713" y="194"/>
                    </a:lnTo>
                    <a:lnTo>
                      <a:pt x="715" y="194"/>
                    </a:lnTo>
                    <a:lnTo>
                      <a:pt x="719" y="194"/>
                    </a:lnTo>
                    <a:lnTo>
                      <a:pt x="721" y="195"/>
                    </a:lnTo>
                    <a:lnTo>
                      <a:pt x="719" y="193"/>
                    </a:lnTo>
                    <a:lnTo>
                      <a:pt x="721" y="193"/>
                    </a:lnTo>
                    <a:lnTo>
                      <a:pt x="719" y="190"/>
                    </a:lnTo>
                    <a:lnTo>
                      <a:pt x="715" y="189"/>
                    </a:lnTo>
                    <a:lnTo>
                      <a:pt x="719" y="188"/>
                    </a:lnTo>
                    <a:lnTo>
                      <a:pt x="721" y="189"/>
                    </a:lnTo>
                    <a:lnTo>
                      <a:pt x="724" y="188"/>
                    </a:lnTo>
                    <a:lnTo>
                      <a:pt x="726" y="188"/>
                    </a:lnTo>
                    <a:lnTo>
                      <a:pt x="730" y="189"/>
                    </a:lnTo>
                    <a:lnTo>
                      <a:pt x="732" y="192"/>
                    </a:lnTo>
                    <a:lnTo>
                      <a:pt x="736" y="193"/>
                    </a:lnTo>
                    <a:lnTo>
                      <a:pt x="739" y="192"/>
                    </a:lnTo>
                    <a:lnTo>
                      <a:pt x="741" y="192"/>
                    </a:lnTo>
                    <a:lnTo>
                      <a:pt x="739" y="188"/>
                    </a:lnTo>
                    <a:lnTo>
                      <a:pt x="736" y="187"/>
                    </a:lnTo>
                    <a:lnTo>
                      <a:pt x="733" y="186"/>
                    </a:lnTo>
                    <a:lnTo>
                      <a:pt x="730" y="186"/>
                    </a:lnTo>
                    <a:lnTo>
                      <a:pt x="728" y="185"/>
                    </a:lnTo>
                    <a:lnTo>
                      <a:pt x="726" y="185"/>
                    </a:lnTo>
                    <a:lnTo>
                      <a:pt x="724" y="184"/>
                    </a:lnTo>
                    <a:lnTo>
                      <a:pt x="721" y="184"/>
                    </a:lnTo>
                    <a:lnTo>
                      <a:pt x="719" y="183"/>
                    </a:lnTo>
                    <a:lnTo>
                      <a:pt x="715" y="179"/>
                    </a:lnTo>
                    <a:lnTo>
                      <a:pt x="713" y="180"/>
                    </a:lnTo>
                    <a:lnTo>
                      <a:pt x="709" y="184"/>
                    </a:lnTo>
                    <a:lnTo>
                      <a:pt x="708" y="186"/>
                    </a:lnTo>
                    <a:lnTo>
                      <a:pt x="707" y="189"/>
                    </a:lnTo>
                    <a:lnTo>
                      <a:pt x="706" y="192"/>
                    </a:lnTo>
                    <a:lnTo>
                      <a:pt x="704" y="194"/>
                    </a:lnTo>
                    <a:lnTo>
                      <a:pt x="706" y="190"/>
                    </a:lnTo>
                    <a:lnTo>
                      <a:pt x="703" y="189"/>
                    </a:lnTo>
                    <a:lnTo>
                      <a:pt x="700" y="189"/>
                    </a:lnTo>
                    <a:lnTo>
                      <a:pt x="700" y="187"/>
                    </a:lnTo>
                    <a:lnTo>
                      <a:pt x="703" y="184"/>
                    </a:lnTo>
                    <a:lnTo>
                      <a:pt x="705" y="181"/>
                    </a:lnTo>
                    <a:lnTo>
                      <a:pt x="703" y="183"/>
                    </a:lnTo>
                    <a:lnTo>
                      <a:pt x="704" y="179"/>
                    </a:lnTo>
                    <a:lnTo>
                      <a:pt x="706" y="178"/>
                    </a:lnTo>
                    <a:lnTo>
                      <a:pt x="704" y="176"/>
                    </a:lnTo>
                    <a:lnTo>
                      <a:pt x="706" y="176"/>
                    </a:lnTo>
                    <a:lnTo>
                      <a:pt x="709" y="173"/>
                    </a:lnTo>
                    <a:lnTo>
                      <a:pt x="708" y="171"/>
                    </a:lnTo>
                    <a:lnTo>
                      <a:pt x="709" y="168"/>
                    </a:lnTo>
                    <a:lnTo>
                      <a:pt x="711" y="166"/>
                    </a:lnTo>
                    <a:lnTo>
                      <a:pt x="713" y="162"/>
                    </a:lnTo>
                    <a:lnTo>
                      <a:pt x="711" y="161"/>
                    </a:lnTo>
                    <a:lnTo>
                      <a:pt x="707" y="161"/>
                    </a:lnTo>
                    <a:lnTo>
                      <a:pt x="711" y="160"/>
                    </a:lnTo>
                    <a:lnTo>
                      <a:pt x="713" y="160"/>
                    </a:lnTo>
                    <a:lnTo>
                      <a:pt x="712" y="158"/>
                    </a:lnTo>
                    <a:lnTo>
                      <a:pt x="714" y="155"/>
                    </a:lnTo>
                    <a:lnTo>
                      <a:pt x="717" y="154"/>
                    </a:lnTo>
                    <a:lnTo>
                      <a:pt x="720" y="153"/>
                    </a:lnTo>
                    <a:lnTo>
                      <a:pt x="723" y="154"/>
                    </a:lnTo>
                    <a:lnTo>
                      <a:pt x="725" y="154"/>
                    </a:lnTo>
                    <a:lnTo>
                      <a:pt x="726" y="153"/>
                    </a:lnTo>
                    <a:lnTo>
                      <a:pt x="728" y="151"/>
                    </a:lnTo>
                    <a:lnTo>
                      <a:pt x="726" y="149"/>
                    </a:lnTo>
                    <a:lnTo>
                      <a:pt x="726" y="147"/>
                    </a:lnTo>
                    <a:lnTo>
                      <a:pt x="728" y="146"/>
                    </a:lnTo>
                    <a:lnTo>
                      <a:pt x="731" y="146"/>
                    </a:lnTo>
                    <a:lnTo>
                      <a:pt x="733" y="144"/>
                    </a:lnTo>
                    <a:lnTo>
                      <a:pt x="736" y="142"/>
                    </a:lnTo>
                    <a:lnTo>
                      <a:pt x="739" y="143"/>
                    </a:lnTo>
                    <a:lnTo>
                      <a:pt x="739" y="141"/>
                    </a:lnTo>
                    <a:lnTo>
                      <a:pt x="732" y="141"/>
                    </a:lnTo>
                    <a:lnTo>
                      <a:pt x="730" y="143"/>
                    </a:lnTo>
                    <a:lnTo>
                      <a:pt x="732" y="141"/>
                    </a:lnTo>
                    <a:lnTo>
                      <a:pt x="732" y="137"/>
                    </a:lnTo>
                    <a:lnTo>
                      <a:pt x="731" y="135"/>
                    </a:lnTo>
                    <a:lnTo>
                      <a:pt x="733" y="132"/>
                    </a:lnTo>
                    <a:lnTo>
                      <a:pt x="732" y="129"/>
                    </a:lnTo>
                    <a:lnTo>
                      <a:pt x="736" y="127"/>
                    </a:lnTo>
                    <a:lnTo>
                      <a:pt x="739" y="126"/>
                    </a:lnTo>
                    <a:lnTo>
                      <a:pt x="741" y="126"/>
                    </a:lnTo>
                    <a:lnTo>
                      <a:pt x="743" y="127"/>
                    </a:lnTo>
                    <a:lnTo>
                      <a:pt x="747" y="127"/>
                    </a:lnTo>
                    <a:lnTo>
                      <a:pt x="749" y="127"/>
                    </a:lnTo>
                    <a:lnTo>
                      <a:pt x="753" y="127"/>
                    </a:lnTo>
                    <a:lnTo>
                      <a:pt x="755" y="125"/>
                    </a:lnTo>
                    <a:lnTo>
                      <a:pt x="758" y="122"/>
                    </a:lnTo>
                    <a:lnTo>
                      <a:pt x="760" y="120"/>
                    </a:lnTo>
                    <a:lnTo>
                      <a:pt x="760" y="119"/>
                    </a:lnTo>
                    <a:lnTo>
                      <a:pt x="762" y="117"/>
                    </a:lnTo>
                    <a:lnTo>
                      <a:pt x="759" y="116"/>
                    </a:lnTo>
                    <a:lnTo>
                      <a:pt x="756" y="115"/>
                    </a:lnTo>
                    <a:lnTo>
                      <a:pt x="753" y="115"/>
                    </a:lnTo>
                    <a:lnTo>
                      <a:pt x="747" y="116"/>
                    </a:lnTo>
                    <a:lnTo>
                      <a:pt x="743" y="117"/>
                    </a:lnTo>
                    <a:lnTo>
                      <a:pt x="741" y="117"/>
                    </a:lnTo>
                    <a:lnTo>
                      <a:pt x="739" y="116"/>
                    </a:lnTo>
                    <a:lnTo>
                      <a:pt x="736" y="117"/>
                    </a:lnTo>
                    <a:lnTo>
                      <a:pt x="733" y="118"/>
                    </a:lnTo>
                    <a:lnTo>
                      <a:pt x="730" y="118"/>
                    </a:lnTo>
                    <a:lnTo>
                      <a:pt x="728" y="119"/>
                    </a:lnTo>
                    <a:lnTo>
                      <a:pt x="726" y="119"/>
                    </a:lnTo>
                    <a:lnTo>
                      <a:pt x="725" y="122"/>
                    </a:lnTo>
                    <a:lnTo>
                      <a:pt x="724" y="125"/>
                    </a:lnTo>
                    <a:lnTo>
                      <a:pt x="726" y="125"/>
                    </a:lnTo>
                    <a:lnTo>
                      <a:pt x="726" y="125"/>
                    </a:lnTo>
                    <a:lnTo>
                      <a:pt x="724" y="126"/>
                    </a:lnTo>
                    <a:lnTo>
                      <a:pt x="721" y="125"/>
                    </a:lnTo>
                    <a:lnTo>
                      <a:pt x="719" y="124"/>
                    </a:lnTo>
                    <a:lnTo>
                      <a:pt x="720" y="120"/>
                    </a:lnTo>
                    <a:lnTo>
                      <a:pt x="720" y="119"/>
                    </a:lnTo>
                    <a:lnTo>
                      <a:pt x="721"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3" name="Freeform 219">
                <a:extLst>
                  <a:ext uri="{FF2B5EF4-FFF2-40B4-BE49-F238E27FC236}">
                    <a16:creationId xmlns:a16="http://schemas.microsoft.com/office/drawing/2014/main" id="{29F591CF-38AB-B58C-3D89-32FE18FE3582}"/>
                  </a:ext>
                </a:extLst>
              </p:cNvPr>
              <p:cNvSpPr>
                <a:spLocks noEditPoints="1"/>
              </p:cNvSpPr>
              <p:nvPr/>
            </p:nvSpPr>
            <p:spPr bwMode="auto">
              <a:xfrm>
                <a:off x="2197101" y="2528888"/>
                <a:ext cx="2441575" cy="1749425"/>
              </a:xfrm>
              <a:custGeom>
                <a:avLst/>
                <a:gdLst>
                  <a:gd name="T0" fmla="*/ 1511 w 1538"/>
                  <a:gd name="T1" fmla="*/ 384 h 1102"/>
                  <a:gd name="T2" fmla="*/ 1448 w 1538"/>
                  <a:gd name="T3" fmla="*/ 324 h 1102"/>
                  <a:gd name="T4" fmla="*/ 1401 w 1538"/>
                  <a:gd name="T5" fmla="*/ 296 h 1102"/>
                  <a:gd name="T6" fmla="*/ 1350 w 1538"/>
                  <a:gd name="T7" fmla="*/ 256 h 1102"/>
                  <a:gd name="T8" fmla="*/ 1239 w 1538"/>
                  <a:gd name="T9" fmla="*/ 280 h 1102"/>
                  <a:gd name="T10" fmla="*/ 1191 w 1538"/>
                  <a:gd name="T11" fmla="*/ 427 h 1102"/>
                  <a:gd name="T12" fmla="*/ 1019 w 1538"/>
                  <a:gd name="T13" fmla="*/ 298 h 1102"/>
                  <a:gd name="T14" fmla="*/ 1029 w 1538"/>
                  <a:gd name="T15" fmla="*/ 193 h 1102"/>
                  <a:gd name="T16" fmla="*/ 1095 w 1538"/>
                  <a:gd name="T17" fmla="*/ 159 h 1102"/>
                  <a:gd name="T18" fmla="*/ 1187 w 1538"/>
                  <a:gd name="T19" fmla="*/ 114 h 1102"/>
                  <a:gd name="T20" fmla="*/ 1138 w 1538"/>
                  <a:gd name="T21" fmla="*/ 74 h 1102"/>
                  <a:gd name="T22" fmla="*/ 1052 w 1538"/>
                  <a:gd name="T23" fmla="*/ 62 h 1102"/>
                  <a:gd name="T24" fmla="*/ 979 w 1538"/>
                  <a:gd name="T25" fmla="*/ 42 h 1102"/>
                  <a:gd name="T26" fmla="*/ 984 w 1538"/>
                  <a:gd name="T27" fmla="*/ 116 h 1102"/>
                  <a:gd name="T28" fmla="*/ 842 w 1538"/>
                  <a:gd name="T29" fmla="*/ 79 h 1102"/>
                  <a:gd name="T30" fmla="*/ 799 w 1538"/>
                  <a:gd name="T31" fmla="*/ 106 h 1102"/>
                  <a:gd name="T32" fmla="*/ 589 w 1538"/>
                  <a:gd name="T33" fmla="*/ 50 h 1102"/>
                  <a:gd name="T34" fmla="*/ 481 w 1538"/>
                  <a:gd name="T35" fmla="*/ 72 h 1102"/>
                  <a:gd name="T36" fmla="*/ 442 w 1538"/>
                  <a:gd name="T37" fmla="*/ 77 h 1102"/>
                  <a:gd name="T38" fmla="*/ 276 w 1538"/>
                  <a:gd name="T39" fmla="*/ 45 h 1102"/>
                  <a:gd name="T40" fmla="*/ 106 w 1538"/>
                  <a:gd name="T41" fmla="*/ 39 h 1102"/>
                  <a:gd name="T42" fmla="*/ 82 w 1538"/>
                  <a:gd name="T43" fmla="*/ 130 h 1102"/>
                  <a:gd name="T44" fmla="*/ 67 w 1538"/>
                  <a:gd name="T45" fmla="*/ 181 h 1102"/>
                  <a:gd name="T46" fmla="*/ 45 w 1538"/>
                  <a:gd name="T47" fmla="*/ 241 h 1102"/>
                  <a:gd name="T48" fmla="*/ 100 w 1538"/>
                  <a:gd name="T49" fmla="*/ 296 h 1102"/>
                  <a:gd name="T50" fmla="*/ 65 w 1538"/>
                  <a:gd name="T51" fmla="*/ 370 h 1102"/>
                  <a:gd name="T52" fmla="*/ 200 w 1538"/>
                  <a:gd name="T53" fmla="*/ 297 h 1102"/>
                  <a:gd name="T54" fmla="*/ 250 w 1538"/>
                  <a:gd name="T55" fmla="*/ 279 h 1102"/>
                  <a:gd name="T56" fmla="*/ 347 w 1538"/>
                  <a:gd name="T57" fmla="*/ 271 h 1102"/>
                  <a:gd name="T58" fmla="*/ 445 w 1538"/>
                  <a:gd name="T59" fmla="*/ 289 h 1102"/>
                  <a:gd name="T60" fmla="*/ 511 w 1538"/>
                  <a:gd name="T61" fmla="*/ 376 h 1102"/>
                  <a:gd name="T62" fmla="*/ 548 w 1538"/>
                  <a:gd name="T63" fmla="*/ 422 h 1102"/>
                  <a:gd name="T64" fmla="*/ 591 w 1538"/>
                  <a:gd name="T65" fmla="*/ 448 h 1102"/>
                  <a:gd name="T66" fmla="*/ 596 w 1538"/>
                  <a:gd name="T67" fmla="*/ 493 h 1102"/>
                  <a:gd name="T68" fmla="*/ 626 w 1538"/>
                  <a:gd name="T69" fmla="*/ 672 h 1102"/>
                  <a:gd name="T70" fmla="*/ 734 w 1538"/>
                  <a:gd name="T71" fmla="*/ 821 h 1102"/>
                  <a:gd name="T72" fmla="*/ 768 w 1538"/>
                  <a:gd name="T73" fmla="*/ 835 h 1102"/>
                  <a:gd name="T74" fmla="*/ 803 w 1538"/>
                  <a:gd name="T75" fmla="*/ 852 h 1102"/>
                  <a:gd name="T76" fmla="*/ 1017 w 1538"/>
                  <a:gd name="T77" fmla="*/ 994 h 1102"/>
                  <a:gd name="T78" fmla="*/ 1161 w 1538"/>
                  <a:gd name="T79" fmla="*/ 1094 h 1102"/>
                  <a:gd name="T80" fmla="*/ 1120 w 1538"/>
                  <a:gd name="T81" fmla="*/ 994 h 1102"/>
                  <a:gd name="T82" fmla="*/ 1040 w 1538"/>
                  <a:gd name="T83" fmla="*/ 954 h 1102"/>
                  <a:gd name="T84" fmla="*/ 964 w 1538"/>
                  <a:gd name="T85" fmla="*/ 828 h 1102"/>
                  <a:gd name="T86" fmla="*/ 1082 w 1538"/>
                  <a:gd name="T87" fmla="*/ 802 h 1102"/>
                  <a:gd name="T88" fmla="*/ 1168 w 1538"/>
                  <a:gd name="T89" fmla="*/ 803 h 1102"/>
                  <a:gd name="T90" fmla="*/ 1205 w 1538"/>
                  <a:gd name="T91" fmla="*/ 750 h 1102"/>
                  <a:gd name="T92" fmla="*/ 1251 w 1538"/>
                  <a:gd name="T93" fmla="*/ 675 h 1102"/>
                  <a:gd name="T94" fmla="*/ 1272 w 1538"/>
                  <a:gd name="T95" fmla="*/ 656 h 1102"/>
                  <a:gd name="T96" fmla="*/ 1339 w 1538"/>
                  <a:gd name="T97" fmla="*/ 573 h 1102"/>
                  <a:gd name="T98" fmla="*/ 1397 w 1538"/>
                  <a:gd name="T99" fmla="*/ 559 h 1102"/>
                  <a:gd name="T100" fmla="*/ 1402 w 1538"/>
                  <a:gd name="T101" fmla="*/ 507 h 1102"/>
                  <a:gd name="T102" fmla="*/ 1379 w 1538"/>
                  <a:gd name="T103" fmla="*/ 475 h 1102"/>
                  <a:gd name="T104" fmla="*/ 665 w 1538"/>
                  <a:gd name="T105" fmla="*/ 160 h 1102"/>
                  <a:gd name="T106" fmla="*/ 590 w 1538"/>
                  <a:gd name="T107" fmla="*/ 139 h 1102"/>
                  <a:gd name="T108" fmla="*/ 797 w 1538"/>
                  <a:gd name="T109" fmla="*/ 217 h 1102"/>
                  <a:gd name="T110" fmla="*/ 722 w 1538"/>
                  <a:gd name="T111" fmla="*/ 219 h 1102"/>
                  <a:gd name="T112" fmla="*/ 945 w 1538"/>
                  <a:gd name="T113" fmla="*/ 397 h 1102"/>
                  <a:gd name="T114" fmla="*/ 1129 w 1538"/>
                  <a:gd name="T115" fmla="*/ 554 h 1102"/>
                  <a:gd name="T116" fmla="*/ 1128 w 1538"/>
                  <a:gd name="T117" fmla="*/ 534 h 1102"/>
                  <a:gd name="T118" fmla="*/ 1076 w 1538"/>
                  <a:gd name="T119" fmla="*/ 498 h 1102"/>
                  <a:gd name="T120" fmla="*/ 1206 w 1538"/>
                  <a:gd name="T121" fmla="*/ 552 h 1102"/>
                  <a:gd name="T122" fmla="*/ 1161 w 1538"/>
                  <a:gd name="T123" fmla="*/ 601 h 1102"/>
                  <a:gd name="T124" fmla="*/ 1224 w 1538"/>
                  <a:gd name="T125" fmla="*/ 570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8" h="1102">
                    <a:moveTo>
                      <a:pt x="1531" y="421"/>
                    </a:moveTo>
                    <a:lnTo>
                      <a:pt x="1537" y="422"/>
                    </a:lnTo>
                    <a:lnTo>
                      <a:pt x="1536" y="419"/>
                    </a:lnTo>
                    <a:lnTo>
                      <a:pt x="1533" y="418"/>
                    </a:lnTo>
                    <a:lnTo>
                      <a:pt x="1529" y="418"/>
                    </a:lnTo>
                    <a:lnTo>
                      <a:pt x="1527" y="417"/>
                    </a:lnTo>
                    <a:lnTo>
                      <a:pt x="1530" y="418"/>
                    </a:lnTo>
                    <a:lnTo>
                      <a:pt x="1534" y="416"/>
                    </a:lnTo>
                    <a:lnTo>
                      <a:pt x="1536" y="416"/>
                    </a:lnTo>
                    <a:lnTo>
                      <a:pt x="1534" y="414"/>
                    </a:lnTo>
                    <a:lnTo>
                      <a:pt x="1536" y="414"/>
                    </a:lnTo>
                    <a:lnTo>
                      <a:pt x="1535" y="410"/>
                    </a:lnTo>
                    <a:lnTo>
                      <a:pt x="1533" y="409"/>
                    </a:lnTo>
                    <a:lnTo>
                      <a:pt x="1535" y="409"/>
                    </a:lnTo>
                    <a:lnTo>
                      <a:pt x="1537" y="406"/>
                    </a:lnTo>
                    <a:lnTo>
                      <a:pt x="1536" y="404"/>
                    </a:lnTo>
                    <a:lnTo>
                      <a:pt x="1530" y="399"/>
                    </a:lnTo>
                    <a:lnTo>
                      <a:pt x="1533" y="399"/>
                    </a:lnTo>
                    <a:lnTo>
                      <a:pt x="1530" y="399"/>
                    </a:lnTo>
                    <a:lnTo>
                      <a:pt x="1525" y="397"/>
                    </a:lnTo>
                    <a:lnTo>
                      <a:pt x="1528" y="396"/>
                    </a:lnTo>
                    <a:lnTo>
                      <a:pt x="1525" y="397"/>
                    </a:lnTo>
                    <a:lnTo>
                      <a:pt x="1522" y="397"/>
                    </a:lnTo>
                    <a:lnTo>
                      <a:pt x="1519" y="397"/>
                    </a:lnTo>
                    <a:lnTo>
                      <a:pt x="1518" y="400"/>
                    </a:lnTo>
                    <a:lnTo>
                      <a:pt x="1516" y="401"/>
                    </a:lnTo>
                    <a:lnTo>
                      <a:pt x="1514" y="399"/>
                    </a:lnTo>
                    <a:lnTo>
                      <a:pt x="1514" y="398"/>
                    </a:lnTo>
                    <a:lnTo>
                      <a:pt x="1517" y="397"/>
                    </a:lnTo>
                    <a:lnTo>
                      <a:pt x="1518" y="393"/>
                    </a:lnTo>
                    <a:lnTo>
                      <a:pt x="1514" y="389"/>
                    </a:lnTo>
                    <a:lnTo>
                      <a:pt x="1509" y="388"/>
                    </a:lnTo>
                    <a:lnTo>
                      <a:pt x="1507" y="387"/>
                    </a:lnTo>
                    <a:lnTo>
                      <a:pt x="1504" y="387"/>
                    </a:lnTo>
                    <a:lnTo>
                      <a:pt x="1501" y="388"/>
                    </a:lnTo>
                    <a:lnTo>
                      <a:pt x="1504" y="389"/>
                    </a:lnTo>
                    <a:lnTo>
                      <a:pt x="1507" y="389"/>
                    </a:lnTo>
                    <a:lnTo>
                      <a:pt x="1504" y="390"/>
                    </a:lnTo>
                    <a:lnTo>
                      <a:pt x="1496" y="392"/>
                    </a:lnTo>
                    <a:lnTo>
                      <a:pt x="1493" y="395"/>
                    </a:lnTo>
                    <a:lnTo>
                      <a:pt x="1492" y="397"/>
                    </a:lnTo>
                    <a:lnTo>
                      <a:pt x="1490" y="398"/>
                    </a:lnTo>
                    <a:lnTo>
                      <a:pt x="1484" y="400"/>
                    </a:lnTo>
                    <a:lnTo>
                      <a:pt x="1480" y="400"/>
                    </a:lnTo>
                    <a:lnTo>
                      <a:pt x="1480" y="401"/>
                    </a:lnTo>
                    <a:lnTo>
                      <a:pt x="1476" y="405"/>
                    </a:lnTo>
                    <a:lnTo>
                      <a:pt x="1474" y="405"/>
                    </a:lnTo>
                    <a:lnTo>
                      <a:pt x="1476" y="405"/>
                    </a:lnTo>
                    <a:lnTo>
                      <a:pt x="1477" y="401"/>
                    </a:lnTo>
                    <a:lnTo>
                      <a:pt x="1475" y="399"/>
                    </a:lnTo>
                    <a:lnTo>
                      <a:pt x="1471" y="397"/>
                    </a:lnTo>
                    <a:lnTo>
                      <a:pt x="1466" y="397"/>
                    </a:lnTo>
                    <a:lnTo>
                      <a:pt x="1467" y="395"/>
                    </a:lnTo>
                    <a:lnTo>
                      <a:pt x="1470" y="397"/>
                    </a:lnTo>
                    <a:lnTo>
                      <a:pt x="1473" y="397"/>
                    </a:lnTo>
                    <a:lnTo>
                      <a:pt x="1475" y="399"/>
                    </a:lnTo>
                    <a:lnTo>
                      <a:pt x="1478" y="400"/>
                    </a:lnTo>
                    <a:lnTo>
                      <a:pt x="1478" y="397"/>
                    </a:lnTo>
                    <a:lnTo>
                      <a:pt x="1479" y="396"/>
                    </a:lnTo>
                    <a:lnTo>
                      <a:pt x="1487" y="395"/>
                    </a:lnTo>
                    <a:lnTo>
                      <a:pt x="1495" y="390"/>
                    </a:lnTo>
                    <a:lnTo>
                      <a:pt x="1499" y="390"/>
                    </a:lnTo>
                    <a:lnTo>
                      <a:pt x="1501" y="388"/>
                    </a:lnTo>
                    <a:lnTo>
                      <a:pt x="1490" y="391"/>
                    </a:lnTo>
                    <a:lnTo>
                      <a:pt x="1486" y="391"/>
                    </a:lnTo>
                    <a:lnTo>
                      <a:pt x="1486" y="390"/>
                    </a:lnTo>
                    <a:lnTo>
                      <a:pt x="1490" y="390"/>
                    </a:lnTo>
                    <a:lnTo>
                      <a:pt x="1494" y="389"/>
                    </a:lnTo>
                    <a:lnTo>
                      <a:pt x="1497" y="388"/>
                    </a:lnTo>
                    <a:lnTo>
                      <a:pt x="1500" y="387"/>
                    </a:lnTo>
                    <a:lnTo>
                      <a:pt x="1503" y="387"/>
                    </a:lnTo>
                    <a:lnTo>
                      <a:pt x="1505" y="384"/>
                    </a:lnTo>
                    <a:lnTo>
                      <a:pt x="1511" y="384"/>
                    </a:lnTo>
                    <a:lnTo>
                      <a:pt x="1513" y="382"/>
                    </a:lnTo>
                    <a:lnTo>
                      <a:pt x="1511" y="383"/>
                    </a:lnTo>
                    <a:lnTo>
                      <a:pt x="1512" y="382"/>
                    </a:lnTo>
                    <a:lnTo>
                      <a:pt x="1514" y="380"/>
                    </a:lnTo>
                    <a:lnTo>
                      <a:pt x="1507" y="378"/>
                    </a:lnTo>
                    <a:lnTo>
                      <a:pt x="1504" y="378"/>
                    </a:lnTo>
                    <a:lnTo>
                      <a:pt x="1501" y="376"/>
                    </a:lnTo>
                    <a:lnTo>
                      <a:pt x="1496" y="375"/>
                    </a:lnTo>
                    <a:lnTo>
                      <a:pt x="1492" y="371"/>
                    </a:lnTo>
                    <a:lnTo>
                      <a:pt x="1490" y="371"/>
                    </a:lnTo>
                    <a:lnTo>
                      <a:pt x="1491" y="368"/>
                    </a:lnTo>
                    <a:lnTo>
                      <a:pt x="1487" y="371"/>
                    </a:lnTo>
                    <a:lnTo>
                      <a:pt x="1482" y="374"/>
                    </a:lnTo>
                    <a:lnTo>
                      <a:pt x="1479" y="378"/>
                    </a:lnTo>
                    <a:lnTo>
                      <a:pt x="1482" y="374"/>
                    </a:lnTo>
                    <a:lnTo>
                      <a:pt x="1484" y="372"/>
                    </a:lnTo>
                    <a:lnTo>
                      <a:pt x="1485" y="370"/>
                    </a:lnTo>
                    <a:lnTo>
                      <a:pt x="1482" y="368"/>
                    </a:lnTo>
                    <a:lnTo>
                      <a:pt x="1482" y="366"/>
                    </a:lnTo>
                    <a:lnTo>
                      <a:pt x="1479" y="367"/>
                    </a:lnTo>
                    <a:lnTo>
                      <a:pt x="1477" y="370"/>
                    </a:lnTo>
                    <a:lnTo>
                      <a:pt x="1475" y="372"/>
                    </a:lnTo>
                    <a:lnTo>
                      <a:pt x="1477" y="371"/>
                    </a:lnTo>
                    <a:lnTo>
                      <a:pt x="1478" y="367"/>
                    </a:lnTo>
                    <a:lnTo>
                      <a:pt x="1475" y="368"/>
                    </a:lnTo>
                    <a:lnTo>
                      <a:pt x="1469" y="372"/>
                    </a:lnTo>
                    <a:lnTo>
                      <a:pt x="1475" y="363"/>
                    </a:lnTo>
                    <a:lnTo>
                      <a:pt x="1473" y="365"/>
                    </a:lnTo>
                    <a:lnTo>
                      <a:pt x="1473" y="363"/>
                    </a:lnTo>
                    <a:lnTo>
                      <a:pt x="1473" y="361"/>
                    </a:lnTo>
                    <a:lnTo>
                      <a:pt x="1475" y="357"/>
                    </a:lnTo>
                    <a:lnTo>
                      <a:pt x="1471" y="358"/>
                    </a:lnTo>
                    <a:lnTo>
                      <a:pt x="1470" y="362"/>
                    </a:lnTo>
                    <a:lnTo>
                      <a:pt x="1469" y="358"/>
                    </a:lnTo>
                    <a:lnTo>
                      <a:pt x="1466" y="358"/>
                    </a:lnTo>
                    <a:lnTo>
                      <a:pt x="1467" y="356"/>
                    </a:lnTo>
                    <a:lnTo>
                      <a:pt x="1465" y="356"/>
                    </a:lnTo>
                    <a:lnTo>
                      <a:pt x="1462" y="354"/>
                    </a:lnTo>
                    <a:lnTo>
                      <a:pt x="1459" y="353"/>
                    </a:lnTo>
                    <a:lnTo>
                      <a:pt x="1462" y="353"/>
                    </a:lnTo>
                    <a:lnTo>
                      <a:pt x="1459" y="353"/>
                    </a:lnTo>
                    <a:lnTo>
                      <a:pt x="1458" y="349"/>
                    </a:lnTo>
                    <a:lnTo>
                      <a:pt x="1454" y="349"/>
                    </a:lnTo>
                    <a:lnTo>
                      <a:pt x="1451" y="347"/>
                    </a:lnTo>
                    <a:lnTo>
                      <a:pt x="1454" y="348"/>
                    </a:lnTo>
                    <a:lnTo>
                      <a:pt x="1457" y="347"/>
                    </a:lnTo>
                    <a:lnTo>
                      <a:pt x="1451" y="344"/>
                    </a:lnTo>
                    <a:lnTo>
                      <a:pt x="1454" y="342"/>
                    </a:lnTo>
                    <a:lnTo>
                      <a:pt x="1449" y="341"/>
                    </a:lnTo>
                    <a:lnTo>
                      <a:pt x="1452" y="341"/>
                    </a:lnTo>
                    <a:lnTo>
                      <a:pt x="1448" y="340"/>
                    </a:lnTo>
                    <a:lnTo>
                      <a:pt x="1447" y="339"/>
                    </a:lnTo>
                    <a:lnTo>
                      <a:pt x="1445" y="338"/>
                    </a:lnTo>
                    <a:lnTo>
                      <a:pt x="1447" y="338"/>
                    </a:lnTo>
                    <a:lnTo>
                      <a:pt x="1445" y="337"/>
                    </a:lnTo>
                    <a:lnTo>
                      <a:pt x="1451" y="337"/>
                    </a:lnTo>
                    <a:lnTo>
                      <a:pt x="1448" y="337"/>
                    </a:lnTo>
                    <a:lnTo>
                      <a:pt x="1447" y="338"/>
                    </a:lnTo>
                    <a:lnTo>
                      <a:pt x="1447" y="339"/>
                    </a:lnTo>
                    <a:lnTo>
                      <a:pt x="1453" y="340"/>
                    </a:lnTo>
                    <a:lnTo>
                      <a:pt x="1456" y="340"/>
                    </a:lnTo>
                    <a:lnTo>
                      <a:pt x="1453" y="338"/>
                    </a:lnTo>
                    <a:lnTo>
                      <a:pt x="1457" y="337"/>
                    </a:lnTo>
                    <a:lnTo>
                      <a:pt x="1458" y="335"/>
                    </a:lnTo>
                    <a:lnTo>
                      <a:pt x="1460" y="335"/>
                    </a:lnTo>
                    <a:lnTo>
                      <a:pt x="1460" y="333"/>
                    </a:lnTo>
                    <a:lnTo>
                      <a:pt x="1459" y="331"/>
                    </a:lnTo>
                    <a:lnTo>
                      <a:pt x="1453" y="328"/>
                    </a:lnTo>
                    <a:lnTo>
                      <a:pt x="1453" y="325"/>
                    </a:lnTo>
                    <a:lnTo>
                      <a:pt x="1450" y="324"/>
                    </a:lnTo>
                    <a:lnTo>
                      <a:pt x="1448" y="325"/>
                    </a:lnTo>
                    <a:lnTo>
                      <a:pt x="1444" y="324"/>
                    </a:lnTo>
                    <a:lnTo>
                      <a:pt x="1448" y="324"/>
                    </a:lnTo>
                    <a:lnTo>
                      <a:pt x="1450" y="323"/>
                    </a:lnTo>
                    <a:lnTo>
                      <a:pt x="1453" y="321"/>
                    </a:lnTo>
                    <a:lnTo>
                      <a:pt x="1450" y="319"/>
                    </a:lnTo>
                    <a:lnTo>
                      <a:pt x="1449" y="315"/>
                    </a:lnTo>
                    <a:lnTo>
                      <a:pt x="1445" y="316"/>
                    </a:lnTo>
                    <a:lnTo>
                      <a:pt x="1444" y="314"/>
                    </a:lnTo>
                    <a:lnTo>
                      <a:pt x="1448" y="313"/>
                    </a:lnTo>
                    <a:lnTo>
                      <a:pt x="1444" y="311"/>
                    </a:lnTo>
                    <a:lnTo>
                      <a:pt x="1437" y="313"/>
                    </a:lnTo>
                    <a:lnTo>
                      <a:pt x="1435" y="313"/>
                    </a:lnTo>
                    <a:lnTo>
                      <a:pt x="1437" y="311"/>
                    </a:lnTo>
                    <a:lnTo>
                      <a:pt x="1440" y="311"/>
                    </a:lnTo>
                    <a:lnTo>
                      <a:pt x="1443" y="310"/>
                    </a:lnTo>
                    <a:lnTo>
                      <a:pt x="1441" y="308"/>
                    </a:lnTo>
                    <a:lnTo>
                      <a:pt x="1443" y="307"/>
                    </a:lnTo>
                    <a:lnTo>
                      <a:pt x="1442" y="304"/>
                    </a:lnTo>
                    <a:lnTo>
                      <a:pt x="1439" y="305"/>
                    </a:lnTo>
                    <a:lnTo>
                      <a:pt x="1436" y="305"/>
                    </a:lnTo>
                    <a:lnTo>
                      <a:pt x="1434" y="305"/>
                    </a:lnTo>
                    <a:lnTo>
                      <a:pt x="1431" y="307"/>
                    </a:lnTo>
                    <a:lnTo>
                      <a:pt x="1433" y="304"/>
                    </a:lnTo>
                    <a:lnTo>
                      <a:pt x="1435" y="304"/>
                    </a:lnTo>
                    <a:lnTo>
                      <a:pt x="1439" y="303"/>
                    </a:lnTo>
                    <a:lnTo>
                      <a:pt x="1437" y="301"/>
                    </a:lnTo>
                    <a:lnTo>
                      <a:pt x="1439" y="297"/>
                    </a:lnTo>
                    <a:lnTo>
                      <a:pt x="1435" y="297"/>
                    </a:lnTo>
                    <a:lnTo>
                      <a:pt x="1434" y="295"/>
                    </a:lnTo>
                    <a:lnTo>
                      <a:pt x="1434" y="293"/>
                    </a:lnTo>
                    <a:lnTo>
                      <a:pt x="1430" y="294"/>
                    </a:lnTo>
                    <a:lnTo>
                      <a:pt x="1424" y="293"/>
                    </a:lnTo>
                    <a:lnTo>
                      <a:pt x="1430" y="293"/>
                    </a:lnTo>
                    <a:lnTo>
                      <a:pt x="1433" y="291"/>
                    </a:lnTo>
                    <a:lnTo>
                      <a:pt x="1432" y="288"/>
                    </a:lnTo>
                    <a:lnTo>
                      <a:pt x="1430" y="289"/>
                    </a:lnTo>
                    <a:lnTo>
                      <a:pt x="1430" y="287"/>
                    </a:lnTo>
                    <a:lnTo>
                      <a:pt x="1427" y="287"/>
                    </a:lnTo>
                    <a:lnTo>
                      <a:pt x="1425" y="286"/>
                    </a:lnTo>
                    <a:lnTo>
                      <a:pt x="1427" y="285"/>
                    </a:lnTo>
                    <a:lnTo>
                      <a:pt x="1425" y="281"/>
                    </a:lnTo>
                    <a:lnTo>
                      <a:pt x="1423" y="284"/>
                    </a:lnTo>
                    <a:lnTo>
                      <a:pt x="1424" y="280"/>
                    </a:lnTo>
                    <a:lnTo>
                      <a:pt x="1420" y="279"/>
                    </a:lnTo>
                    <a:lnTo>
                      <a:pt x="1422" y="277"/>
                    </a:lnTo>
                    <a:lnTo>
                      <a:pt x="1422" y="273"/>
                    </a:lnTo>
                    <a:lnTo>
                      <a:pt x="1417" y="273"/>
                    </a:lnTo>
                    <a:lnTo>
                      <a:pt x="1417" y="272"/>
                    </a:lnTo>
                    <a:lnTo>
                      <a:pt x="1414" y="273"/>
                    </a:lnTo>
                    <a:lnTo>
                      <a:pt x="1413" y="273"/>
                    </a:lnTo>
                    <a:lnTo>
                      <a:pt x="1418" y="271"/>
                    </a:lnTo>
                    <a:lnTo>
                      <a:pt x="1417" y="269"/>
                    </a:lnTo>
                    <a:lnTo>
                      <a:pt x="1415" y="269"/>
                    </a:lnTo>
                    <a:lnTo>
                      <a:pt x="1417" y="268"/>
                    </a:lnTo>
                    <a:lnTo>
                      <a:pt x="1415" y="268"/>
                    </a:lnTo>
                    <a:lnTo>
                      <a:pt x="1413" y="269"/>
                    </a:lnTo>
                    <a:lnTo>
                      <a:pt x="1415" y="271"/>
                    </a:lnTo>
                    <a:lnTo>
                      <a:pt x="1413" y="273"/>
                    </a:lnTo>
                    <a:lnTo>
                      <a:pt x="1409" y="273"/>
                    </a:lnTo>
                    <a:lnTo>
                      <a:pt x="1408" y="278"/>
                    </a:lnTo>
                    <a:lnTo>
                      <a:pt x="1410" y="279"/>
                    </a:lnTo>
                    <a:lnTo>
                      <a:pt x="1406" y="278"/>
                    </a:lnTo>
                    <a:lnTo>
                      <a:pt x="1403" y="280"/>
                    </a:lnTo>
                    <a:lnTo>
                      <a:pt x="1405" y="282"/>
                    </a:lnTo>
                    <a:lnTo>
                      <a:pt x="1407" y="285"/>
                    </a:lnTo>
                    <a:lnTo>
                      <a:pt x="1408" y="285"/>
                    </a:lnTo>
                    <a:lnTo>
                      <a:pt x="1410" y="287"/>
                    </a:lnTo>
                    <a:lnTo>
                      <a:pt x="1407" y="285"/>
                    </a:lnTo>
                    <a:lnTo>
                      <a:pt x="1405" y="286"/>
                    </a:lnTo>
                    <a:lnTo>
                      <a:pt x="1403" y="289"/>
                    </a:lnTo>
                    <a:lnTo>
                      <a:pt x="1400" y="290"/>
                    </a:lnTo>
                    <a:lnTo>
                      <a:pt x="1403" y="293"/>
                    </a:lnTo>
                    <a:lnTo>
                      <a:pt x="1406" y="294"/>
                    </a:lnTo>
                    <a:lnTo>
                      <a:pt x="1403" y="293"/>
                    </a:lnTo>
                    <a:lnTo>
                      <a:pt x="1401" y="296"/>
                    </a:lnTo>
                    <a:lnTo>
                      <a:pt x="1399" y="295"/>
                    </a:lnTo>
                    <a:lnTo>
                      <a:pt x="1399" y="297"/>
                    </a:lnTo>
                    <a:lnTo>
                      <a:pt x="1399" y="297"/>
                    </a:lnTo>
                    <a:lnTo>
                      <a:pt x="1397" y="297"/>
                    </a:lnTo>
                    <a:lnTo>
                      <a:pt x="1397" y="299"/>
                    </a:lnTo>
                    <a:lnTo>
                      <a:pt x="1399" y="303"/>
                    </a:lnTo>
                    <a:lnTo>
                      <a:pt x="1398" y="305"/>
                    </a:lnTo>
                    <a:lnTo>
                      <a:pt x="1396" y="307"/>
                    </a:lnTo>
                    <a:lnTo>
                      <a:pt x="1397" y="306"/>
                    </a:lnTo>
                    <a:lnTo>
                      <a:pt x="1397" y="303"/>
                    </a:lnTo>
                    <a:lnTo>
                      <a:pt x="1396" y="301"/>
                    </a:lnTo>
                    <a:lnTo>
                      <a:pt x="1393" y="298"/>
                    </a:lnTo>
                    <a:lnTo>
                      <a:pt x="1390" y="299"/>
                    </a:lnTo>
                    <a:lnTo>
                      <a:pt x="1388" y="304"/>
                    </a:lnTo>
                    <a:lnTo>
                      <a:pt x="1383" y="305"/>
                    </a:lnTo>
                    <a:lnTo>
                      <a:pt x="1381" y="307"/>
                    </a:lnTo>
                    <a:lnTo>
                      <a:pt x="1375" y="310"/>
                    </a:lnTo>
                    <a:lnTo>
                      <a:pt x="1373" y="315"/>
                    </a:lnTo>
                    <a:lnTo>
                      <a:pt x="1373" y="315"/>
                    </a:lnTo>
                    <a:lnTo>
                      <a:pt x="1374" y="310"/>
                    </a:lnTo>
                    <a:lnTo>
                      <a:pt x="1372" y="306"/>
                    </a:lnTo>
                    <a:lnTo>
                      <a:pt x="1372" y="310"/>
                    </a:lnTo>
                    <a:lnTo>
                      <a:pt x="1368" y="311"/>
                    </a:lnTo>
                    <a:lnTo>
                      <a:pt x="1372" y="308"/>
                    </a:lnTo>
                    <a:lnTo>
                      <a:pt x="1369" y="303"/>
                    </a:lnTo>
                    <a:lnTo>
                      <a:pt x="1367" y="305"/>
                    </a:lnTo>
                    <a:lnTo>
                      <a:pt x="1367" y="307"/>
                    </a:lnTo>
                    <a:lnTo>
                      <a:pt x="1364" y="313"/>
                    </a:lnTo>
                    <a:lnTo>
                      <a:pt x="1364" y="313"/>
                    </a:lnTo>
                    <a:lnTo>
                      <a:pt x="1362" y="314"/>
                    </a:lnTo>
                    <a:lnTo>
                      <a:pt x="1356" y="315"/>
                    </a:lnTo>
                    <a:lnTo>
                      <a:pt x="1351" y="319"/>
                    </a:lnTo>
                    <a:lnTo>
                      <a:pt x="1352" y="318"/>
                    </a:lnTo>
                    <a:lnTo>
                      <a:pt x="1355" y="315"/>
                    </a:lnTo>
                    <a:lnTo>
                      <a:pt x="1356" y="315"/>
                    </a:lnTo>
                    <a:lnTo>
                      <a:pt x="1364" y="313"/>
                    </a:lnTo>
                    <a:lnTo>
                      <a:pt x="1365" y="311"/>
                    </a:lnTo>
                    <a:lnTo>
                      <a:pt x="1366" y="305"/>
                    </a:lnTo>
                    <a:lnTo>
                      <a:pt x="1365" y="302"/>
                    </a:lnTo>
                    <a:lnTo>
                      <a:pt x="1364" y="299"/>
                    </a:lnTo>
                    <a:lnTo>
                      <a:pt x="1362" y="297"/>
                    </a:lnTo>
                    <a:lnTo>
                      <a:pt x="1359" y="296"/>
                    </a:lnTo>
                    <a:lnTo>
                      <a:pt x="1357" y="297"/>
                    </a:lnTo>
                    <a:lnTo>
                      <a:pt x="1354" y="296"/>
                    </a:lnTo>
                    <a:lnTo>
                      <a:pt x="1351" y="297"/>
                    </a:lnTo>
                    <a:lnTo>
                      <a:pt x="1346" y="301"/>
                    </a:lnTo>
                    <a:lnTo>
                      <a:pt x="1343" y="301"/>
                    </a:lnTo>
                    <a:lnTo>
                      <a:pt x="1341" y="299"/>
                    </a:lnTo>
                    <a:lnTo>
                      <a:pt x="1339" y="298"/>
                    </a:lnTo>
                    <a:lnTo>
                      <a:pt x="1339" y="298"/>
                    </a:lnTo>
                    <a:lnTo>
                      <a:pt x="1342" y="298"/>
                    </a:lnTo>
                    <a:lnTo>
                      <a:pt x="1345" y="296"/>
                    </a:lnTo>
                    <a:lnTo>
                      <a:pt x="1343" y="293"/>
                    </a:lnTo>
                    <a:lnTo>
                      <a:pt x="1347" y="296"/>
                    </a:lnTo>
                    <a:lnTo>
                      <a:pt x="1348" y="298"/>
                    </a:lnTo>
                    <a:lnTo>
                      <a:pt x="1349" y="296"/>
                    </a:lnTo>
                    <a:lnTo>
                      <a:pt x="1351" y="288"/>
                    </a:lnTo>
                    <a:lnTo>
                      <a:pt x="1347" y="286"/>
                    </a:lnTo>
                    <a:lnTo>
                      <a:pt x="1346" y="284"/>
                    </a:lnTo>
                    <a:lnTo>
                      <a:pt x="1348" y="281"/>
                    </a:lnTo>
                    <a:lnTo>
                      <a:pt x="1347" y="277"/>
                    </a:lnTo>
                    <a:lnTo>
                      <a:pt x="1345" y="274"/>
                    </a:lnTo>
                    <a:lnTo>
                      <a:pt x="1335" y="274"/>
                    </a:lnTo>
                    <a:lnTo>
                      <a:pt x="1328" y="272"/>
                    </a:lnTo>
                    <a:lnTo>
                      <a:pt x="1333" y="273"/>
                    </a:lnTo>
                    <a:lnTo>
                      <a:pt x="1346" y="273"/>
                    </a:lnTo>
                    <a:lnTo>
                      <a:pt x="1345" y="272"/>
                    </a:lnTo>
                    <a:lnTo>
                      <a:pt x="1347" y="272"/>
                    </a:lnTo>
                    <a:lnTo>
                      <a:pt x="1347" y="269"/>
                    </a:lnTo>
                    <a:lnTo>
                      <a:pt x="1346" y="267"/>
                    </a:lnTo>
                    <a:lnTo>
                      <a:pt x="1345" y="264"/>
                    </a:lnTo>
                    <a:lnTo>
                      <a:pt x="1348" y="259"/>
                    </a:lnTo>
                    <a:lnTo>
                      <a:pt x="1350" y="256"/>
                    </a:lnTo>
                    <a:lnTo>
                      <a:pt x="1349" y="253"/>
                    </a:lnTo>
                    <a:lnTo>
                      <a:pt x="1347" y="253"/>
                    </a:lnTo>
                    <a:lnTo>
                      <a:pt x="1345" y="255"/>
                    </a:lnTo>
                    <a:lnTo>
                      <a:pt x="1342" y="256"/>
                    </a:lnTo>
                    <a:lnTo>
                      <a:pt x="1339" y="252"/>
                    </a:lnTo>
                    <a:lnTo>
                      <a:pt x="1337" y="253"/>
                    </a:lnTo>
                    <a:lnTo>
                      <a:pt x="1333" y="253"/>
                    </a:lnTo>
                    <a:lnTo>
                      <a:pt x="1331" y="252"/>
                    </a:lnTo>
                    <a:lnTo>
                      <a:pt x="1329" y="251"/>
                    </a:lnTo>
                    <a:lnTo>
                      <a:pt x="1323" y="250"/>
                    </a:lnTo>
                    <a:lnTo>
                      <a:pt x="1321" y="248"/>
                    </a:lnTo>
                    <a:lnTo>
                      <a:pt x="1317" y="245"/>
                    </a:lnTo>
                    <a:lnTo>
                      <a:pt x="1321" y="245"/>
                    </a:lnTo>
                    <a:lnTo>
                      <a:pt x="1317" y="243"/>
                    </a:lnTo>
                    <a:lnTo>
                      <a:pt x="1317" y="242"/>
                    </a:lnTo>
                    <a:lnTo>
                      <a:pt x="1320" y="241"/>
                    </a:lnTo>
                    <a:lnTo>
                      <a:pt x="1317" y="239"/>
                    </a:lnTo>
                    <a:lnTo>
                      <a:pt x="1315" y="241"/>
                    </a:lnTo>
                    <a:lnTo>
                      <a:pt x="1312" y="241"/>
                    </a:lnTo>
                    <a:lnTo>
                      <a:pt x="1315" y="239"/>
                    </a:lnTo>
                    <a:lnTo>
                      <a:pt x="1312" y="238"/>
                    </a:lnTo>
                    <a:lnTo>
                      <a:pt x="1312" y="235"/>
                    </a:lnTo>
                    <a:lnTo>
                      <a:pt x="1306" y="234"/>
                    </a:lnTo>
                    <a:lnTo>
                      <a:pt x="1306" y="236"/>
                    </a:lnTo>
                    <a:lnTo>
                      <a:pt x="1304" y="236"/>
                    </a:lnTo>
                    <a:lnTo>
                      <a:pt x="1305" y="235"/>
                    </a:lnTo>
                    <a:lnTo>
                      <a:pt x="1306" y="231"/>
                    </a:lnTo>
                    <a:lnTo>
                      <a:pt x="1305" y="229"/>
                    </a:lnTo>
                    <a:lnTo>
                      <a:pt x="1302" y="229"/>
                    </a:lnTo>
                    <a:lnTo>
                      <a:pt x="1299" y="227"/>
                    </a:lnTo>
                    <a:lnTo>
                      <a:pt x="1296" y="225"/>
                    </a:lnTo>
                    <a:lnTo>
                      <a:pt x="1294" y="224"/>
                    </a:lnTo>
                    <a:lnTo>
                      <a:pt x="1291" y="222"/>
                    </a:lnTo>
                    <a:lnTo>
                      <a:pt x="1288" y="224"/>
                    </a:lnTo>
                    <a:lnTo>
                      <a:pt x="1286" y="225"/>
                    </a:lnTo>
                    <a:lnTo>
                      <a:pt x="1280" y="227"/>
                    </a:lnTo>
                    <a:lnTo>
                      <a:pt x="1278" y="227"/>
                    </a:lnTo>
                    <a:lnTo>
                      <a:pt x="1279" y="230"/>
                    </a:lnTo>
                    <a:lnTo>
                      <a:pt x="1273" y="227"/>
                    </a:lnTo>
                    <a:lnTo>
                      <a:pt x="1270" y="226"/>
                    </a:lnTo>
                    <a:lnTo>
                      <a:pt x="1268" y="226"/>
                    </a:lnTo>
                    <a:lnTo>
                      <a:pt x="1262" y="229"/>
                    </a:lnTo>
                    <a:lnTo>
                      <a:pt x="1262" y="228"/>
                    </a:lnTo>
                    <a:lnTo>
                      <a:pt x="1263" y="226"/>
                    </a:lnTo>
                    <a:lnTo>
                      <a:pt x="1261" y="225"/>
                    </a:lnTo>
                    <a:lnTo>
                      <a:pt x="1247" y="221"/>
                    </a:lnTo>
                    <a:lnTo>
                      <a:pt x="1241" y="220"/>
                    </a:lnTo>
                    <a:lnTo>
                      <a:pt x="1238" y="221"/>
                    </a:lnTo>
                    <a:lnTo>
                      <a:pt x="1234" y="224"/>
                    </a:lnTo>
                    <a:lnTo>
                      <a:pt x="1230" y="227"/>
                    </a:lnTo>
                    <a:lnTo>
                      <a:pt x="1230" y="231"/>
                    </a:lnTo>
                    <a:lnTo>
                      <a:pt x="1234" y="238"/>
                    </a:lnTo>
                    <a:lnTo>
                      <a:pt x="1236" y="239"/>
                    </a:lnTo>
                    <a:lnTo>
                      <a:pt x="1238" y="241"/>
                    </a:lnTo>
                    <a:lnTo>
                      <a:pt x="1238" y="244"/>
                    </a:lnTo>
                    <a:lnTo>
                      <a:pt x="1236" y="244"/>
                    </a:lnTo>
                    <a:lnTo>
                      <a:pt x="1236" y="246"/>
                    </a:lnTo>
                    <a:lnTo>
                      <a:pt x="1236" y="250"/>
                    </a:lnTo>
                    <a:lnTo>
                      <a:pt x="1235" y="252"/>
                    </a:lnTo>
                    <a:lnTo>
                      <a:pt x="1231" y="254"/>
                    </a:lnTo>
                    <a:lnTo>
                      <a:pt x="1231" y="258"/>
                    </a:lnTo>
                    <a:lnTo>
                      <a:pt x="1234" y="256"/>
                    </a:lnTo>
                    <a:lnTo>
                      <a:pt x="1234" y="259"/>
                    </a:lnTo>
                    <a:lnTo>
                      <a:pt x="1237" y="259"/>
                    </a:lnTo>
                    <a:lnTo>
                      <a:pt x="1236" y="262"/>
                    </a:lnTo>
                    <a:lnTo>
                      <a:pt x="1238" y="263"/>
                    </a:lnTo>
                    <a:lnTo>
                      <a:pt x="1236" y="265"/>
                    </a:lnTo>
                    <a:lnTo>
                      <a:pt x="1240" y="271"/>
                    </a:lnTo>
                    <a:lnTo>
                      <a:pt x="1238" y="272"/>
                    </a:lnTo>
                    <a:lnTo>
                      <a:pt x="1243" y="273"/>
                    </a:lnTo>
                    <a:lnTo>
                      <a:pt x="1240" y="276"/>
                    </a:lnTo>
                    <a:lnTo>
                      <a:pt x="1241" y="278"/>
                    </a:lnTo>
                    <a:lnTo>
                      <a:pt x="1239" y="280"/>
                    </a:lnTo>
                    <a:lnTo>
                      <a:pt x="1241" y="282"/>
                    </a:lnTo>
                    <a:lnTo>
                      <a:pt x="1239" y="280"/>
                    </a:lnTo>
                    <a:lnTo>
                      <a:pt x="1236" y="281"/>
                    </a:lnTo>
                    <a:lnTo>
                      <a:pt x="1235" y="284"/>
                    </a:lnTo>
                    <a:lnTo>
                      <a:pt x="1235" y="287"/>
                    </a:lnTo>
                    <a:lnTo>
                      <a:pt x="1234" y="288"/>
                    </a:lnTo>
                    <a:lnTo>
                      <a:pt x="1229" y="293"/>
                    </a:lnTo>
                    <a:lnTo>
                      <a:pt x="1228" y="296"/>
                    </a:lnTo>
                    <a:lnTo>
                      <a:pt x="1226" y="297"/>
                    </a:lnTo>
                    <a:lnTo>
                      <a:pt x="1226" y="299"/>
                    </a:lnTo>
                    <a:lnTo>
                      <a:pt x="1226" y="302"/>
                    </a:lnTo>
                    <a:lnTo>
                      <a:pt x="1231" y="305"/>
                    </a:lnTo>
                    <a:lnTo>
                      <a:pt x="1232" y="306"/>
                    </a:lnTo>
                    <a:lnTo>
                      <a:pt x="1238" y="308"/>
                    </a:lnTo>
                    <a:lnTo>
                      <a:pt x="1244" y="313"/>
                    </a:lnTo>
                    <a:lnTo>
                      <a:pt x="1249" y="321"/>
                    </a:lnTo>
                    <a:lnTo>
                      <a:pt x="1253" y="332"/>
                    </a:lnTo>
                    <a:lnTo>
                      <a:pt x="1253" y="345"/>
                    </a:lnTo>
                    <a:lnTo>
                      <a:pt x="1253" y="347"/>
                    </a:lnTo>
                    <a:lnTo>
                      <a:pt x="1251" y="353"/>
                    </a:lnTo>
                    <a:lnTo>
                      <a:pt x="1245" y="358"/>
                    </a:lnTo>
                    <a:lnTo>
                      <a:pt x="1244" y="361"/>
                    </a:lnTo>
                    <a:lnTo>
                      <a:pt x="1236" y="367"/>
                    </a:lnTo>
                    <a:lnTo>
                      <a:pt x="1230" y="370"/>
                    </a:lnTo>
                    <a:lnTo>
                      <a:pt x="1228" y="372"/>
                    </a:lnTo>
                    <a:lnTo>
                      <a:pt x="1224" y="372"/>
                    </a:lnTo>
                    <a:lnTo>
                      <a:pt x="1223" y="373"/>
                    </a:lnTo>
                    <a:lnTo>
                      <a:pt x="1218" y="375"/>
                    </a:lnTo>
                    <a:lnTo>
                      <a:pt x="1215" y="376"/>
                    </a:lnTo>
                    <a:lnTo>
                      <a:pt x="1212" y="378"/>
                    </a:lnTo>
                    <a:lnTo>
                      <a:pt x="1210" y="379"/>
                    </a:lnTo>
                    <a:lnTo>
                      <a:pt x="1212" y="382"/>
                    </a:lnTo>
                    <a:lnTo>
                      <a:pt x="1212" y="384"/>
                    </a:lnTo>
                    <a:lnTo>
                      <a:pt x="1214" y="387"/>
                    </a:lnTo>
                    <a:lnTo>
                      <a:pt x="1215" y="390"/>
                    </a:lnTo>
                    <a:lnTo>
                      <a:pt x="1219" y="390"/>
                    </a:lnTo>
                    <a:lnTo>
                      <a:pt x="1218" y="393"/>
                    </a:lnTo>
                    <a:lnTo>
                      <a:pt x="1220" y="395"/>
                    </a:lnTo>
                    <a:lnTo>
                      <a:pt x="1218" y="397"/>
                    </a:lnTo>
                    <a:lnTo>
                      <a:pt x="1220" y="405"/>
                    </a:lnTo>
                    <a:lnTo>
                      <a:pt x="1220" y="408"/>
                    </a:lnTo>
                    <a:lnTo>
                      <a:pt x="1221" y="410"/>
                    </a:lnTo>
                    <a:lnTo>
                      <a:pt x="1220" y="412"/>
                    </a:lnTo>
                    <a:lnTo>
                      <a:pt x="1221" y="415"/>
                    </a:lnTo>
                    <a:lnTo>
                      <a:pt x="1223" y="417"/>
                    </a:lnTo>
                    <a:lnTo>
                      <a:pt x="1224" y="418"/>
                    </a:lnTo>
                    <a:lnTo>
                      <a:pt x="1226" y="422"/>
                    </a:lnTo>
                    <a:lnTo>
                      <a:pt x="1227" y="424"/>
                    </a:lnTo>
                    <a:lnTo>
                      <a:pt x="1224" y="425"/>
                    </a:lnTo>
                    <a:lnTo>
                      <a:pt x="1219" y="433"/>
                    </a:lnTo>
                    <a:lnTo>
                      <a:pt x="1223" y="438"/>
                    </a:lnTo>
                    <a:lnTo>
                      <a:pt x="1220" y="441"/>
                    </a:lnTo>
                    <a:lnTo>
                      <a:pt x="1221" y="443"/>
                    </a:lnTo>
                    <a:lnTo>
                      <a:pt x="1220" y="443"/>
                    </a:lnTo>
                    <a:lnTo>
                      <a:pt x="1219" y="438"/>
                    </a:lnTo>
                    <a:lnTo>
                      <a:pt x="1213" y="435"/>
                    </a:lnTo>
                    <a:lnTo>
                      <a:pt x="1211" y="439"/>
                    </a:lnTo>
                    <a:lnTo>
                      <a:pt x="1211" y="439"/>
                    </a:lnTo>
                    <a:lnTo>
                      <a:pt x="1210" y="441"/>
                    </a:lnTo>
                    <a:lnTo>
                      <a:pt x="1209" y="444"/>
                    </a:lnTo>
                    <a:lnTo>
                      <a:pt x="1213" y="449"/>
                    </a:lnTo>
                    <a:lnTo>
                      <a:pt x="1214" y="451"/>
                    </a:lnTo>
                    <a:lnTo>
                      <a:pt x="1212" y="448"/>
                    </a:lnTo>
                    <a:lnTo>
                      <a:pt x="1205" y="442"/>
                    </a:lnTo>
                    <a:lnTo>
                      <a:pt x="1200" y="441"/>
                    </a:lnTo>
                    <a:lnTo>
                      <a:pt x="1196" y="443"/>
                    </a:lnTo>
                    <a:lnTo>
                      <a:pt x="1192" y="445"/>
                    </a:lnTo>
                    <a:lnTo>
                      <a:pt x="1196" y="441"/>
                    </a:lnTo>
                    <a:lnTo>
                      <a:pt x="1200" y="440"/>
                    </a:lnTo>
                    <a:lnTo>
                      <a:pt x="1198" y="438"/>
                    </a:lnTo>
                    <a:lnTo>
                      <a:pt x="1195" y="432"/>
                    </a:lnTo>
                    <a:lnTo>
                      <a:pt x="1193" y="430"/>
                    </a:lnTo>
                    <a:lnTo>
                      <a:pt x="1191" y="427"/>
                    </a:lnTo>
                    <a:lnTo>
                      <a:pt x="1187" y="427"/>
                    </a:lnTo>
                    <a:lnTo>
                      <a:pt x="1185" y="424"/>
                    </a:lnTo>
                    <a:lnTo>
                      <a:pt x="1181" y="424"/>
                    </a:lnTo>
                    <a:lnTo>
                      <a:pt x="1179" y="425"/>
                    </a:lnTo>
                    <a:lnTo>
                      <a:pt x="1179" y="424"/>
                    </a:lnTo>
                    <a:lnTo>
                      <a:pt x="1185" y="423"/>
                    </a:lnTo>
                    <a:lnTo>
                      <a:pt x="1184" y="419"/>
                    </a:lnTo>
                    <a:lnTo>
                      <a:pt x="1176" y="412"/>
                    </a:lnTo>
                    <a:lnTo>
                      <a:pt x="1174" y="410"/>
                    </a:lnTo>
                    <a:lnTo>
                      <a:pt x="1175" y="406"/>
                    </a:lnTo>
                    <a:lnTo>
                      <a:pt x="1176" y="404"/>
                    </a:lnTo>
                    <a:lnTo>
                      <a:pt x="1175" y="401"/>
                    </a:lnTo>
                    <a:lnTo>
                      <a:pt x="1175" y="398"/>
                    </a:lnTo>
                    <a:lnTo>
                      <a:pt x="1176" y="396"/>
                    </a:lnTo>
                    <a:lnTo>
                      <a:pt x="1176" y="392"/>
                    </a:lnTo>
                    <a:lnTo>
                      <a:pt x="1174" y="390"/>
                    </a:lnTo>
                    <a:lnTo>
                      <a:pt x="1172" y="387"/>
                    </a:lnTo>
                    <a:lnTo>
                      <a:pt x="1172" y="384"/>
                    </a:lnTo>
                    <a:lnTo>
                      <a:pt x="1175" y="376"/>
                    </a:lnTo>
                    <a:lnTo>
                      <a:pt x="1174" y="370"/>
                    </a:lnTo>
                    <a:lnTo>
                      <a:pt x="1168" y="370"/>
                    </a:lnTo>
                    <a:lnTo>
                      <a:pt x="1166" y="370"/>
                    </a:lnTo>
                    <a:lnTo>
                      <a:pt x="1164" y="371"/>
                    </a:lnTo>
                    <a:lnTo>
                      <a:pt x="1162" y="368"/>
                    </a:lnTo>
                    <a:lnTo>
                      <a:pt x="1157" y="367"/>
                    </a:lnTo>
                    <a:lnTo>
                      <a:pt x="1154" y="368"/>
                    </a:lnTo>
                    <a:lnTo>
                      <a:pt x="1151" y="366"/>
                    </a:lnTo>
                    <a:lnTo>
                      <a:pt x="1149" y="367"/>
                    </a:lnTo>
                    <a:lnTo>
                      <a:pt x="1146" y="366"/>
                    </a:lnTo>
                    <a:lnTo>
                      <a:pt x="1143" y="367"/>
                    </a:lnTo>
                    <a:lnTo>
                      <a:pt x="1135" y="367"/>
                    </a:lnTo>
                    <a:lnTo>
                      <a:pt x="1133" y="370"/>
                    </a:lnTo>
                    <a:lnTo>
                      <a:pt x="1130" y="373"/>
                    </a:lnTo>
                    <a:lnTo>
                      <a:pt x="1132" y="371"/>
                    </a:lnTo>
                    <a:lnTo>
                      <a:pt x="1134" y="367"/>
                    </a:lnTo>
                    <a:lnTo>
                      <a:pt x="1133" y="365"/>
                    </a:lnTo>
                    <a:lnTo>
                      <a:pt x="1129" y="363"/>
                    </a:lnTo>
                    <a:lnTo>
                      <a:pt x="1127" y="361"/>
                    </a:lnTo>
                    <a:lnTo>
                      <a:pt x="1125" y="359"/>
                    </a:lnTo>
                    <a:lnTo>
                      <a:pt x="1121" y="359"/>
                    </a:lnTo>
                    <a:lnTo>
                      <a:pt x="1119" y="358"/>
                    </a:lnTo>
                    <a:lnTo>
                      <a:pt x="1116" y="357"/>
                    </a:lnTo>
                    <a:lnTo>
                      <a:pt x="1111" y="355"/>
                    </a:lnTo>
                    <a:lnTo>
                      <a:pt x="1106" y="354"/>
                    </a:lnTo>
                    <a:lnTo>
                      <a:pt x="1102" y="353"/>
                    </a:lnTo>
                    <a:lnTo>
                      <a:pt x="1101" y="354"/>
                    </a:lnTo>
                    <a:lnTo>
                      <a:pt x="1100" y="350"/>
                    </a:lnTo>
                    <a:lnTo>
                      <a:pt x="1095" y="345"/>
                    </a:lnTo>
                    <a:lnTo>
                      <a:pt x="1090" y="342"/>
                    </a:lnTo>
                    <a:lnTo>
                      <a:pt x="1085" y="338"/>
                    </a:lnTo>
                    <a:lnTo>
                      <a:pt x="1082" y="337"/>
                    </a:lnTo>
                    <a:lnTo>
                      <a:pt x="1076" y="336"/>
                    </a:lnTo>
                    <a:lnTo>
                      <a:pt x="1068" y="333"/>
                    </a:lnTo>
                    <a:lnTo>
                      <a:pt x="1060" y="330"/>
                    </a:lnTo>
                    <a:lnTo>
                      <a:pt x="1055" y="329"/>
                    </a:lnTo>
                    <a:lnTo>
                      <a:pt x="1039" y="333"/>
                    </a:lnTo>
                    <a:lnTo>
                      <a:pt x="1035" y="335"/>
                    </a:lnTo>
                    <a:lnTo>
                      <a:pt x="1034" y="336"/>
                    </a:lnTo>
                    <a:lnTo>
                      <a:pt x="1038" y="333"/>
                    </a:lnTo>
                    <a:lnTo>
                      <a:pt x="1034" y="333"/>
                    </a:lnTo>
                    <a:lnTo>
                      <a:pt x="1032" y="335"/>
                    </a:lnTo>
                    <a:lnTo>
                      <a:pt x="1029" y="336"/>
                    </a:lnTo>
                    <a:lnTo>
                      <a:pt x="1032" y="335"/>
                    </a:lnTo>
                    <a:lnTo>
                      <a:pt x="1033" y="331"/>
                    </a:lnTo>
                    <a:lnTo>
                      <a:pt x="1035" y="329"/>
                    </a:lnTo>
                    <a:lnTo>
                      <a:pt x="1034" y="327"/>
                    </a:lnTo>
                    <a:lnTo>
                      <a:pt x="1031" y="319"/>
                    </a:lnTo>
                    <a:lnTo>
                      <a:pt x="1030" y="313"/>
                    </a:lnTo>
                    <a:lnTo>
                      <a:pt x="1029" y="310"/>
                    </a:lnTo>
                    <a:lnTo>
                      <a:pt x="1025" y="304"/>
                    </a:lnTo>
                    <a:lnTo>
                      <a:pt x="1025" y="299"/>
                    </a:lnTo>
                    <a:lnTo>
                      <a:pt x="1022" y="301"/>
                    </a:lnTo>
                    <a:lnTo>
                      <a:pt x="1019" y="298"/>
                    </a:lnTo>
                    <a:lnTo>
                      <a:pt x="1012" y="299"/>
                    </a:lnTo>
                    <a:lnTo>
                      <a:pt x="1010" y="302"/>
                    </a:lnTo>
                    <a:lnTo>
                      <a:pt x="1010" y="307"/>
                    </a:lnTo>
                    <a:lnTo>
                      <a:pt x="1008" y="310"/>
                    </a:lnTo>
                    <a:lnTo>
                      <a:pt x="1010" y="299"/>
                    </a:lnTo>
                    <a:lnTo>
                      <a:pt x="1007" y="299"/>
                    </a:lnTo>
                    <a:lnTo>
                      <a:pt x="1004" y="295"/>
                    </a:lnTo>
                    <a:lnTo>
                      <a:pt x="1000" y="293"/>
                    </a:lnTo>
                    <a:lnTo>
                      <a:pt x="1002" y="293"/>
                    </a:lnTo>
                    <a:lnTo>
                      <a:pt x="1002" y="289"/>
                    </a:lnTo>
                    <a:lnTo>
                      <a:pt x="1005" y="287"/>
                    </a:lnTo>
                    <a:lnTo>
                      <a:pt x="1002" y="281"/>
                    </a:lnTo>
                    <a:lnTo>
                      <a:pt x="1002" y="279"/>
                    </a:lnTo>
                    <a:lnTo>
                      <a:pt x="1002" y="273"/>
                    </a:lnTo>
                    <a:lnTo>
                      <a:pt x="1004" y="271"/>
                    </a:lnTo>
                    <a:lnTo>
                      <a:pt x="1004" y="269"/>
                    </a:lnTo>
                    <a:lnTo>
                      <a:pt x="1005" y="265"/>
                    </a:lnTo>
                    <a:lnTo>
                      <a:pt x="1002" y="263"/>
                    </a:lnTo>
                    <a:lnTo>
                      <a:pt x="1004" y="263"/>
                    </a:lnTo>
                    <a:lnTo>
                      <a:pt x="1006" y="263"/>
                    </a:lnTo>
                    <a:lnTo>
                      <a:pt x="1008" y="256"/>
                    </a:lnTo>
                    <a:lnTo>
                      <a:pt x="1012" y="253"/>
                    </a:lnTo>
                    <a:lnTo>
                      <a:pt x="1013" y="251"/>
                    </a:lnTo>
                    <a:lnTo>
                      <a:pt x="1013" y="248"/>
                    </a:lnTo>
                    <a:lnTo>
                      <a:pt x="1012" y="246"/>
                    </a:lnTo>
                    <a:lnTo>
                      <a:pt x="1015" y="247"/>
                    </a:lnTo>
                    <a:lnTo>
                      <a:pt x="1014" y="245"/>
                    </a:lnTo>
                    <a:lnTo>
                      <a:pt x="1015" y="242"/>
                    </a:lnTo>
                    <a:lnTo>
                      <a:pt x="1018" y="241"/>
                    </a:lnTo>
                    <a:lnTo>
                      <a:pt x="1024" y="238"/>
                    </a:lnTo>
                    <a:lnTo>
                      <a:pt x="1022" y="236"/>
                    </a:lnTo>
                    <a:lnTo>
                      <a:pt x="1019" y="236"/>
                    </a:lnTo>
                    <a:lnTo>
                      <a:pt x="1022" y="235"/>
                    </a:lnTo>
                    <a:lnTo>
                      <a:pt x="1022" y="231"/>
                    </a:lnTo>
                    <a:lnTo>
                      <a:pt x="1025" y="231"/>
                    </a:lnTo>
                    <a:lnTo>
                      <a:pt x="1029" y="230"/>
                    </a:lnTo>
                    <a:lnTo>
                      <a:pt x="1030" y="227"/>
                    </a:lnTo>
                    <a:lnTo>
                      <a:pt x="1025" y="225"/>
                    </a:lnTo>
                    <a:lnTo>
                      <a:pt x="1030" y="226"/>
                    </a:lnTo>
                    <a:lnTo>
                      <a:pt x="1033" y="229"/>
                    </a:lnTo>
                    <a:lnTo>
                      <a:pt x="1033" y="226"/>
                    </a:lnTo>
                    <a:lnTo>
                      <a:pt x="1030" y="225"/>
                    </a:lnTo>
                    <a:lnTo>
                      <a:pt x="1033" y="222"/>
                    </a:lnTo>
                    <a:lnTo>
                      <a:pt x="1033" y="220"/>
                    </a:lnTo>
                    <a:lnTo>
                      <a:pt x="1035" y="221"/>
                    </a:lnTo>
                    <a:lnTo>
                      <a:pt x="1038" y="219"/>
                    </a:lnTo>
                    <a:lnTo>
                      <a:pt x="1040" y="221"/>
                    </a:lnTo>
                    <a:lnTo>
                      <a:pt x="1042" y="219"/>
                    </a:lnTo>
                    <a:lnTo>
                      <a:pt x="1039" y="218"/>
                    </a:lnTo>
                    <a:lnTo>
                      <a:pt x="1036" y="217"/>
                    </a:lnTo>
                    <a:lnTo>
                      <a:pt x="1035" y="214"/>
                    </a:lnTo>
                    <a:lnTo>
                      <a:pt x="1039" y="214"/>
                    </a:lnTo>
                    <a:lnTo>
                      <a:pt x="1041" y="214"/>
                    </a:lnTo>
                    <a:lnTo>
                      <a:pt x="1050" y="216"/>
                    </a:lnTo>
                    <a:lnTo>
                      <a:pt x="1052" y="213"/>
                    </a:lnTo>
                    <a:lnTo>
                      <a:pt x="1055" y="212"/>
                    </a:lnTo>
                    <a:lnTo>
                      <a:pt x="1058" y="212"/>
                    </a:lnTo>
                    <a:lnTo>
                      <a:pt x="1059" y="209"/>
                    </a:lnTo>
                    <a:lnTo>
                      <a:pt x="1059" y="207"/>
                    </a:lnTo>
                    <a:lnTo>
                      <a:pt x="1058" y="204"/>
                    </a:lnTo>
                    <a:lnTo>
                      <a:pt x="1052" y="201"/>
                    </a:lnTo>
                    <a:lnTo>
                      <a:pt x="1050" y="201"/>
                    </a:lnTo>
                    <a:lnTo>
                      <a:pt x="1047" y="199"/>
                    </a:lnTo>
                    <a:lnTo>
                      <a:pt x="1044" y="196"/>
                    </a:lnTo>
                    <a:lnTo>
                      <a:pt x="1042" y="196"/>
                    </a:lnTo>
                    <a:lnTo>
                      <a:pt x="1036" y="199"/>
                    </a:lnTo>
                    <a:lnTo>
                      <a:pt x="1033" y="199"/>
                    </a:lnTo>
                    <a:lnTo>
                      <a:pt x="1036" y="196"/>
                    </a:lnTo>
                    <a:lnTo>
                      <a:pt x="1039" y="196"/>
                    </a:lnTo>
                    <a:lnTo>
                      <a:pt x="1036" y="195"/>
                    </a:lnTo>
                    <a:lnTo>
                      <a:pt x="1033" y="193"/>
                    </a:lnTo>
                    <a:lnTo>
                      <a:pt x="1031" y="193"/>
                    </a:lnTo>
                    <a:lnTo>
                      <a:pt x="1029" y="193"/>
                    </a:lnTo>
                    <a:lnTo>
                      <a:pt x="1022" y="190"/>
                    </a:lnTo>
                    <a:lnTo>
                      <a:pt x="1023" y="193"/>
                    </a:lnTo>
                    <a:lnTo>
                      <a:pt x="1021" y="193"/>
                    </a:lnTo>
                    <a:lnTo>
                      <a:pt x="1016" y="191"/>
                    </a:lnTo>
                    <a:lnTo>
                      <a:pt x="1016" y="190"/>
                    </a:lnTo>
                    <a:lnTo>
                      <a:pt x="1019" y="190"/>
                    </a:lnTo>
                    <a:lnTo>
                      <a:pt x="1016" y="185"/>
                    </a:lnTo>
                    <a:lnTo>
                      <a:pt x="1019" y="187"/>
                    </a:lnTo>
                    <a:lnTo>
                      <a:pt x="1022" y="190"/>
                    </a:lnTo>
                    <a:lnTo>
                      <a:pt x="1031" y="192"/>
                    </a:lnTo>
                    <a:lnTo>
                      <a:pt x="1035" y="194"/>
                    </a:lnTo>
                    <a:lnTo>
                      <a:pt x="1039" y="195"/>
                    </a:lnTo>
                    <a:lnTo>
                      <a:pt x="1041" y="193"/>
                    </a:lnTo>
                    <a:lnTo>
                      <a:pt x="1044" y="195"/>
                    </a:lnTo>
                    <a:lnTo>
                      <a:pt x="1049" y="195"/>
                    </a:lnTo>
                    <a:lnTo>
                      <a:pt x="1051" y="197"/>
                    </a:lnTo>
                    <a:lnTo>
                      <a:pt x="1057" y="199"/>
                    </a:lnTo>
                    <a:lnTo>
                      <a:pt x="1063" y="196"/>
                    </a:lnTo>
                    <a:lnTo>
                      <a:pt x="1065" y="197"/>
                    </a:lnTo>
                    <a:lnTo>
                      <a:pt x="1068" y="194"/>
                    </a:lnTo>
                    <a:lnTo>
                      <a:pt x="1068" y="193"/>
                    </a:lnTo>
                    <a:lnTo>
                      <a:pt x="1066" y="190"/>
                    </a:lnTo>
                    <a:lnTo>
                      <a:pt x="1068" y="190"/>
                    </a:lnTo>
                    <a:lnTo>
                      <a:pt x="1069" y="187"/>
                    </a:lnTo>
                    <a:lnTo>
                      <a:pt x="1067" y="186"/>
                    </a:lnTo>
                    <a:lnTo>
                      <a:pt x="1068" y="186"/>
                    </a:lnTo>
                    <a:lnTo>
                      <a:pt x="1070" y="185"/>
                    </a:lnTo>
                    <a:lnTo>
                      <a:pt x="1072" y="187"/>
                    </a:lnTo>
                    <a:lnTo>
                      <a:pt x="1074" y="190"/>
                    </a:lnTo>
                    <a:lnTo>
                      <a:pt x="1075" y="191"/>
                    </a:lnTo>
                    <a:lnTo>
                      <a:pt x="1074" y="188"/>
                    </a:lnTo>
                    <a:lnTo>
                      <a:pt x="1077" y="188"/>
                    </a:lnTo>
                    <a:lnTo>
                      <a:pt x="1079" y="190"/>
                    </a:lnTo>
                    <a:lnTo>
                      <a:pt x="1078" y="187"/>
                    </a:lnTo>
                    <a:lnTo>
                      <a:pt x="1082" y="188"/>
                    </a:lnTo>
                    <a:lnTo>
                      <a:pt x="1084" y="190"/>
                    </a:lnTo>
                    <a:lnTo>
                      <a:pt x="1087" y="190"/>
                    </a:lnTo>
                    <a:lnTo>
                      <a:pt x="1095" y="185"/>
                    </a:lnTo>
                    <a:lnTo>
                      <a:pt x="1098" y="179"/>
                    </a:lnTo>
                    <a:lnTo>
                      <a:pt x="1102" y="176"/>
                    </a:lnTo>
                    <a:lnTo>
                      <a:pt x="1103" y="173"/>
                    </a:lnTo>
                    <a:lnTo>
                      <a:pt x="1108" y="168"/>
                    </a:lnTo>
                    <a:lnTo>
                      <a:pt x="1109" y="166"/>
                    </a:lnTo>
                    <a:lnTo>
                      <a:pt x="1109" y="162"/>
                    </a:lnTo>
                    <a:lnTo>
                      <a:pt x="1106" y="161"/>
                    </a:lnTo>
                    <a:lnTo>
                      <a:pt x="1103" y="161"/>
                    </a:lnTo>
                    <a:lnTo>
                      <a:pt x="1100" y="161"/>
                    </a:lnTo>
                    <a:lnTo>
                      <a:pt x="1094" y="161"/>
                    </a:lnTo>
                    <a:lnTo>
                      <a:pt x="1086" y="160"/>
                    </a:lnTo>
                    <a:lnTo>
                      <a:pt x="1082" y="160"/>
                    </a:lnTo>
                    <a:lnTo>
                      <a:pt x="1078" y="158"/>
                    </a:lnTo>
                    <a:lnTo>
                      <a:pt x="1076" y="156"/>
                    </a:lnTo>
                    <a:lnTo>
                      <a:pt x="1074" y="153"/>
                    </a:lnTo>
                    <a:lnTo>
                      <a:pt x="1070" y="151"/>
                    </a:lnTo>
                    <a:lnTo>
                      <a:pt x="1068" y="149"/>
                    </a:lnTo>
                    <a:lnTo>
                      <a:pt x="1060" y="148"/>
                    </a:lnTo>
                    <a:lnTo>
                      <a:pt x="1055" y="147"/>
                    </a:lnTo>
                    <a:lnTo>
                      <a:pt x="1051" y="148"/>
                    </a:lnTo>
                    <a:lnTo>
                      <a:pt x="1049" y="147"/>
                    </a:lnTo>
                    <a:lnTo>
                      <a:pt x="1055" y="147"/>
                    </a:lnTo>
                    <a:lnTo>
                      <a:pt x="1060" y="148"/>
                    </a:lnTo>
                    <a:lnTo>
                      <a:pt x="1063" y="147"/>
                    </a:lnTo>
                    <a:lnTo>
                      <a:pt x="1066" y="148"/>
                    </a:lnTo>
                    <a:lnTo>
                      <a:pt x="1068" y="148"/>
                    </a:lnTo>
                    <a:lnTo>
                      <a:pt x="1070" y="149"/>
                    </a:lnTo>
                    <a:lnTo>
                      <a:pt x="1068" y="147"/>
                    </a:lnTo>
                    <a:lnTo>
                      <a:pt x="1074" y="147"/>
                    </a:lnTo>
                    <a:lnTo>
                      <a:pt x="1082" y="151"/>
                    </a:lnTo>
                    <a:lnTo>
                      <a:pt x="1090" y="153"/>
                    </a:lnTo>
                    <a:lnTo>
                      <a:pt x="1084" y="153"/>
                    </a:lnTo>
                    <a:lnTo>
                      <a:pt x="1090" y="156"/>
                    </a:lnTo>
                    <a:lnTo>
                      <a:pt x="1092" y="158"/>
                    </a:lnTo>
                    <a:lnTo>
                      <a:pt x="1095" y="159"/>
                    </a:lnTo>
                    <a:lnTo>
                      <a:pt x="1098" y="160"/>
                    </a:lnTo>
                    <a:lnTo>
                      <a:pt x="1103" y="160"/>
                    </a:lnTo>
                    <a:lnTo>
                      <a:pt x="1106" y="159"/>
                    </a:lnTo>
                    <a:lnTo>
                      <a:pt x="1108" y="157"/>
                    </a:lnTo>
                    <a:lnTo>
                      <a:pt x="1116" y="151"/>
                    </a:lnTo>
                    <a:lnTo>
                      <a:pt x="1117" y="150"/>
                    </a:lnTo>
                    <a:lnTo>
                      <a:pt x="1117" y="149"/>
                    </a:lnTo>
                    <a:lnTo>
                      <a:pt x="1121" y="145"/>
                    </a:lnTo>
                    <a:lnTo>
                      <a:pt x="1123" y="142"/>
                    </a:lnTo>
                    <a:lnTo>
                      <a:pt x="1123" y="140"/>
                    </a:lnTo>
                    <a:lnTo>
                      <a:pt x="1119" y="139"/>
                    </a:lnTo>
                    <a:lnTo>
                      <a:pt x="1118" y="139"/>
                    </a:lnTo>
                    <a:lnTo>
                      <a:pt x="1113" y="137"/>
                    </a:lnTo>
                    <a:lnTo>
                      <a:pt x="1113" y="134"/>
                    </a:lnTo>
                    <a:lnTo>
                      <a:pt x="1116" y="133"/>
                    </a:lnTo>
                    <a:lnTo>
                      <a:pt x="1119" y="133"/>
                    </a:lnTo>
                    <a:lnTo>
                      <a:pt x="1121" y="133"/>
                    </a:lnTo>
                    <a:lnTo>
                      <a:pt x="1125" y="133"/>
                    </a:lnTo>
                    <a:lnTo>
                      <a:pt x="1127" y="133"/>
                    </a:lnTo>
                    <a:lnTo>
                      <a:pt x="1129" y="132"/>
                    </a:lnTo>
                    <a:lnTo>
                      <a:pt x="1132" y="134"/>
                    </a:lnTo>
                    <a:lnTo>
                      <a:pt x="1133" y="136"/>
                    </a:lnTo>
                    <a:lnTo>
                      <a:pt x="1137" y="139"/>
                    </a:lnTo>
                    <a:lnTo>
                      <a:pt x="1137" y="139"/>
                    </a:lnTo>
                    <a:lnTo>
                      <a:pt x="1138" y="139"/>
                    </a:lnTo>
                    <a:lnTo>
                      <a:pt x="1141" y="140"/>
                    </a:lnTo>
                    <a:lnTo>
                      <a:pt x="1144" y="141"/>
                    </a:lnTo>
                    <a:lnTo>
                      <a:pt x="1143" y="139"/>
                    </a:lnTo>
                    <a:lnTo>
                      <a:pt x="1143" y="135"/>
                    </a:lnTo>
                    <a:lnTo>
                      <a:pt x="1145" y="139"/>
                    </a:lnTo>
                    <a:lnTo>
                      <a:pt x="1147" y="137"/>
                    </a:lnTo>
                    <a:lnTo>
                      <a:pt x="1151" y="140"/>
                    </a:lnTo>
                    <a:lnTo>
                      <a:pt x="1153" y="141"/>
                    </a:lnTo>
                    <a:lnTo>
                      <a:pt x="1153" y="139"/>
                    </a:lnTo>
                    <a:lnTo>
                      <a:pt x="1153" y="137"/>
                    </a:lnTo>
                    <a:lnTo>
                      <a:pt x="1152" y="135"/>
                    </a:lnTo>
                    <a:lnTo>
                      <a:pt x="1150" y="133"/>
                    </a:lnTo>
                    <a:lnTo>
                      <a:pt x="1149" y="130"/>
                    </a:lnTo>
                    <a:lnTo>
                      <a:pt x="1146" y="130"/>
                    </a:lnTo>
                    <a:lnTo>
                      <a:pt x="1143" y="126"/>
                    </a:lnTo>
                    <a:lnTo>
                      <a:pt x="1141" y="125"/>
                    </a:lnTo>
                    <a:lnTo>
                      <a:pt x="1137" y="124"/>
                    </a:lnTo>
                    <a:lnTo>
                      <a:pt x="1135" y="126"/>
                    </a:lnTo>
                    <a:lnTo>
                      <a:pt x="1136" y="123"/>
                    </a:lnTo>
                    <a:lnTo>
                      <a:pt x="1137" y="123"/>
                    </a:lnTo>
                    <a:lnTo>
                      <a:pt x="1137" y="123"/>
                    </a:lnTo>
                    <a:lnTo>
                      <a:pt x="1141" y="123"/>
                    </a:lnTo>
                    <a:lnTo>
                      <a:pt x="1138" y="123"/>
                    </a:lnTo>
                    <a:lnTo>
                      <a:pt x="1142" y="122"/>
                    </a:lnTo>
                    <a:lnTo>
                      <a:pt x="1144" y="123"/>
                    </a:lnTo>
                    <a:lnTo>
                      <a:pt x="1142" y="123"/>
                    </a:lnTo>
                    <a:lnTo>
                      <a:pt x="1145" y="124"/>
                    </a:lnTo>
                    <a:lnTo>
                      <a:pt x="1145" y="126"/>
                    </a:lnTo>
                    <a:lnTo>
                      <a:pt x="1147" y="128"/>
                    </a:lnTo>
                    <a:lnTo>
                      <a:pt x="1151" y="127"/>
                    </a:lnTo>
                    <a:lnTo>
                      <a:pt x="1152" y="130"/>
                    </a:lnTo>
                    <a:lnTo>
                      <a:pt x="1152" y="132"/>
                    </a:lnTo>
                    <a:lnTo>
                      <a:pt x="1154" y="133"/>
                    </a:lnTo>
                    <a:lnTo>
                      <a:pt x="1157" y="135"/>
                    </a:lnTo>
                    <a:lnTo>
                      <a:pt x="1160" y="136"/>
                    </a:lnTo>
                    <a:lnTo>
                      <a:pt x="1162" y="135"/>
                    </a:lnTo>
                    <a:lnTo>
                      <a:pt x="1164" y="132"/>
                    </a:lnTo>
                    <a:lnTo>
                      <a:pt x="1168" y="132"/>
                    </a:lnTo>
                    <a:lnTo>
                      <a:pt x="1170" y="131"/>
                    </a:lnTo>
                    <a:lnTo>
                      <a:pt x="1172" y="128"/>
                    </a:lnTo>
                    <a:lnTo>
                      <a:pt x="1176" y="128"/>
                    </a:lnTo>
                    <a:lnTo>
                      <a:pt x="1177" y="126"/>
                    </a:lnTo>
                    <a:lnTo>
                      <a:pt x="1178" y="123"/>
                    </a:lnTo>
                    <a:lnTo>
                      <a:pt x="1180" y="122"/>
                    </a:lnTo>
                    <a:lnTo>
                      <a:pt x="1184" y="122"/>
                    </a:lnTo>
                    <a:lnTo>
                      <a:pt x="1186" y="119"/>
                    </a:lnTo>
                    <a:lnTo>
                      <a:pt x="1186" y="116"/>
                    </a:lnTo>
                    <a:lnTo>
                      <a:pt x="1187" y="114"/>
                    </a:lnTo>
                    <a:lnTo>
                      <a:pt x="1188" y="110"/>
                    </a:lnTo>
                    <a:lnTo>
                      <a:pt x="1186" y="108"/>
                    </a:lnTo>
                    <a:lnTo>
                      <a:pt x="1183" y="107"/>
                    </a:lnTo>
                    <a:lnTo>
                      <a:pt x="1180" y="105"/>
                    </a:lnTo>
                    <a:lnTo>
                      <a:pt x="1178" y="101"/>
                    </a:lnTo>
                    <a:lnTo>
                      <a:pt x="1176" y="99"/>
                    </a:lnTo>
                    <a:lnTo>
                      <a:pt x="1176" y="97"/>
                    </a:lnTo>
                    <a:lnTo>
                      <a:pt x="1177" y="93"/>
                    </a:lnTo>
                    <a:lnTo>
                      <a:pt x="1175" y="96"/>
                    </a:lnTo>
                    <a:lnTo>
                      <a:pt x="1174" y="93"/>
                    </a:lnTo>
                    <a:lnTo>
                      <a:pt x="1171" y="92"/>
                    </a:lnTo>
                    <a:lnTo>
                      <a:pt x="1171" y="89"/>
                    </a:lnTo>
                    <a:lnTo>
                      <a:pt x="1169" y="89"/>
                    </a:lnTo>
                    <a:lnTo>
                      <a:pt x="1169" y="87"/>
                    </a:lnTo>
                    <a:lnTo>
                      <a:pt x="1172" y="88"/>
                    </a:lnTo>
                    <a:lnTo>
                      <a:pt x="1175" y="88"/>
                    </a:lnTo>
                    <a:lnTo>
                      <a:pt x="1178" y="89"/>
                    </a:lnTo>
                    <a:lnTo>
                      <a:pt x="1178" y="89"/>
                    </a:lnTo>
                    <a:lnTo>
                      <a:pt x="1181" y="87"/>
                    </a:lnTo>
                    <a:lnTo>
                      <a:pt x="1184" y="87"/>
                    </a:lnTo>
                    <a:lnTo>
                      <a:pt x="1186" y="84"/>
                    </a:lnTo>
                    <a:lnTo>
                      <a:pt x="1188" y="82"/>
                    </a:lnTo>
                    <a:lnTo>
                      <a:pt x="1187" y="79"/>
                    </a:lnTo>
                    <a:lnTo>
                      <a:pt x="1185" y="79"/>
                    </a:lnTo>
                    <a:lnTo>
                      <a:pt x="1181" y="77"/>
                    </a:lnTo>
                    <a:lnTo>
                      <a:pt x="1179" y="77"/>
                    </a:lnTo>
                    <a:lnTo>
                      <a:pt x="1181" y="76"/>
                    </a:lnTo>
                    <a:lnTo>
                      <a:pt x="1184" y="74"/>
                    </a:lnTo>
                    <a:lnTo>
                      <a:pt x="1187" y="73"/>
                    </a:lnTo>
                    <a:lnTo>
                      <a:pt x="1186" y="70"/>
                    </a:lnTo>
                    <a:lnTo>
                      <a:pt x="1184" y="70"/>
                    </a:lnTo>
                    <a:lnTo>
                      <a:pt x="1180" y="68"/>
                    </a:lnTo>
                    <a:lnTo>
                      <a:pt x="1178" y="68"/>
                    </a:lnTo>
                    <a:lnTo>
                      <a:pt x="1175" y="70"/>
                    </a:lnTo>
                    <a:lnTo>
                      <a:pt x="1174" y="66"/>
                    </a:lnTo>
                    <a:lnTo>
                      <a:pt x="1171" y="64"/>
                    </a:lnTo>
                    <a:lnTo>
                      <a:pt x="1170" y="64"/>
                    </a:lnTo>
                    <a:lnTo>
                      <a:pt x="1167" y="63"/>
                    </a:lnTo>
                    <a:lnTo>
                      <a:pt x="1164" y="63"/>
                    </a:lnTo>
                    <a:lnTo>
                      <a:pt x="1161" y="62"/>
                    </a:lnTo>
                    <a:lnTo>
                      <a:pt x="1164" y="62"/>
                    </a:lnTo>
                    <a:lnTo>
                      <a:pt x="1167" y="63"/>
                    </a:lnTo>
                    <a:lnTo>
                      <a:pt x="1170" y="63"/>
                    </a:lnTo>
                    <a:lnTo>
                      <a:pt x="1169" y="60"/>
                    </a:lnTo>
                    <a:lnTo>
                      <a:pt x="1171" y="59"/>
                    </a:lnTo>
                    <a:lnTo>
                      <a:pt x="1175" y="59"/>
                    </a:lnTo>
                    <a:lnTo>
                      <a:pt x="1171" y="59"/>
                    </a:lnTo>
                    <a:lnTo>
                      <a:pt x="1169" y="58"/>
                    </a:lnTo>
                    <a:lnTo>
                      <a:pt x="1166" y="58"/>
                    </a:lnTo>
                    <a:lnTo>
                      <a:pt x="1163" y="58"/>
                    </a:lnTo>
                    <a:lnTo>
                      <a:pt x="1160" y="58"/>
                    </a:lnTo>
                    <a:lnTo>
                      <a:pt x="1158" y="58"/>
                    </a:lnTo>
                    <a:lnTo>
                      <a:pt x="1155" y="58"/>
                    </a:lnTo>
                    <a:lnTo>
                      <a:pt x="1152" y="57"/>
                    </a:lnTo>
                    <a:lnTo>
                      <a:pt x="1146" y="55"/>
                    </a:lnTo>
                    <a:lnTo>
                      <a:pt x="1144" y="54"/>
                    </a:lnTo>
                    <a:lnTo>
                      <a:pt x="1141" y="55"/>
                    </a:lnTo>
                    <a:lnTo>
                      <a:pt x="1138" y="54"/>
                    </a:lnTo>
                    <a:lnTo>
                      <a:pt x="1135" y="56"/>
                    </a:lnTo>
                    <a:lnTo>
                      <a:pt x="1133" y="55"/>
                    </a:lnTo>
                    <a:lnTo>
                      <a:pt x="1129" y="54"/>
                    </a:lnTo>
                    <a:lnTo>
                      <a:pt x="1128" y="55"/>
                    </a:lnTo>
                    <a:lnTo>
                      <a:pt x="1132" y="55"/>
                    </a:lnTo>
                    <a:lnTo>
                      <a:pt x="1130" y="57"/>
                    </a:lnTo>
                    <a:lnTo>
                      <a:pt x="1130" y="60"/>
                    </a:lnTo>
                    <a:lnTo>
                      <a:pt x="1129" y="63"/>
                    </a:lnTo>
                    <a:lnTo>
                      <a:pt x="1130" y="66"/>
                    </a:lnTo>
                    <a:lnTo>
                      <a:pt x="1130" y="68"/>
                    </a:lnTo>
                    <a:lnTo>
                      <a:pt x="1134" y="71"/>
                    </a:lnTo>
                    <a:lnTo>
                      <a:pt x="1136" y="71"/>
                    </a:lnTo>
                    <a:lnTo>
                      <a:pt x="1138" y="73"/>
                    </a:lnTo>
                    <a:lnTo>
                      <a:pt x="1142" y="74"/>
                    </a:lnTo>
                    <a:lnTo>
                      <a:pt x="1138" y="74"/>
                    </a:lnTo>
                    <a:lnTo>
                      <a:pt x="1137" y="75"/>
                    </a:lnTo>
                    <a:lnTo>
                      <a:pt x="1140" y="76"/>
                    </a:lnTo>
                    <a:lnTo>
                      <a:pt x="1137" y="76"/>
                    </a:lnTo>
                    <a:lnTo>
                      <a:pt x="1134" y="77"/>
                    </a:lnTo>
                    <a:lnTo>
                      <a:pt x="1137" y="80"/>
                    </a:lnTo>
                    <a:lnTo>
                      <a:pt x="1140" y="80"/>
                    </a:lnTo>
                    <a:lnTo>
                      <a:pt x="1137" y="81"/>
                    </a:lnTo>
                    <a:lnTo>
                      <a:pt x="1134" y="81"/>
                    </a:lnTo>
                    <a:lnTo>
                      <a:pt x="1133" y="81"/>
                    </a:lnTo>
                    <a:lnTo>
                      <a:pt x="1129" y="81"/>
                    </a:lnTo>
                    <a:lnTo>
                      <a:pt x="1126" y="84"/>
                    </a:lnTo>
                    <a:lnTo>
                      <a:pt x="1127" y="87"/>
                    </a:lnTo>
                    <a:lnTo>
                      <a:pt x="1127" y="90"/>
                    </a:lnTo>
                    <a:lnTo>
                      <a:pt x="1125" y="92"/>
                    </a:lnTo>
                    <a:lnTo>
                      <a:pt x="1125" y="94"/>
                    </a:lnTo>
                    <a:lnTo>
                      <a:pt x="1125" y="98"/>
                    </a:lnTo>
                    <a:lnTo>
                      <a:pt x="1121" y="99"/>
                    </a:lnTo>
                    <a:lnTo>
                      <a:pt x="1118" y="102"/>
                    </a:lnTo>
                    <a:lnTo>
                      <a:pt x="1116" y="106"/>
                    </a:lnTo>
                    <a:lnTo>
                      <a:pt x="1117" y="108"/>
                    </a:lnTo>
                    <a:lnTo>
                      <a:pt x="1117" y="111"/>
                    </a:lnTo>
                    <a:lnTo>
                      <a:pt x="1116" y="114"/>
                    </a:lnTo>
                    <a:lnTo>
                      <a:pt x="1113" y="113"/>
                    </a:lnTo>
                    <a:lnTo>
                      <a:pt x="1110" y="114"/>
                    </a:lnTo>
                    <a:lnTo>
                      <a:pt x="1109" y="116"/>
                    </a:lnTo>
                    <a:lnTo>
                      <a:pt x="1107" y="116"/>
                    </a:lnTo>
                    <a:lnTo>
                      <a:pt x="1106" y="119"/>
                    </a:lnTo>
                    <a:lnTo>
                      <a:pt x="1102" y="119"/>
                    </a:lnTo>
                    <a:lnTo>
                      <a:pt x="1103" y="117"/>
                    </a:lnTo>
                    <a:lnTo>
                      <a:pt x="1103" y="114"/>
                    </a:lnTo>
                    <a:lnTo>
                      <a:pt x="1100" y="111"/>
                    </a:lnTo>
                    <a:lnTo>
                      <a:pt x="1098" y="109"/>
                    </a:lnTo>
                    <a:lnTo>
                      <a:pt x="1094" y="107"/>
                    </a:lnTo>
                    <a:lnTo>
                      <a:pt x="1091" y="101"/>
                    </a:lnTo>
                    <a:lnTo>
                      <a:pt x="1091" y="99"/>
                    </a:lnTo>
                    <a:lnTo>
                      <a:pt x="1092" y="97"/>
                    </a:lnTo>
                    <a:lnTo>
                      <a:pt x="1091" y="93"/>
                    </a:lnTo>
                    <a:lnTo>
                      <a:pt x="1092" y="91"/>
                    </a:lnTo>
                    <a:lnTo>
                      <a:pt x="1094" y="93"/>
                    </a:lnTo>
                    <a:lnTo>
                      <a:pt x="1098" y="93"/>
                    </a:lnTo>
                    <a:lnTo>
                      <a:pt x="1098" y="92"/>
                    </a:lnTo>
                    <a:lnTo>
                      <a:pt x="1099" y="90"/>
                    </a:lnTo>
                    <a:lnTo>
                      <a:pt x="1096" y="84"/>
                    </a:lnTo>
                    <a:lnTo>
                      <a:pt x="1096" y="82"/>
                    </a:lnTo>
                    <a:lnTo>
                      <a:pt x="1094" y="79"/>
                    </a:lnTo>
                    <a:lnTo>
                      <a:pt x="1092" y="76"/>
                    </a:lnTo>
                    <a:lnTo>
                      <a:pt x="1086" y="73"/>
                    </a:lnTo>
                    <a:lnTo>
                      <a:pt x="1081" y="68"/>
                    </a:lnTo>
                    <a:lnTo>
                      <a:pt x="1078" y="68"/>
                    </a:lnTo>
                    <a:lnTo>
                      <a:pt x="1073" y="74"/>
                    </a:lnTo>
                    <a:lnTo>
                      <a:pt x="1072" y="76"/>
                    </a:lnTo>
                    <a:lnTo>
                      <a:pt x="1073" y="79"/>
                    </a:lnTo>
                    <a:lnTo>
                      <a:pt x="1072" y="82"/>
                    </a:lnTo>
                    <a:lnTo>
                      <a:pt x="1069" y="84"/>
                    </a:lnTo>
                    <a:lnTo>
                      <a:pt x="1070" y="85"/>
                    </a:lnTo>
                    <a:lnTo>
                      <a:pt x="1068" y="89"/>
                    </a:lnTo>
                    <a:lnTo>
                      <a:pt x="1068" y="90"/>
                    </a:lnTo>
                    <a:lnTo>
                      <a:pt x="1067" y="91"/>
                    </a:lnTo>
                    <a:lnTo>
                      <a:pt x="1064" y="92"/>
                    </a:lnTo>
                    <a:lnTo>
                      <a:pt x="1063" y="89"/>
                    </a:lnTo>
                    <a:lnTo>
                      <a:pt x="1060" y="84"/>
                    </a:lnTo>
                    <a:lnTo>
                      <a:pt x="1061" y="79"/>
                    </a:lnTo>
                    <a:lnTo>
                      <a:pt x="1059" y="73"/>
                    </a:lnTo>
                    <a:lnTo>
                      <a:pt x="1051" y="68"/>
                    </a:lnTo>
                    <a:lnTo>
                      <a:pt x="1053" y="67"/>
                    </a:lnTo>
                    <a:lnTo>
                      <a:pt x="1053" y="68"/>
                    </a:lnTo>
                    <a:lnTo>
                      <a:pt x="1056" y="68"/>
                    </a:lnTo>
                    <a:lnTo>
                      <a:pt x="1058" y="66"/>
                    </a:lnTo>
                    <a:lnTo>
                      <a:pt x="1060" y="65"/>
                    </a:lnTo>
                    <a:lnTo>
                      <a:pt x="1063" y="65"/>
                    </a:lnTo>
                    <a:lnTo>
                      <a:pt x="1060" y="63"/>
                    </a:lnTo>
                    <a:lnTo>
                      <a:pt x="1058" y="63"/>
                    </a:lnTo>
                    <a:lnTo>
                      <a:pt x="1052" y="62"/>
                    </a:lnTo>
                    <a:lnTo>
                      <a:pt x="1049" y="62"/>
                    </a:lnTo>
                    <a:lnTo>
                      <a:pt x="1052" y="60"/>
                    </a:lnTo>
                    <a:lnTo>
                      <a:pt x="1049" y="59"/>
                    </a:lnTo>
                    <a:lnTo>
                      <a:pt x="1047" y="60"/>
                    </a:lnTo>
                    <a:lnTo>
                      <a:pt x="1046" y="62"/>
                    </a:lnTo>
                    <a:lnTo>
                      <a:pt x="1042" y="63"/>
                    </a:lnTo>
                    <a:lnTo>
                      <a:pt x="1040" y="62"/>
                    </a:lnTo>
                    <a:lnTo>
                      <a:pt x="1034" y="58"/>
                    </a:lnTo>
                    <a:lnTo>
                      <a:pt x="1032" y="59"/>
                    </a:lnTo>
                    <a:lnTo>
                      <a:pt x="1029" y="59"/>
                    </a:lnTo>
                    <a:lnTo>
                      <a:pt x="1032" y="58"/>
                    </a:lnTo>
                    <a:lnTo>
                      <a:pt x="1030" y="58"/>
                    </a:lnTo>
                    <a:lnTo>
                      <a:pt x="1038" y="54"/>
                    </a:lnTo>
                    <a:lnTo>
                      <a:pt x="1040" y="51"/>
                    </a:lnTo>
                    <a:lnTo>
                      <a:pt x="1041" y="50"/>
                    </a:lnTo>
                    <a:lnTo>
                      <a:pt x="1038" y="49"/>
                    </a:lnTo>
                    <a:lnTo>
                      <a:pt x="1035" y="49"/>
                    </a:lnTo>
                    <a:lnTo>
                      <a:pt x="1036" y="46"/>
                    </a:lnTo>
                    <a:lnTo>
                      <a:pt x="1039" y="47"/>
                    </a:lnTo>
                    <a:lnTo>
                      <a:pt x="1042" y="48"/>
                    </a:lnTo>
                    <a:lnTo>
                      <a:pt x="1047" y="47"/>
                    </a:lnTo>
                    <a:lnTo>
                      <a:pt x="1043" y="41"/>
                    </a:lnTo>
                    <a:lnTo>
                      <a:pt x="1040" y="43"/>
                    </a:lnTo>
                    <a:lnTo>
                      <a:pt x="1040" y="40"/>
                    </a:lnTo>
                    <a:lnTo>
                      <a:pt x="1038" y="39"/>
                    </a:lnTo>
                    <a:lnTo>
                      <a:pt x="1039" y="36"/>
                    </a:lnTo>
                    <a:lnTo>
                      <a:pt x="1033" y="33"/>
                    </a:lnTo>
                    <a:lnTo>
                      <a:pt x="1030" y="31"/>
                    </a:lnTo>
                    <a:lnTo>
                      <a:pt x="1027" y="30"/>
                    </a:lnTo>
                    <a:lnTo>
                      <a:pt x="1029" y="26"/>
                    </a:lnTo>
                    <a:lnTo>
                      <a:pt x="1029" y="22"/>
                    </a:lnTo>
                    <a:lnTo>
                      <a:pt x="1029" y="19"/>
                    </a:lnTo>
                    <a:lnTo>
                      <a:pt x="1025" y="16"/>
                    </a:lnTo>
                    <a:lnTo>
                      <a:pt x="1024" y="14"/>
                    </a:lnTo>
                    <a:lnTo>
                      <a:pt x="1018" y="12"/>
                    </a:lnTo>
                    <a:lnTo>
                      <a:pt x="1017" y="8"/>
                    </a:lnTo>
                    <a:lnTo>
                      <a:pt x="1014" y="7"/>
                    </a:lnTo>
                    <a:lnTo>
                      <a:pt x="1012" y="7"/>
                    </a:lnTo>
                    <a:lnTo>
                      <a:pt x="1009" y="8"/>
                    </a:lnTo>
                    <a:lnTo>
                      <a:pt x="1008" y="5"/>
                    </a:lnTo>
                    <a:lnTo>
                      <a:pt x="1006" y="7"/>
                    </a:lnTo>
                    <a:lnTo>
                      <a:pt x="1006" y="5"/>
                    </a:lnTo>
                    <a:lnTo>
                      <a:pt x="1007" y="2"/>
                    </a:lnTo>
                    <a:lnTo>
                      <a:pt x="1004" y="0"/>
                    </a:lnTo>
                    <a:lnTo>
                      <a:pt x="998" y="2"/>
                    </a:lnTo>
                    <a:lnTo>
                      <a:pt x="997" y="5"/>
                    </a:lnTo>
                    <a:lnTo>
                      <a:pt x="1002" y="5"/>
                    </a:lnTo>
                    <a:lnTo>
                      <a:pt x="1005" y="4"/>
                    </a:lnTo>
                    <a:lnTo>
                      <a:pt x="1002" y="5"/>
                    </a:lnTo>
                    <a:lnTo>
                      <a:pt x="997" y="5"/>
                    </a:lnTo>
                    <a:lnTo>
                      <a:pt x="995" y="8"/>
                    </a:lnTo>
                    <a:lnTo>
                      <a:pt x="989" y="11"/>
                    </a:lnTo>
                    <a:lnTo>
                      <a:pt x="989" y="13"/>
                    </a:lnTo>
                    <a:lnTo>
                      <a:pt x="991" y="14"/>
                    </a:lnTo>
                    <a:lnTo>
                      <a:pt x="995" y="13"/>
                    </a:lnTo>
                    <a:lnTo>
                      <a:pt x="992" y="16"/>
                    </a:lnTo>
                    <a:lnTo>
                      <a:pt x="992" y="19"/>
                    </a:lnTo>
                    <a:lnTo>
                      <a:pt x="990" y="19"/>
                    </a:lnTo>
                    <a:lnTo>
                      <a:pt x="987" y="15"/>
                    </a:lnTo>
                    <a:lnTo>
                      <a:pt x="983" y="16"/>
                    </a:lnTo>
                    <a:lnTo>
                      <a:pt x="981" y="19"/>
                    </a:lnTo>
                    <a:lnTo>
                      <a:pt x="979" y="26"/>
                    </a:lnTo>
                    <a:lnTo>
                      <a:pt x="978" y="30"/>
                    </a:lnTo>
                    <a:lnTo>
                      <a:pt x="980" y="32"/>
                    </a:lnTo>
                    <a:lnTo>
                      <a:pt x="982" y="34"/>
                    </a:lnTo>
                    <a:lnTo>
                      <a:pt x="984" y="34"/>
                    </a:lnTo>
                    <a:lnTo>
                      <a:pt x="988" y="33"/>
                    </a:lnTo>
                    <a:lnTo>
                      <a:pt x="985" y="36"/>
                    </a:lnTo>
                    <a:lnTo>
                      <a:pt x="988" y="37"/>
                    </a:lnTo>
                    <a:lnTo>
                      <a:pt x="985" y="36"/>
                    </a:lnTo>
                    <a:lnTo>
                      <a:pt x="982" y="37"/>
                    </a:lnTo>
                    <a:lnTo>
                      <a:pt x="981" y="40"/>
                    </a:lnTo>
                    <a:lnTo>
                      <a:pt x="979" y="42"/>
                    </a:lnTo>
                    <a:lnTo>
                      <a:pt x="979" y="45"/>
                    </a:lnTo>
                    <a:lnTo>
                      <a:pt x="979" y="48"/>
                    </a:lnTo>
                    <a:lnTo>
                      <a:pt x="981" y="50"/>
                    </a:lnTo>
                    <a:lnTo>
                      <a:pt x="984" y="51"/>
                    </a:lnTo>
                    <a:lnTo>
                      <a:pt x="984" y="55"/>
                    </a:lnTo>
                    <a:lnTo>
                      <a:pt x="988" y="56"/>
                    </a:lnTo>
                    <a:lnTo>
                      <a:pt x="990" y="56"/>
                    </a:lnTo>
                    <a:lnTo>
                      <a:pt x="992" y="57"/>
                    </a:lnTo>
                    <a:lnTo>
                      <a:pt x="1001" y="60"/>
                    </a:lnTo>
                    <a:lnTo>
                      <a:pt x="1004" y="58"/>
                    </a:lnTo>
                    <a:lnTo>
                      <a:pt x="1007" y="62"/>
                    </a:lnTo>
                    <a:lnTo>
                      <a:pt x="1009" y="64"/>
                    </a:lnTo>
                    <a:lnTo>
                      <a:pt x="1015" y="65"/>
                    </a:lnTo>
                    <a:lnTo>
                      <a:pt x="1017" y="63"/>
                    </a:lnTo>
                    <a:lnTo>
                      <a:pt x="1021" y="63"/>
                    </a:lnTo>
                    <a:lnTo>
                      <a:pt x="1019" y="65"/>
                    </a:lnTo>
                    <a:lnTo>
                      <a:pt x="1022" y="66"/>
                    </a:lnTo>
                    <a:lnTo>
                      <a:pt x="1016" y="71"/>
                    </a:lnTo>
                    <a:lnTo>
                      <a:pt x="1016" y="67"/>
                    </a:lnTo>
                    <a:lnTo>
                      <a:pt x="1018" y="65"/>
                    </a:lnTo>
                    <a:lnTo>
                      <a:pt x="1016" y="66"/>
                    </a:lnTo>
                    <a:lnTo>
                      <a:pt x="1014" y="66"/>
                    </a:lnTo>
                    <a:lnTo>
                      <a:pt x="1010" y="67"/>
                    </a:lnTo>
                    <a:lnTo>
                      <a:pt x="1009" y="70"/>
                    </a:lnTo>
                    <a:lnTo>
                      <a:pt x="1012" y="72"/>
                    </a:lnTo>
                    <a:lnTo>
                      <a:pt x="1010" y="74"/>
                    </a:lnTo>
                    <a:lnTo>
                      <a:pt x="1008" y="76"/>
                    </a:lnTo>
                    <a:lnTo>
                      <a:pt x="1006" y="79"/>
                    </a:lnTo>
                    <a:lnTo>
                      <a:pt x="1006" y="82"/>
                    </a:lnTo>
                    <a:lnTo>
                      <a:pt x="1010" y="81"/>
                    </a:lnTo>
                    <a:lnTo>
                      <a:pt x="1016" y="77"/>
                    </a:lnTo>
                    <a:lnTo>
                      <a:pt x="1013" y="79"/>
                    </a:lnTo>
                    <a:lnTo>
                      <a:pt x="1014" y="76"/>
                    </a:lnTo>
                    <a:lnTo>
                      <a:pt x="1016" y="73"/>
                    </a:lnTo>
                    <a:lnTo>
                      <a:pt x="1018" y="76"/>
                    </a:lnTo>
                    <a:lnTo>
                      <a:pt x="1019" y="79"/>
                    </a:lnTo>
                    <a:lnTo>
                      <a:pt x="1017" y="84"/>
                    </a:lnTo>
                    <a:lnTo>
                      <a:pt x="1019" y="84"/>
                    </a:lnTo>
                    <a:lnTo>
                      <a:pt x="1019" y="85"/>
                    </a:lnTo>
                    <a:lnTo>
                      <a:pt x="1014" y="88"/>
                    </a:lnTo>
                    <a:lnTo>
                      <a:pt x="1012" y="89"/>
                    </a:lnTo>
                    <a:lnTo>
                      <a:pt x="1010" y="92"/>
                    </a:lnTo>
                    <a:lnTo>
                      <a:pt x="1006" y="94"/>
                    </a:lnTo>
                    <a:lnTo>
                      <a:pt x="1002" y="98"/>
                    </a:lnTo>
                    <a:lnTo>
                      <a:pt x="998" y="97"/>
                    </a:lnTo>
                    <a:lnTo>
                      <a:pt x="995" y="97"/>
                    </a:lnTo>
                    <a:lnTo>
                      <a:pt x="992" y="100"/>
                    </a:lnTo>
                    <a:lnTo>
                      <a:pt x="992" y="102"/>
                    </a:lnTo>
                    <a:lnTo>
                      <a:pt x="990" y="106"/>
                    </a:lnTo>
                    <a:lnTo>
                      <a:pt x="993" y="107"/>
                    </a:lnTo>
                    <a:lnTo>
                      <a:pt x="996" y="109"/>
                    </a:lnTo>
                    <a:lnTo>
                      <a:pt x="995" y="113"/>
                    </a:lnTo>
                    <a:lnTo>
                      <a:pt x="997" y="115"/>
                    </a:lnTo>
                    <a:lnTo>
                      <a:pt x="995" y="119"/>
                    </a:lnTo>
                    <a:lnTo>
                      <a:pt x="996" y="123"/>
                    </a:lnTo>
                    <a:lnTo>
                      <a:pt x="991" y="124"/>
                    </a:lnTo>
                    <a:lnTo>
                      <a:pt x="985" y="123"/>
                    </a:lnTo>
                    <a:lnTo>
                      <a:pt x="989" y="128"/>
                    </a:lnTo>
                    <a:lnTo>
                      <a:pt x="989" y="132"/>
                    </a:lnTo>
                    <a:lnTo>
                      <a:pt x="989" y="128"/>
                    </a:lnTo>
                    <a:lnTo>
                      <a:pt x="981" y="122"/>
                    </a:lnTo>
                    <a:lnTo>
                      <a:pt x="983" y="123"/>
                    </a:lnTo>
                    <a:lnTo>
                      <a:pt x="985" y="120"/>
                    </a:lnTo>
                    <a:lnTo>
                      <a:pt x="989" y="123"/>
                    </a:lnTo>
                    <a:lnTo>
                      <a:pt x="991" y="123"/>
                    </a:lnTo>
                    <a:lnTo>
                      <a:pt x="995" y="123"/>
                    </a:lnTo>
                    <a:lnTo>
                      <a:pt x="995" y="119"/>
                    </a:lnTo>
                    <a:lnTo>
                      <a:pt x="993" y="117"/>
                    </a:lnTo>
                    <a:lnTo>
                      <a:pt x="990" y="117"/>
                    </a:lnTo>
                    <a:lnTo>
                      <a:pt x="992" y="115"/>
                    </a:lnTo>
                    <a:lnTo>
                      <a:pt x="990" y="114"/>
                    </a:lnTo>
                    <a:lnTo>
                      <a:pt x="987" y="115"/>
                    </a:lnTo>
                    <a:lnTo>
                      <a:pt x="984" y="116"/>
                    </a:lnTo>
                    <a:lnTo>
                      <a:pt x="984" y="114"/>
                    </a:lnTo>
                    <a:lnTo>
                      <a:pt x="982" y="111"/>
                    </a:lnTo>
                    <a:lnTo>
                      <a:pt x="980" y="109"/>
                    </a:lnTo>
                    <a:lnTo>
                      <a:pt x="983" y="104"/>
                    </a:lnTo>
                    <a:lnTo>
                      <a:pt x="987" y="93"/>
                    </a:lnTo>
                    <a:lnTo>
                      <a:pt x="983" y="93"/>
                    </a:lnTo>
                    <a:lnTo>
                      <a:pt x="981" y="94"/>
                    </a:lnTo>
                    <a:lnTo>
                      <a:pt x="980" y="98"/>
                    </a:lnTo>
                    <a:lnTo>
                      <a:pt x="976" y="98"/>
                    </a:lnTo>
                    <a:lnTo>
                      <a:pt x="980" y="92"/>
                    </a:lnTo>
                    <a:lnTo>
                      <a:pt x="976" y="94"/>
                    </a:lnTo>
                    <a:lnTo>
                      <a:pt x="974" y="92"/>
                    </a:lnTo>
                    <a:lnTo>
                      <a:pt x="972" y="92"/>
                    </a:lnTo>
                    <a:lnTo>
                      <a:pt x="971" y="90"/>
                    </a:lnTo>
                    <a:lnTo>
                      <a:pt x="967" y="88"/>
                    </a:lnTo>
                    <a:lnTo>
                      <a:pt x="965" y="87"/>
                    </a:lnTo>
                    <a:lnTo>
                      <a:pt x="959" y="85"/>
                    </a:lnTo>
                    <a:lnTo>
                      <a:pt x="959" y="90"/>
                    </a:lnTo>
                    <a:lnTo>
                      <a:pt x="955" y="91"/>
                    </a:lnTo>
                    <a:lnTo>
                      <a:pt x="951" y="89"/>
                    </a:lnTo>
                    <a:lnTo>
                      <a:pt x="949" y="90"/>
                    </a:lnTo>
                    <a:lnTo>
                      <a:pt x="951" y="92"/>
                    </a:lnTo>
                    <a:lnTo>
                      <a:pt x="954" y="94"/>
                    </a:lnTo>
                    <a:lnTo>
                      <a:pt x="951" y="94"/>
                    </a:lnTo>
                    <a:lnTo>
                      <a:pt x="953" y="98"/>
                    </a:lnTo>
                    <a:lnTo>
                      <a:pt x="955" y="100"/>
                    </a:lnTo>
                    <a:lnTo>
                      <a:pt x="958" y="100"/>
                    </a:lnTo>
                    <a:lnTo>
                      <a:pt x="964" y="99"/>
                    </a:lnTo>
                    <a:lnTo>
                      <a:pt x="966" y="101"/>
                    </a:lnTo>
                    <a:lnTo>
                      <a:pt x="968" y="100"/>
                    </a:lnTo>
                    <a:lnTo>
                      <a:pt x="971" y="106"/>
                    </a:lnTo>
                    <a:lnTo>
                      <a:pt x="970" y="107"/>
                    </a:lnTo>
                    <a:lnTo>
                      <a:pt x="964" y="108"/>
                    </a:lnTo>
                    <a:lnTo>
                      <a:pt x="958" y="105"/>
                    </a:lnTo>
                    <a:lnTo>
                      <a:pt x="953" y="99"/>
                    </a:lnTo>
                    <a:lnTo>
                      <a:pt x="950" y="97"/>
                    </a:lnTo>
                    <a:lnTo>
                      <a:pt x="949" y="100"/>
                    </a:lnTo>
                    <a:lnTo>
                      <a:pt x="951" y="101"/>
                    </a:lnTo>
                    <a:lnTo>
                      <a:pt x="949" y="105"/>
                    </a:lnTo>
                    <a:lnTo>
                      <a:pt x="946" y="106"/>
                    </a:lnTo>
                    <a:lnTo>
                      <a:pt x="938" y="104"/>
                    </a:lnTo>
                    <a:lnTo>
                      <a:pt x="932" y="102"/>
                    </a:lnTo>
                    <a:lnTo>
                      <a:pt x="931" y="104"/>
                    </a:lnTo>
                    <a:lnTo>
                      <a:pt x="929" y="102"/>
                    </a:lnTo>
                    <a:lnTo>
                      <a:pt x="925" y="102"/>
                    </a:lnTo>
                    <a:lnTo>
                      <a:pt x="923" y="104"/>
                    </a:lnTo>
                    <a:lnTo>
                      <a:pt x="921" y="102"/>
                    </a:lnTo>
                    <a:lnTo>
                      <a:pt x="918" y="105"/>
                    </a:lnTo>
                    <a:lnTo>
                      <a:pt x="915" y="105"/>
                    </a:lnTo>
                    <a:lnTo>
                      <a:pt x="910" y="106"/>
                    </a:lnTo>
                    <a:lnTo>
                      <a:pt x="906" y="106"/>
                    </a:lnTo>
                    <a:lnTo>
                      <a:pt x="904" y="104"/>
                    </a:lnTo>
                    <a:lnTo>
                      <a:pt x="902" y="105"/>
                    </a:lnTo>
                    <a:lnTo>
                      <a:pt x="893" y="102"/>
                    </a:lnTo>
                    <a:lnTo>
                      <a:pt x="890" y="101"/>
                    </a:lnTo>
                    <a:lnTo>
                      <a:pt x="887" y="100"/>
                    </a:lnTo>
                    <a:lnTo>
                      <a:pt x="885" y="97"/>
                    </a:lnTo>
                    <a:lnTo>
                      <a:pt x="879" y="98"/>
                    </a:lnTo>
                    <a:lnTo>
                      <a:pt x="877" y="98"/>
                    </a:lnTo>
                    <a:lnTo>
                      <a:pt x="874" y="98"/>
                    </a:lnTo>
                    <a:lnTo>
                      <a:pt x="871" y="98"/>
                    </a:lnTo>
                    <a:lnTo>
                      <a:pt x="869" y="97"/>
                    </a:lnTo>
                    <a:lnTo>
                      <a:pt x="868" y="94"/>
                    </a:lnTo>
                    <a:lnTo>
                      <a:pt x="865" y="92"/>
                    </a:lnTo>
                    <a:lnTo>
                      <a:pt x="862" y="91"/>
                    </a:lnTo>
                    <a:lnTo>
                      <a:pt x="860" y="91"/>
                    </a:lnTo>
                    <a:lnTo>
                      <a:pt x="857" y="89"/>
                    </a:lnTo>
                    <a:lnTo>
                      <a:pt x="857" y="87"/>
                    </a:lnTo>
                    <a:lnTo>
                      <a:pt x="855" y="83"/>
                    </a:lnTo>
                    <a:lnTo>
                      <a:pt x="855" y="81"/>
                    </a:lnTo>
                    <a:lnTo>
                      <a:pt x="853" y="79"/>
                    </a:lnTo>
                    <a:lnTo>
                      <a:pt x="847" y="76"/>
                    </a:lnTo>
                    <a:lnTo>
                      <a:pt x="842" y="79"/>
                    </a:lnTo>
                    <a:lnTo>
                      <a:pt x="836" y="80"/>
                    </a:lnTo>
                    <a:lnTo>
                      <a:pt x="830" y="82"/>
                    </a:lnTo>
                    <a:lnTo>
                      <a:pt x="825" y="83"/>
                    </a:lnTo>
                    <a:lnTo>
                      <a:pt x="820" y="83"/>
                    </a:lnTo>
                    <a:lnTo>
                      <a:pt x="817" y="84"/>
                    </a:lnTo>
                    <a:lnTo>
                      <a:pt x="812" y="90"/>
                    </a:lnTo>
                    <a:lnTo>
                      <a:pt x="811" y="92"/>
                    </a:lnTo>
                    <a:lnTo>
                      <a:pt x="813" y="92"/>
                    </a:lnTo>
                    <a:lnTo>
                      <a:pt x="817" y="93"/>
                    </a:lnTo>
                    <a:lnTo>
                      <a:pt x="819" y="94"/>
                    </a:lnTo>
                    <a:lnTo>
                      <a:pt x="822" y="94"/>
                    </a:lnTo>
                    <a:lnTo>
                      <a:pt x="825" y="94"/>
                    </a:lnTo>
                    <a:lnTo>
                      <a:pt x="823" y="92"/>
                    </a:lnTo>
                    <a:lnTo>
                      <a:pt x="827" y="91"/>
                    </a:lnTo>
                    <a:lnTo>
                      <a:pt x="829" y="91"/>
                    </a:lnTo>
                    <a:lnTo>
                      <a:pt x="831" y="92"/>
                    </a:lnTo>
                    <a:lnTo>
                      <a:pt x="837" y="90"/>
                    </a:lnTo>
                    <a:lnTo>
                      <a:pt x="839" y="90"/>
                    </a:lnTo>
                    <a:lnTo>
                      <a:pt x="840" y="88"/>
                    </a:lnTo>
                    <a:lnTo>
                      <a:pt x="843" y="87"/>
                    </a:lnTo>
                    <a:lnTo>
                      <a:pt x="848" y="84"/>
                    </a:lnTo>
                    <a:lnTo>
                      <a:pt x="852" y="84"/>
                    </a:lnTo>
                    <a:lnTo>
                      <a:pt x="853" y="87"/>
                    </a:lnTo>
                    <a:lnTo>
                      <a:pt x="851" y="89"/>
                    </a:lnTo>
                    <a:lnTo>
                      <a:pt x="847" y="90"/>
                    </a:lnTo>
                    <a:lnTo>
                      <a:pt x="845" y="90"/>
                    </a:lnTo>
                    <a:lnTo>
                      <a:pt x="843" y="92"/>
                    </a:lnTo>
                    <a:lnTo>
                      <a:pt x="839" y="94"/>
                    </a:lnTo>
                    <a:lnTo>
                      <a:pt x="838" y="97"/>
                    </a:lnTo>
                    <a:lnTo>
                      <a:pt x="834" y="96"/>
                    </a:lnTo>
                    <a:lnTo>
                      <a:pt x="830" y="98"/>
                    </a:lnTo>
                    <a:lnTo>
                      <a:pt x="828" y="97"/>
                    </a:lnTo>
                    <a:lnTo>
                      <a:pt x="825" y="99"/>
                    </a:lnTo>
                    <a:lnTo>
                      <a:pt x="823" y="97"/>
                    </a:lnTo>
                    <a:lnTo>
                      <a:pt x="823" y="99"/>
                    </a:lnTo>
                    <a:lnTo>
                      <a:pt x="826" y="100"/>
                    </a:lnTo>
                    <a:lnTo>
                      <a:pt x="822" y="102"/>
                    </a:lnTo>
                    <a:lnTo>
                      <a:pt x="821" y="105"/>
                    </a:lnTo>
                    <a:lnTo>
                      <a:pt x="826" y="109"/>
                    </a:lnTo>
                    <a:lnTo>
                      <a:pt x="827" y="115"/>
                    </a:lnTo>
                    <a:lnTo>
                      <a:pt x="829" y="118"/>
                    </a:lnTo>
                    <a:lnTo>
                      <a:pt x="831" y="119"/>
                    </a:lnTo>
                    <a:lnTo>
                      <a:pt x="831" y="122"/>
                    </a:lnTo>
                    <a:lnTo>
                      <a:pt x="834" y="125"/>
                    </a:lnTo>
                    <a:lnTo>
                      <a:pt x="830" y="123"/>
                    </a:lnTo>
                    <a:lnTo>
                      <a:pt x="829" y="126"/>
                    </a:lnTo>
                    <a:lnTo>
                      <a:pt x="827" y="125"/>
                    </a:lnTo>
                    <a:lnTo>
                      <a:pt x="828" y="122"/>
                    </a:lnTo>
                    <a:lnTo>
                      <a:pt x="826" y="123"/>
                    </a:lnTo>
                    <a:lnTo>
                      <a:pt x="826" y="125"/>
                    </a:lnTo>
                    <a:lnTo>
                      <a:pt x="826" y="127"/>
                    </a:lnTo>
                    <a:lnTo>
                      <a:pt x="827" y="131"/>
                    </a:lnTo>
                    <a:lnTo>
                      <a:pt x="829" y="133"/>
                    </a:lnTo>
                    <a:lnTo>
                      <a:pt x="833" y="135"/>
                    </a:lnTo>
                    <a:lnTo>
                      <a:pt x="829" y="134"/>
                    </a:lnTo>
                    <a:lnTo>
                      <a:pt x="822" y="126"/>
                    </a:lnTo>
                    <a:lnTo>
                      <a:pt x="819" y="125"/>
                    </a:lnTo>
                    <a:lnTo>
                      <a:pt x="819" y="123"/>
                    </a:lnTo>
                    <a:lnTo>
                      <a:pt x="817" y="122"/>
                    </a:lnTo>
                    <a:lnTo>
                      <a:pt x="814" y="119"/>
                    </a:lnTo>
                    <a:lnTo>
                      <a:pt x="817" y="120"/>
                    </a:lnTo>
                    <a:lnTo>
                      <a:pt x="822" y="120"/>
                    </a:lnTo>
                    <a:lnTo>
                      <a:pt x="823" y="118"/>
                    </a:lnTo>
                    <a:lnTo>
                      <a:pt x="821" y="115"/>
                    </a:lnTo>
                    <a:lnTo>
                      <a:pt x="816" y="111"/>
                    </a:lnTo>
                    <a:lnTo>
                      <a:pt x="814" y="109"/>
                    </a:lnTo>
                    <a:lnTo>
                      <a:pt x="811" y="111"/>
                    </a:lnTo>
                    <a:lnTo>
                      <a:pt x="809" y="111"/>
                    </a:lnTo>
                    <a:lnTo>
                      <a:pt x="808" y="110"/>
                    </a:lnTo>
                    <a:lnTo>
                      <a:pt x="808" y="108"/>
                    </a:lnTo>
                    <a:lnTo>
                      <a:pt x="808" y="105"/>
                    </a:lnTo>
                    <a:lnTo>
                      <a:pt x="802" y="105"/>
                    </a:lnTo>
                    <a:lnTo>
                      <a:pt x="799" y="106"/>
                    </a:lnTo>
                    <a:lnTo>
                      <a:pt x="797" y="102"/>
                    </a:lnTo>
                    <a:lnTo>
                      <a:pt x="795" y="101"/>
                    </a:lnTo>
                    <a:lnTo>
                      <a:pt x="794" y="102"/>
                    </a:lnTo>
                    <a:lnTo>
                      <a:pt x="794" y="99"/>
                    </a:lnTo>
                    <a:lnTo>
                      <a:pt x="788" y="100"/>
                    </a:lnTo>
                    <a:lnTo>
                      <a:pt x="780" y="105"/>
                    </a:lnTo>
                    <a:lnTo>
                      <a:pt x="773" y="105"/>
                    </a:lnTo>
                    <a:lnTo>
                      <a:pt x="769" y="105"/>
                    </a:lnTo>
                    <a:lnTo>
                      <a:pt x="768" y="106"/>
                    </a:lnTo>
                    <a:lnTo>
                      <a:pt x="766" y="105"/>
                    </a:lnTo>
                    <a:lnTo>
                      <a:pt x="763" y="105"/>
                    </a:lnTo>
                    <a:lnTo>
                      <a:pt x="760" y="106"/>
                    </a:lnTo>
                    <a:lnTo>
                      <a:pt x="741" y="106"/>
                    </a:lnTo>
                    <a:lnTo>
                      <a:pt x="739" y="105"/>
                    </a:lnTo>
                    <a:lnTo>
                      <a:pt x="735" y="105"/>
                    </a:lnTo>
                    <a:lnTo>
                      <a:pt x="733" y="104"/>
                    </a:lnTo>
                    <a:lnTo>
                      <a:pt x="729" y="104"/>
                    </a:lnTo>
                    <a:lnTo>
                      <a:pt x="725" y="104"/>
                    </a:lnTo>
                    <a:lnTo>
                      <a:pt x="722" y="101"/>
                    </a:lnTo>
                    <a:lnTo>
                      <a:pt x="719" y="101"/>
                    </a:lnTo>
                    <a:lnTo>
                      <a:pt x="724" y="99"/>
                    </a:lnTo>
                    <a:lnTo>
                      <a:pt x="724" y="96"/>
                    </a:lnTo>
                    <a:lnTo>
                      <a:pt x="726" y="96"/>
                    </a:lnTo>
                    <a:lnTo>
                      <a:pt x="728" y="94"/>
                    </a:lnTo>
                    <a:lnTo>
                      <a:pt x="728" y="93"/>
                    </a:lnTo>
                    <a:lnTo>
                      <a:pt x="733" y="92"/>
                    </a:lnTo>
                    <a:lnTo>
                      <a:pt x="736" y="93"/>
                    </a:lnTo>
                    <a:lnTo>
                      <a:pt x="739" y="93"/>
                    </a:lnTo>
                    <a:lnTo>
                      <a:pt x="740" y="90"/>
                    </a:lnTo>
                    <a:lnTo>
                      <a:pt x="739" y="88"/>
                    </a:lnTo>
                    <a:lnTo>
                      <a:pt x="736" y="85"/>
                    </a:lnTo>
                    <a:lnTo>
                      <a:pt x="728" y="79"/>
                    </a:lnTo>
                    <a:lnTo>
                      <a:pt x="719" y="76"/>
                    </a:lnTo>
                    <a:lnTo>
                      <a:pt x="714" y="75"/>
                    </a:lnTo>
                    <a:lnTo>
                      <a:pt x="711" y="75"/>
                    </a:lnTo>
                    <a:lnTo>
                      <a:pt x="708" y="75"/>
                    </a:lnTo>
                    <a:lnTo>
                      <a:pt x="710" y="79"/>
                    </a:lnTo>
                    <a:lnTo>
                      <a:pt x="705" y="79"/>
                    </a:lnTo>
                    <a:lnTo>
                      <a:pt x="702" y="77"/>
                    </a:lnTo>
                    <a:lnTo>
                      <a:pt x="700" y="76"/>
                    </a:lnTo>
                    <a:lnTo>
                      <a:pt x="697" y="77"/>
                    </a:lnTo>
                    <a:lnTo>
                      <a:pt x="691" y="75"/>
                    </a:lnTo>
                    <a:lnTo>
                      <a:pt x="685" y="75"/>
                    </a:lnTo>
                    <a:lnTo>
                      <a:pt x="677" y="72"/>
                    </a:lnTo>
                    <a:lnTo>
                      <a:pt x="675" y="70"/>
                    </a:lnTo>
                    <a:lnTo>
                      <a:pt x="658" y="66"/>
                    </a:lnTo>
                    <a:lnTo>
                      <a:pt x="655" y="66"/>
                    </a:lnTo>
                    <a:lnTo>
                      <a:pt x="651" y="64"/>
                    </a:lnTo>
                    <a:lnTo>
                      <a:pt x="647" y="60"/>
                    </a:lnTo>
                    <a:lnTo>
                      <a:pt x="638" y="57"/>
                    </a:lnTo>
                    <a:lnTo>
                      <a:pt x="630" y="55"/>
                    </a:lnTo>
                    <a:lnTo>
                      <a:pt x="628" y="56"/>
                    </a:lnTo>
                    <a:lnTo>
                      <a:pt x="624" y="55"/>
                    </a:lnTo>
                    <a:lnTo>
                      <a:pt x="618" y="56"/>
                    </a:lnTo>
                    <a:lnTo>
                      <a:pt x="616" y="55"/>
                    </a:lnTo>
                    <a:lnTo>
                      <a:pt x="615" y="57"/>
                    </a:lnTo>
                    <a:lnTo>
                      <a:pt x="614" y="60"/>
                    </a:lnTo>
                    <a:lnTo>
                      <a:pt x="612" y="63"/>
                    </a:lnTo>
                    <a:lnTo>
                      <a:pt x="611" y="66"/>
                    </a:lnTo>
                    <a:lnTo>
                      <a:pt x="607" y="66"/>
                    </a:lnTo>
                    <a:lnTo>
                      <a:pt x="598" y="66"/>
                    </a:lnTo>
                    <a:lnTo>
                      <a:pt x="596" y="66"/>
                    </a:lnTo>
                    <a:lnTo>
                      <a:pt x="597" y="63"/>
                    </a:lnTo>
                    <a:lnTo>
                      <a:pt x="601" y="57"/>
                    </a:lnTo>
                    <a:lnTo>
                      <a:pt x="596" y="57"/>
                    </a:lnTo>
                    <a:lnTo>
                      <a:pt x="597" y="53"/>
                    </a:lnTo>
                    <a:lnTo>
                      <a:pt x="597" y="48"/>
                    </a:lnTo>
                    <a:lnTo>
                      <a:pt x="594" y="47"/>
                    </a:lnTo>
                    <a:lnTo>
                      <a:pt x="597" y="49"/>
                    </a:lnTo>
                    <a:lnTo>
                      <a:pt x="591" y="49"/>
                    </a:lnTo>
                    <a:lnTo>
                      <a:pt x="586" y="50"/>
                    </a:lnTo>
                    <a:lnTo>
                      <a:pt x="586" y="53"/>
                    </a:lnTo>
                    <a:lnTo>
                      <a:pt x="589" y="50"/>
                    </a:lnTo>
                    <a:lnTo>
                      <a:pt x="594" y="50"/>
                    </a:lnTo>
                    <a:lnTo>
                      <a:pt x="590" y="53"/>
                    </a:lnTo>
                    <a:lnTo>
                      <a:pt x="589" y="55"/>
                    </a:lnTo>
                    <a:lnTo>
                      <a:pt x="586" y="57"/>
                    </a:lnTo>
                    <a:lnTo>
                      <a:pt x="589" y="57"/>
                    </a:lnTo>
                    <a:lnTo>
                      <a:pt x="591" y="57"/>
                    </a:lnTo>
                    <a:lnTo>
                      <a:pt x="589" y="57"/>
                    </a:lnTo>
                    <a:lnTo>
                      <a:pt x="586" y="58"/>
                    </a:lnTo>
                    <a:lnTo>
                      <a:pt x="583" y="60"/>
                    </a:lnTo>
                    <a:lnTo>
                      <a:pt x="586" y="63"/>
                    </a:lnTo>
                    <a:lnTo>
                      <a:pt x="583" y="64"/>
                    </a:lnTo>
                    <a:lnTo>
                      <a:pt x="586" y="66"/>
                    </a:lnTo>
                    <a:lnTo>
                      <a:pt x="582" y="67"/>
                    </a:lnTo>
                    <a:lnTo>
                      <a:pt x="578" y="66"/>
                    </a:lnTo>
                    <a:lnTo>
                      <a:pt x="572" y="63"/>
                    </a:lnTo>
                    <a:lnTo>
                      <a:pt x="566" y="57"/>
                    </a:lnTo>
                    <a:lnTo>
                      <a:pt x="565" y="55"/>
                    </a:lnTo>
                    <a:lnTo>
                      <a:pt x="564" y="53"/>
                    </a:lnTo>
                    <a:lnTo>
                      <a:pt x="560" y="43"/>
                    </a:lnTo>
                    <a:lnTo>
                      <a:pt x="556" y="41"/>
                    </a:lnTo>
                    <a:lnTo>
                      <a:pt x="555" y="40"/>
                    </a:lnTo>
                    <a:lnTo>
                      <a:pt x="548" y="37"/>
                    </a:lnTo>
                    <a:lnTo>
                      <a:pt x="546" y="39"/>
                    </a:lnTo>
                    <a:lnTo>
                      <a:pt x="546" y="41"/>
                    </a:lnTo>
                    <a:lnTo>
                      <a:pt x="549" y="41"/>
                    </a:lnTo>
                    <a:lnTo>
                      <a:pt x="548" y="43"/>
                    </a:lnTo>
                    <a:lnTo>
                      <a:pt x="554" y="45"/>
                    </a:lnTo>
                    <a:lnTo>
                      <a:pt x="546" y="47"/>
                    </a:lnTo>
                    <a:lnTo>
                      <a:pt x="543" y="48"/>
                    </a:lnTo>
                    <a:lnTo>
                      <a:pt x="544" y="50"/>
                    </a:lnTo>
                    <a:lnTo>
                      <a:pt x="543" y="53"/>
                    </a:lnTo>
                    <a:lnTo>
                      <a:pt x="540" y="54"/>
                    </a:lnTo>
                    <a:lnTo>
                      <a:pt x="538" y="56"/>
                    </a:lnTo>
                    <a:lnTo>
                      <a:pt x="535" y="58"/>
                    </a:lnTo>
                    <a:lnTo>
                      <a:pt x="532" y="57"/>
                    </a:lnTo>
                    <a:lnTo>
                      <a:pt x="532" y="55"/>
                    </a:lnTo>
                    <a:lnTo>
                      <a:pt x="534" y="53"/>
                    </a:lnTo>
                    <a:lnTo>
                      <a:pt x="531" y="55"/>
                    </a:lnTo>
                    <a:lnTo>
                      <a:pt x="526" y="55"/>
                    </a:lnTo>
                    <a:lnTo>
                      <a:pt x="515" y="58"/>
                    </a:lnTo>
                    <a:lnTo>
                      <a:pt x="511" y="64"/>
                    </a:lnTo>
                    <a:lnTo>
                      <a:pt x="510" y="66"/>
                    </a:lnTo>
                    <a:lnTo>
                      <a:pt x="507" y="70"/>
                    </a:lnTo>
                    <a:lnTo>
                      <a:pt x="506" y="66"/>
                    </a:lnTo>
                    <a:lnTo>
                      <a:pt x="507" y="64"/>
                    </a:lnTo>
                    <a:lnTo>
                      <a:pt x="505" y="66"/>
                    </a:lnTo>
                    <a:lnTo>
                      <a:pt x="506" y="64"/>
                    </a:lnTo>
                    <a:lnTo>
                      <a:pt x="504" y="62"/>
                    </a:lnTo>
                    <a:lnTo>
                      <a:pt x="505" y="64"/>
                    </a:lnTo>
                    <a:lnTo>
                      <a:pt x="503" y="62"/>
                    </a:lnTo>
                    <a:lnTo>
                      <a:pt x="504" y="64"/>
                    </a:lnTo>
                    <a:lnTo>
                      <a:pt x="502" y="66"/>
                    </a:lnTo>
                    <a:lnTo>
                      <a:pt x="502" y="64"/>
                    </a:lnTo>
                    <a:lnTo>
                      <a:pt x="500" y="66"/>
                    </a:lnTo>
                    <a:lnTo>
                      <a:pt x="500" y="64"/>
                    </a:lnTo>
                    <a:lnTo>
                      <a:pt x="495" y="65"/>
                    </a:lnTo>
                    <a:lnTo>
                      <a:pt x="495" y="67"/>
                    </a:lnTo>
                    <a:lnTo>
                      <a:pt x="492" y="70"/>
                    </a:lnTo>
                    <a:lnTo>
                      <a:pt x="487" y="71"/>
                    </a:lnTo>
                    <a:lnTo>
                      <a:pt x="481" y="74"/>
                    </a:lnTo>
                    <a:lnTo>
                      <a:pt x="481" y="77"/>
                    </a:lnTo>
                    <a:lnTo>
                      <a:pt x="485" y="77"/>
                    </a:lnTo>
                    <a:lnTo>
                      <a:pt x="487" y="79"/>
                    </a:lnTo>
                    <a:lnTo>
                      <a:pt x="485" y="80"/>
                    </a:lnTo>
                    <a:lnTo>
                      <a:pt x="479" y="79"/>
                    </a:lnTo>
                    <a:lnTo>
                      <a:pt x="476" y="81"/>
                    </a:lnTo>
                    <a:lnTo>
                      <a:pt x="479" y="82"/>
                    </a:lnTo>
                    <a:lnTo>
                      <a:pt x="473" y="80"/>
                    </a:lnTo>
                    <a:lnTo>
                      <a:pt x="473" y="77"/>
                    </a:lnTo>
                    <a:lnTo>
                      <a:pt x="476" y="76"/>
                    </a:lnTo>
                    <a:lnTo>
                      <a:pt x="478" y="73"/>
                    </a:lnTo>
                    <a:lnTo>
                      <a:pt x="480" y="74"/>
                    </a:lnTo>
                    <a:lnTo>
                      <a:pt x="481" y="72"/>
                    </a:lnTo>
                    <a:lnTo>
                      <a:pt x="484" y="68"/>
                    </a:lnTo>
                    <a:lnTo>
                      <a:pt x="486" y="70"/>
                    </a:lnTo>
                    <a:lnTo>
                      <a:pt x="489" y="67"/>
                    </a:lnTo>
                    <a:lnTo>
                      <a:pt x="492" y="65"/>
                    </a:lnTo>
                    <a:lnTo>
                      <a:pt x="493" y="62"/>
                    </a:lnTo>
                    <a:lnTo>
                      <a:pt x="496" y="62"/>
                    </a:lnTo>
                    <a:lnTo>
                      <a:pt x="502" y="62"/>
                    </a:lnTo>
                    <a:lnTo>
                      <a:pt x="504" y="60"/>
                    </a:lnTo>
                    <a:lnTo>
                      <a:pt x="506" y="60"/>
                    </a:lnTo>
                    <a:lnTo>
                      <a:pt x="510" y="58"/>
                    </a:lnTo>
                    <a:lnTo>
                      <a:pt x="512" y="58"/>
                    </a:lnTo>
                    <a:lnTo>
                      <a:pt x="515" y="56"/>
                    </a:lnTo>
                    <a:lnTo>
                      <a:pt x="527" y="50"/>
                    </a:lnTo>
                    <a:lnTo>
                      <a:pt x="528" y="48"/>
                    </a:lnTo>
                    <a:lnTo>
                      <a:pt x="526" y="46"/>
                    </a:lnTo>
                    <a:lnTo>
                      <a:pt x="520" y="49"/>
                    </a:lnTo>
                    <a:lnTo>
                      <a:pt x="518" y="49"/>
                    </a:lnTo>
                    <a:lnTo>
                      <a:pt x="515" y="48"/>
                    </a:lnTo>
                    <a:lnTo>
                      <a:pt x="512" y="48"/>
                    </a:lnTo>
                    <a:lnTo>
                      <a:pt x="510" y="48"/>
                    </a:lnTo>
                    <a:lnTo>
                      <a:pt x="506" y="50"/>
                    </a:lnTo>
                    <a:lnTo>
                      <a:pt x="506" y="53"/>
                    </a:lnTo>
                    <a:lnTo>
                      <a:pt x="504" y="55"/>
                    </a:lnTo>
                    <a:lnTo>
                      <a:pt x="503" y="53"/>
                    </a:lnTo>
                    <a:lnTo>
                      <a:pt x="497" y="55"/>
                    </a:lnTo>
                    <a:lnTo>
                      <a:pt x="495" y="56"/>
                    </a:lnTo>
                    <a:lnTo>
                      <a:pt x="492" y="57"/>
                    </a:lnTo>
                    <a:lnTo>
                      <a:pt x="489" y="58"/>
                    </a:lnTo>
                    <a:lnTo>
                      <a:pt x="487" y="57"/>
                    </a:lnTo>
                    <a:lnTo>
                      <a:pt x="489" y="56"/>
                    </a:lnTo>
                    <a:lnTo>
                      <a:pt x="486" y="57"/>
                    </a:lnTo>
                    <a:lnTo>
                      <a:pt x="487" y="59"/>
                    </a:lnTo>
                    <a:lnTo>
                      <a:pt x="481" y="59"/>
                    </a:lnTo>
                    <a:lnTo>
                      <a:pt x="478" y="65"/>
                    </a:lnTo>
                    <a:lnTo>
                      <a:pt x="472" y="65"/>
                    </a:lnTo>
                    <a:lnTo>
                      <a:pt x="469" y="67"/>
                    </a:lnTo>
                    <a:lnTo>
                      <a:pt x="467" y="68"/>
                    </a:lnTo>
                    <a:lnTo>
                      <a:pt x="463" y="68"/>
                    </a:lnTo>
                    <a:lnTo>
                      <a:pt x="461" y="71"/>
                    </a:lnTo>
                    <a:lnTo>
                      <a:pt x="459" y="72"/>
                    </a:lnTo>
                    <a:lnTo>
                      <a:pt x="459" y="72"/>
                    </a:lnTo>
                    <a:lnTo>
                      <a:pt x="462" y="70"/>
                    </a:lnTo>
                    <a:lnTo>
                      <a:pt x="464" y="66"/>
                    </a:lnTo>
                    <a:lnTo>
                      <a:pt x="468" y="65"/>
                    </a:lnTo>
                    <a:lnTo>
                      <a:pt x="469" y="62"/>
                    </a:lnTo>
                    <a:lnTo>
                      <a:pt x="467" y="63"/>
                    </a:lnTo>
                    <a:lnTo>
                      <a:pt x="463" y="62"/>
                    </a:lnTo>
                    <a:lnTo>
                      <a:pt x="463" y="58"/>
                    </a:lnTo>
                    <a:lnTo>
                      <a:pt x="460" y="57"/>
                    </a:lnTo>
                    <a:lnTo>
                      <a:pt x="460" y="60"/>
                    </a:lnTo>
                    <a:lnTo>
                      <a:pt x="458" y="63"/>
                    </a:lnTo>
                    <a:lnTo>
                      <a:pt x="455" y="64"/>
                    </a:lnTo>
                    <a:lnTo>
                      <a:pt x="452" y="64"/>
                    </a:lnTo>
                    <a:lnTo>
                      <a:pt x="451" y="63"/>
                    </a:lnTo>
                    <a:lnTo>
                      <a:pt x="449" y="64"/>
                    </a:lnTo>
                    <a:lnTo>
                      <a:pt x="449" y="67"/>
                    </a:lnTo>
                    <a:lnTo>
                      <a:pt x="450" y="68"/>
                    </a:lnTo>
                    <a:lnTo>
                      <a:pt x="446" y="67"/>
                    </a:lnTo>
                    <a:lnTo>
                      <a:pt x="444" y="66"/>
                    </a:lnTo>
                    <a:lnTo>
                      <a:pt x="444" y="70"/>
                    </a:lnTo>
                    <a:lnTo>
                      <a:pt x="442" y="67"/>
                    </a:lnTo>
                    <a:lnTo>
                      <a:pt x="442" y="70"/>
                    </a:lnTo>
                    <a:lnTo>
                      <a:pt x="445" y="72"/>
                    </a:lnTo>
                    <a:lnTo>
                      <a:pt x="442" y="71"/>
                    </a:lnTo>
                    <a:lnTo>
                      <a:pt x="440" y="70"/>
                    </a:lnTo>
                    <a:lnTo>
                      <a:pt x="440" y="72"/>
                    </a:lnTo>
                    <a:lnTo>
                      <a:pt x="442" y="74"/>
                    </a:lnTo>
                    <a:lnTo>
                      <a:pt x="444" y="74"/>
                    </a:lnTo>
                    <a:lnTo>
                      <a:pt x="445" y="74"/>
                    </a:lnTo>
                    <a:lnTo>
                      <a:pt x="442" y="75"/>
                    </a:lnTo>
                    <a:lnTo>
                      <a:pt x="441" y="75"/>
                    </a:lnTo>
                    <a:lnTo>
                      <a:pt x="440" y="75"/>
                    </a:lnTo>
                    <a:lnTo>
                      <a:pt x="442" y="77"/>
                    </a:lnTo>
                    <a:lnTo>
                      <a:pt x="445" y="77"/>
                    </a:lnTo>
                    <a:lnTo>
                      <a:pt x="446" y="75"/>
                    </a:lnTo>
                    <a:lnTo>
                      <a:pt x="449" y="76"/>
                    </a:lnTo>
                    <a:lnTo>
                      <a:pt x="451" y="77"/>
                    </a:lnTo>
                    <a:lnTo>
                      <a:pt x="454" y="75"/>
                    </a:lnTo>
                    <a:lnTo>
                      <a:pt x="454" y="75"/>
                    </a:lnTo>
                    <a:lnTo>
                      <a:pt x="455" y="75"/>
                    </a:lnTo>
                    <a:lnTo>
                      <a:pt x="458" y="79"/>
                    </a:lnTo>
                    <a:lnTo>
                      <a:pt x="459" y="81"/>
                    </a:lnTo>
                    <a:lnTo>
                      <a:pt x="462" y="82"/>
                    </a:lnTo>
                    <a:lnTo>
                      <a:pt x="460" y="80"/>
                    </a:lnTo>
                    <a:lnTo>
                      <a:pt x="458" y="76"/>
                    </a:lnTo>
                    <a:lnTo>
                      <a:pt x="456" y="74"/>
                    </a:lnTo>
                    <a:lnTo>
                      <a:pt x="459" y="73"/>
                    </a:lnTo>
                    <a:lnTo>
                      <a:pt x="458" y="75"/>
                    </a:lnTo>
                    <a:lnTo>
                      <a:pt x="462" y="82"/>
                    </a:lnTo>
                    <a:lnTo>
                      <a:pt x="462" y="83"/>
                    </a:lnTo>
                    <a:lnTo>
                      <a:pt x="459" y="81"/>
                    </a:lnTo>
                    <a:lnTo>
                      <a:pt x="456" y="79"/>
                    </a:lnTo>
                    <a:lnTo>
                      <a:pt x="454" y="76"/>
                    </a:lnTo>
                    <a:lnTo>
                      <a:pt x="451" y="77"/>
                    </a:lnTo>
                    <a:lnTo>
                      <a:pt x="449" y="76"/>
                    </a:lnTo>
                    <a:lnTo>
                      <a:pt x="446" y="79"/>
                    </a:lnTo>
                    <a:lnTo>
                      <a:pt x="447" y="81"/>
                    </a:lnTo>
                    <a:lnTo>
                      <a:pt x="450" y="83"/>
                    </a:lnTo>
                    <a:lnTo>
                      <a:pt x="449" y="83"/>
                    </a:lnTo>
                    <a:lnTo>
                      <a:pt x="449" y="82"/>
                    </a:lnTo>
                    <a:lnTo>
                      <a:pt x="443" y="81"/>
                    </a:lnTo>
                    <a:lnTo>
                      <a:pt x="441" y="79"/>
                    </a:lnTo>
                    <a:lnTo>
                      <a:pt x="436" y="77"/>
                    </a:lnTo>
                    <a:lnTo>
                      <a:pt x="433" y="77"/>
                    </a:lnTo>
                    <a:lnTo>
                      <a:pt x="433" y="77"/>
                    </a:lnTo>
                    <a:lnTo>
                      <a:pt x="429" y="77"/>
                    </a:lnTo>
                    <a:lnTo>
                      <a:pt x="427" y="77"/>
                    </a:lnTo>
                    <a:lnTo>
                      <a:pt x="424" y="76"/>
                    </a:lnTo>
                    <a:lnTo>
                      <a:pt x="421" y="76"/>
                    </a:lnTo>
                    <a:lnTo>
                      <a:pt x="419" y="74"/>
                    </a:lnTo>
                    <a:lnTo>
                      <a:pt x="410" y="72"/>
                    </a:lnTo>
                    <a:lnTo>
                      <a:pt x="404" y="70"/>
                    </a:lnTo>
                    <a:lnTo>
                      <a:pt x="402" y="70"/>
                    </a:lnTo>
                    <a:lnTo>
                      <a:pt x="400" y="66"/>
                    </a:lnTo>
                    <a:lnTo>
                      <a:pt x="398" y="65"/>
                    </a:lnTo>
                    <a:lnTo>
                      <a:pt x="394" y="63"/>
                    </a:lnTo>
                    <a:lnTo>
                      <a:pt x="386" y="60"/>
                    </a:lnTo>
                    <a:lnTo>
                      <a:pt x="384" y="60"/>
                    </a:lnTo>
                    <a:lnTo>
                      <a:pt x="378" y="60"/>
                    </a:lnTo>
                    <a:lnTo>
                      <a:pt x="369" y="59"/>
                    </a:lnTo>
                    <a:lnTo>
                      <a:pt x="369" y="59"/>
                    </a:lnTo>
                    <a:lnTo>
                      <a:pt x="366" y="59"/>
                    </a:lnTo>
                    <a:lnTo>
                      <a:pt x="366" y="59"/>
                    </a:lnTo>
                    <a:lnTo>
                      <a:pt x="364" y="58"/>
                    </a:lnTo>
                    <a:lnTo>
                      <a:pt x="360" y="56"/>
                    </a:lnTo>
                    <a:lnTo>
                      <a:pt x="357" y="55"/>
                    </a:lnTo>
                    <a:lnTo>
                      <a:pt x="357" y="56"/>
                    </a:lnTo>
                    <a:lnTo>
                      <a:pt x="349" y="51"/>
                    </a:lnTo>
                    <a:lnTo>
                      <a:pt x="348" y="50"/>
                    </a:lnTo>
                    <a:lnTo>
                      <a:pt x="344" y="49"/>
                    </a:lnTo>
                    <a:lnTo>
                      <a:pt x="339" y="48"/>
                    </a:lnTo>
                    <a:lnTo>
                      <a:pt x="331" y="49"/>
                    </a:lnTo>
                    <a:lnTo>
                      <a:pt x="328" y="50"/>
                    </a:lnTo>
                    <a:lnTo>
                      <a:pt x="327" y="49"/>
                    </a:lnTo>
                    <a:lnTo>
                      <a:pt x="324" y="49"/>
                    </a:lnTo>
                    <a:lnTo>
                      <a:pt x="321" y="51"/>
                    </a:lnTo>
                    <a:lnTo>
                      <a:pt x="315" y="51"/>
                    </a:lnTo>
                    <a:lnTo>
                      <a:pt x="312" y="50"/>
                    </a:lnTo>
                    <a:lnTo>
                      <a:pt x="309" y="49"/>
                    </a:lnTo>
                    <a:lnTo>
                      <a:pt x="307" y="49"/>
                    </a:lnTo>
                    <a:lnTo>
                      <a:pt x="305" y="47"/>
                    </a:lnTo>
                    <a:lnTo>
                      <a:pt x="296" y="46"/>
                    </a:lnTo>
                    <a:lnTo>
                      <a:pt x="290" y="46"/>
                    </a:lnTo>
                    <a:lnTo>
                      <a:pt x="288" y="47"/>
                    </a:lnTo>
                    <a:lnTo>
                      <a:pt x="280" y="46"/>
                    </a:lnTo>
                    <a:lnTo>
                      <a:pt x="276" y="45"/>
                    </a:lnTo>
                    <a:lnTo>
                      <a:pt x="275" y="43"/>
                    </a:lnTo>
                    <a:lnTo>
                      <a:pt x="273" y="42"/>
                    </a:lnTo>
                    <a:lnTo>
                      <a:pt x="272" y="42"/>
                    </a:lnTo>
                    <a:lnTo>
                      <a:pt x="268" y="43"/>
                    </a:lnTo>
                    <a:lnTo>
                      <a:pt x="266" y="41"/>
                    </a:lnTo>
                    <a:lnTo>
                      <a:pt x="264" y="40"/>
                    </a:lnTo>
                    <a:lnTo>
                      <a:pt x="261" y="40"/>
                    </a:lnTo>
                    <a:lnTo>
                      <a:pt x="258" y="39"/>
                    </a:lnTo>
                    <a:lnTo>
                      <a:pt x="255" y="39"/>
                    </a:lnTo>
                    <a:lnTo>
                      <a:pt x="253" y="38"/>
                    </a:lnTo>
                    <a:lnTo>
                      <a:pt x="247" y="39"/>
                    </a:lnTo>
                    <a:lnTo>
                      <a:pt x="244" y="40"/>
                    </a:lnTo>
                    <a:lnTo>
                      <a:pt x="241" y="40"/>
                    </a:lnTo>
                    <a:lnTo>
                      <a:pt x="239" y="38"/>
                    </a:lnTo>
                    <a:lnTo>
                      <a:pt x="231" y="40"/>
                    </a:lnTo>
                    <a:lnTo>
                      <a:pt x="230" y="41"/>
                    </a:lnTo>
                    <a:lnTo>
                      <a:pt x="225" y="40"/>
                    </a:lnTo>
                    <a:lnTo>
                      <a:pt x="220" y="40"/>
                    </a:lnTo>
                    <a:lnTo>
                      <a:pt x="222" y="37"/>
                    </a:lnTo>
                    <a:lnTo>
                      <a:pt x="219" y="37"/>
                    </a:lnTo>
                    <a:lnTo>
                      <a:pt x="216" y="37"/>
                    </a:lnTo>
                    <a:lnTo>
                      <a:pt x="211" y="37"/>
                    </a:lnTo>
                    <a:lnTo>
                      <a:pt x="216" y="36"/>
                    </a:lnTo>
                    <a:lnTo>
                      <a:pt x="213" y="36"/>
                    </a:lnTo>
                    <a:lnTo>
                      <a:pt x="214" y="32"/>
                    </a:lnTo>
                    <a:lnTo>
                      <a:pt x="215" y="30"/>
                    </a:lnTo>
                    <a:lnTo>
                      <a:pt x="213" y="29"/>
                    </a:lnTo>
                    <a:lnTo>
                      <a:pt x="211" y="30"/>
                    </a:lnTo>
                    <a:lnTo>
                      <a:pt x="207" y="30"/>
                    </a:lnTo>
                    <a:lnTo>
                      <a:pt x="202" y="28"/>
                    </a:lnTo>
                    <a:lnTo>
                      <a:pt x="199" y="29"/>
                    </a:lnTo>
                    <a:lnTo>
                      <a:pt x="194" y="29"/>
                    </a:lnTo>
                    <a:lnTo>
                      <a:pt x="190" y="31"/>
                    </a:lnTo>
                    <a:lnTo>
                      <a:pt x="185" y="30"/>
                    </a:lnTo>
                    <a:lnTo>
                      <a:pt x="182" y="28"/>
                    </a:lnTo>
                    <a:lnTo>
                      <a:pt x="184" y="25"/>
                    </a:lnTo>
                    <a:lnTo>
                      <a:pt x="180" y="23"/>
                    </a:lnTo>
                    <a:lnTo>
                      <a:pt x="178" y="25"/>
                    </a:lnTo>
                    <a:lnTo>
                      <a:pt x="176" y="23"/>
                    </a:lnTo>
                    <a:lnTo>
                      <a:pt x="171" y="28"/>
                    </a:lnTo>
                    <a:lnTo>
                      <a:pt x="170" y="30"/>
                    </a:lnTo>
                    <a:lnTo>
                      <a:pt x="164" y="30"/>
                    </a:lnTo>
                    <a:lnTo>
                      <a:pt x="165" y="30"/>
                    </a:lnTo>
                    <a:lnTo>
                      <a:pt x="162" y="28"/>
                    </a:lnTo>
                    <a:lnTo>
                      <a:pt x="165" y="26"/>
                    </a:lnTo>
                    <a:lnTo>
                      <a:pt x="168" y="26"/>
                    </a:lnTo>
                    <a:lnTo>
                      <a:pt x="171" y="23"/>
                    </a:lnTo>
                    <a:lnTo>
                      <a:pt x="168" y="21"/>
                    </a:lnTo>
                    <a:lnTo>
                      <a:pt x="157" y="19"/>
                    </a:lnTo>
                    <a:lnTo>
                      <a:pt x="159" y="16"/>
                    </a:lnTo>
                    <a:lnTo>
                      <a:pt x="153" y="19"/>
                    </a:lnTo>
                    <a:lnTo>
                      <a:pt x="151" y="21"/>
                    </a:lnTo>
                    <a:lnTo>
                      <a:pt x="148" y="24"/>
                    </a:lnTo>
                    <a:lnTo>
                      <a:pt x="144" y="26"/>
                    </a:lnTo>
                    <a:lnTo>
                      <a:pt x="139" y="29"/>
                    </a:lnTo>
                    <a:lnTo>
                      <a:pt x="137" y="30"/>
                    </a:lnTo>
                    <a:lnTo>
                      <a:pt x="123" y="31"/>
                    </a:lnTo>
                    <a:lnTo>
                      <a:pt x="120" y="32"/>
                    </a:lnTo>
                    <a:lnTo>
                      <a:pt x="118" y="31"/>
                    </a:lnTo>
                    <a:lnTo>
                      <a:pt x="120" y="29"/>
                    </a:lnTo>
                    <a:lnTo>
                      <a:pt x="116" y="31"/>
                    </a:lnTo>
                    <a:lnTo>
                      <a:pt x="110" y="34"/>
                    </a:lnTo>
                    <a:lnTo>
                      <a:pt x="110" y="36"/>
                    </a:lnTo>
                    <a:lnTo>
                      <a:pt x="112" y="37"/>
                    </a:lnTo>
                    <a:lnTo>
                      <a:pt x="118" y="39"/>
                    </a:lnTo>
                    <a:lnTo>
                      <a:pt x="112" y="39"/>
                    </a:lnTo>
                    <a:lnTo>
                      <a:pt x="111" y="42"/>
                    </a:lnTo>
                    <a:lnTo>
                      <a:pt x="112" y="45"/>
                    </a:lnTo>
                    <a:lnTo>
                      <a:pt x="110" y="42"/>
                    </a:lnTo>
                    <a:lnTo>
                      <a:pt x="108" y="42"/>
                    </a:lnTo>
                    <a:lnTo>
                      <a:pt x="110" y="40"/>
                    </a:lnTo>
                    <a:lnTo>
                      <a:pt x="110" y="39"/>
                    </a:lnTo>
                    <a:lnTo>
                      <a:pt x="106" y="39"/>
                    </a:lnTo>
                    <a:lnTo>
                      <a:pt x="110" y="38"/>
                    </a:lnTo>
                    <a:lnTo>
                      <a:pt x="110" y="36"/>
                    </a:lnTo>
                    <a:lnTo>
                      <a:pt x="108" y="36"/>
                    </a:lnTo>
                    <a:lnTo>
                      <a:pt x="96" y="43"/>
                    </a:lnTo>
                    <a:lnTo>
                      <a:pt x="93" y="43"/>
                    </a:lnTo>
                    <a:lnTo>
                      <a:pt x="88" y="45"/>
                    </a:lnTo>
                    <a:lnTo>
                      <a:pt x="85" y="46"/>
                    </a:lnTo>
                    <a:lnTo>
                      <a:pt x="83" y="46"/>
                    </a:lnTo>
                    <a:lnTo>
                      <a:pt x="85" y="45"/>
                    </a:lnTo>
                    <a:lnTo>
                      <a:pt x="86" y="43"/>
                    </a:lnTo>
                    <a:lnTo>
                      <a:pt x="83" y="43"/>
                    </a:lnTo>
                    <a:lnTo>
                      <a:pt x="80" y="46"/>
                    </a:lnTo>
                    <a:lnTo>
                      <a:pt x="77" y="48"/>
                    </a:lnTo>
                    <a:lnTo>
                      <a:pt x="76" y="51"/>
                    </a:lnTo>
                    <a:lnTo>
                      <a:pt x="70" y="56"/>
                    </a:lnTo>
                    <a:lnTo>
                      <a:pt x="69" y="58"/>
                    </a:lnTo>
                    <a:lnTo>
                      <a:pt x="68" y="59"/>
                    </a:lnTo>
                    <a:lnTo>
                      <a:pt x="67" y="60"/>
                    </a:lnTo>
                    <a:lnTo>
                      <a:pt x="67" y="63"/>
                    </a:lnTo>
                    <a:lnTo>
                      <a:pt x="66" y="66"/>
                    </a:lnTo>
                    <a:lnTo>
                      <a:pt x="61" y="72"/>
                    </a:lnTo>
                    <a:lnTo>
                      <a:pt x="56" y="75"/>
                    </a:lnTo>
                    <a:lnTo>
                      <a:pt x="53" y="76"/>
                    </a:lnTo>
                    <a:lnTo>
                      <a:pt x="49" y="76"/>
                    </a:lnTo>
                    <a:lnTo>
                      <a:pt x="33" y="79"/>
                    </a:lnTo>
                    <a:lnTo>
                      <a:pt x="27" y="77"/>
                    </a:lnTo>
                    <a:lnTo>
                      <a:pt x="24" y="79"/>
                    </a:lnTo>
                    <a:lnTo>
                      <a:pt x="25" y="81"/>
                    </a:lnTo>
                    <a:lnTo>
                      <a:pt x="23" y="89"/>
                    </a:lnTo>
                    <a:lnTo>
                      <a:pt x="19" y="90"/>
                    </a:lnTo>
                    <a:lnTo>
                      <a:pt x="18" y="90"/>
                    </a:lnTo>
                    <a:lnTo>
                      <a:pt x="18" y="91"/>
                    </a:lnTo>
                    <a:lnTo>
                      <a:pt x="20" y="91"/>
                    </a:lnTo>
                    <a:lnTo>
                      <a:pt x="24" y="92"/>
                    </a:lnTo>
                    <a:lnTo>
                      <a:pt x="26" y="93"/>
                    </a:lnTo>
                    <a:lnTo>
                      <a:pt x="28" y="96"/>
                    </a:lnTo>
                    <a:lnTo>
                      <a:pt x="32" y="97"/>
                    </a:lnTo>
                    <a:lnTo>
                      <a:pt x="36" y="98"/>
                    </a:lnTo>
                    <a:lnTo>
                      <a:pt x="42" y="101"/>
                    </a:lnTo>
                    <a:lnTo>
                      <a:pt x="45" y="104"/>
                    </a:lnTo>
                    <a:lnTo>
                      <a:pt x="45" y="104"/>
                    </a:lnTo>
                    <a:lnTo>
                      <a:pt x="54" y="108"/>
                    </a:lnTo>
                    <a:lnTo>
                      <a:pt x="58" y="114"/>
                    </a:lnTo>
                    <a:lnTo>
                      <a:pt x="59" y="119"/>
                    </a:lnTo>
                    <a:lnTo>
                      <a:pt x="67" y="120"/>
                    </a:lnTo>
                    <a:lnTo>
                      <a:pt x="72" y="120"/>
                    </a:lnTo>
                    <a:lnTo>
                      <a:pt x="72" y="122"/>
                    </a:lnTo>
                    <a:lnTo>
                      <a:pt x="76" y="120"/>
                    </a:lnTo>
                    <a:lnTo>
                      <a:pt x="76" y="118"/>
                    </a:lnTo>
                    <a:lnTo>
                      <a:pt x="78" y="120"/>
                    </a:lnTo>
                    <a:lnTo>
                      <a:pt x="80" y="122"/>
                    </a:lnTo>
                    <a:lnTo>
                      <a:pt x="84" y="120"/>
                    </a:lnTo>
                    <a:lnTo>
                      <a:pt x="86" y="122"/>
                    </a:lnTo>
                    <a:lnTo>
                      <a:pt x="89" y="123"/>
                    </a:lnTo>
                    <a:lnTo>
                      <a:pt x="86" y="123"/>
                    </a:lnTo>
                    <a:lnTo>
                      <a:pt x="84" y="126"/>
                    </a:lnTo>
                    <a:lnTo>
                      <a:pt x="85" y="130"/>
                    </a:lnTo>
                    <a:lnTo>
                      <a:pt x="88" y="132"/>
                    </a:lnTo>
                    <a:lnTo>
                      <a:pt x="92" y="133"/>
                    </a:lnTo>
                    <a:lnTo>
                      <a:pt x="94" y="130"/>
                    </a:lnTo>
                    <a:lnTo>
                      <a:pt x="97" y="130"/>
                    </a:lnTo>
                    <a:lnTo>
                      <a:pt x="100" y="131"/>
                    </a:lnTo>
                    <a:lnTo>
                      <a:pt x="105" y="131"/>
                    </a:lnTo>
                    <a:lnTo>
                      <a:pt x="106" y="133"/>
                    </a:lnTo>
                    <a:lnTo>
                      <a:pt x="105" y="135"/>
                    </a:lnTo>
                    <a:lnTo>
                      <a:pt x="100" y="136"/>
                    </a:lnTo>
                    <a:lnTo>
                      <a:pt x="97" y="135"/>
                    </a:lnTo>
                    <a:lnTo>
                      <a:pt x="94" y="134"/>
                    </a:lnTo>
                    <a:lnTo>
                      <a:pt x="92" y="133"/>
                    </a:lnTo>
                    <a:lnTo>
                      <a:pt x="89" y="134"/>
                    </a:lnTo>
                    <a:lnTo>
                      <a:pt x="86" y="134"/>
                    </a:lnTo>
                    <a:lnTo>
                      <a:pt x="84" y="132"/>
                    </a:lnTo>
                    <a:lnTo>
                      <a:pt x="82" y="130"/>
                    </a:lnTo>
                    <a:lnTo>
                      <a:pt x="82" y="127"/>
                    </a:lnTo>
                    <a:lnTo>
                      <a:pt x="79" y="125"/>
                    </a:lnTo>
                    <a:lnTo>
                      <a:pt x="76" y="124"/>
                    </a:lnTo>
                    <a:lnTo>
                      <a:pt x="74" y="125"/>
                    </a:lnTo>
                    <a:lnTo>
                      <a:pt x="76" y="128"/>
                    </a:lnTo>
                    <a:lnTo>
                      <a:pt x="78" y="128"/>
                    </a:lnTo>
                    <a:lnTo>
                      <a:pt x="84" y="134"/>
                    </a:lnTo>
                    <a:lnTo>
                      <a:pt x="84" y="136"/>
                    </a:lnTo>
                    <a:lnTo>
                      <a:pt x="87" y="135"/>
                    </a:lnTo>
                    <a:lnTo>
                      <a:pt x="93" y="136"/>
                    </a:lnTo>
                    <a:lnTo>
                      <a:pt x="95" y="139"/>
                    </a:lnTo>
                    <a:lnTo>
                      <a:pt x="95" y="141"/>
                    </a:lnTo>
                    <a:lnTo>
                      <a:pt x="89" y="139"/>
                    </a:lnTo>
                    <a:lnTo>
                      <a:pt x="87" y="140"/>
                    </a:lnTo>
                    <a:lnTo>
                      <a:pt x="85" y="143"/>
                    </a:lnTo>
                    <a:lnTo>
                      <a:pt x="85" y="143"/>
                    </a:lnTo>
                    <a:lnTo>
                      <a:pt x="83" y="144"/>
                    </a:lnTo>
                    <a:lnTo>
                      <a:pt x="80" y="143"/>
                    </a:lnTo>
                    <a:lnTo>
                      <a:pt x="77" y="144"/>
                    </a:lnTo>
                    <a:lnTo>
                      <a:pt x="75" y="144"/>
                    </a:lnTo>
                    <a:lnTo>
                      <a:pt x="71" y="142"/>
                    </a:lnTo>
                    <a:lnTo>
                      <a:pt x="69" y="142"/>
                    </a:lnTo>
                    <a:lnTo>
                      <a:pt x="67" y="143"/>
                    </a:lnTo>
                    <a:lnTo>
                      <a:pt x="63" y="143"/>
                    </a:lnTo>
                    <a:lnTo>
                      <a:pt x="58" y="143"/>
                    </a:lnTo>
                    <a:lnTo>
                      <a:pt x="56" y="140"/>
                    </a:lnTo>
                    <a:lnTo>
                      <a:pt x="53" y="140"/>
                    </a:lnTo>
                    <a:lnTo>
                      <a:pt x="56" y="140"/>
                    </a:lnTo>
                    <a:lnTo>
                      <a:pt x="58" y="134"/>
                    </a:lnTo>
                    <a:lnTo>
                      <a:pt x="58" y="132"/>
                    </a:lnTo>
                    <a:lnTo>
                      <a:pt x="50" y="132"/>
                    </a:lnTo>
                    <a:lnTo>
                      <a:pt x="48" y="132"/>
                    </a:lnTo>
                    <a:lnTo>
                      <a:pt x="42" y="134"/>
                    </a:lnTo>
                    <a:lnTo>
                      <a:pt x="36" y="135"/>
                    </a:lnTo>
                    <a:lnTo>
                      <a:pt x="32" y="137"/>
                    </a:lnTo>
                    <a:lnTo>
                      <a:pt x="31" y="140"/>
                    </a:lnTo>
                    <a:lnTo>
                      <a:pt x="34" y="141"/>
                    </a:lnTo>
                    <a:lnTo>
                      <a:pt x="31" y="142"/>
                    </a:lnTo>
                    <a:lnTo>
                      <a:pt x="26" y="141"/>
                    </a:lnTo>
                    <a:lnTo>
                      <a:pt x="23" y="141"/>
                    </a:lnTo>
                    <a:lnTo>
                      <a:pt x="17" y="144"/>
                    </a:lnTo>
                    <a:lnTo>
                      <a:pt x="15" y="147"/>
                    </a:lnTo>
                    <a:lnTo>
                      <a:pt x="12" y="148"/>
                    </a:lnTo>
                    <a:lnTo>
                      <a:pt x="10" y="148"/>
                    </a:lnTo>
                    <a:lnTo>
                      <a:pt x="7" y="149"/>
                    </a:lnTo>
                    <a:lnTo>
                      <a:pt x="6" y="151"/>
                    </a:lnTo>
                    <a:lnTo>
                      <a:pt x="2" y="151"/>
                    </a:lnTo>
                    <a:lnTo>
                      <a:pt x="0" y="153"/>
                    </a:lnTo>
                    <a:lnTo>
                      <a:pt x="0" y="154"/>
                    </a:lnTo>
                    <a:lnTo>
                      <a:pt x="8" y="158"/>
                    </a:lnTo>
                    <a:lnTo>
                      <a:pt x="14" y="159"/>
                    </a:lnTo>
                    <a:lnTo>
                      <a:pt x="16" y="159"/>
                    </a:lnTo>
                    <a:lnTo>
                      <a:pt x="18" y="160"/>
                    </a:lnTo>
                    <a:lnTo>
                      <a:pt x="16" y="159"/>
                    </a:lnTo>
                    <a:lnTo>
                      <a:pt x="24" y="160"/>
                    </a:lnTo>
                    <a:lnTo>
                      <a:pt x="27" y="162"/>
                    </a:lnTo>
                    <a:lnTo>
                      <a:pt x="22" y="162"/>
                    </a:lnTo>
                    <a:lnTo>
                      <a:pt x="19" y="165"/>
                    </a:lnTo>
                    <a:lnTo>
                      <a:pt x="17" y="165"/>
                    </a:lnTo>
                    <a:lnTo>
                      <a:pt x="15" y="162"/>
                    </a:lnTo>
                    <a:lnTo>
                      <a:pt x="16" y="166"/>
                    </a:lnTo>
                    <a:lnTo>
                      <a:pt x="18" y="168"/>
                    </a:lnTo>
                    <a:lnTo>
                      <a:pt x="22" y="170"/>
                    </a:lnTo>
                    <a:lnTo>
                      <a:pt x="20" y="173"/>
                    </a:lnTo>
                    <a:lnTo>
                      <a:pt x="23" y="175"/>
                    </a:lnTo>
                    <a:lnTo>
                      <a:pt x="25" y="176"/>
                    </a:lnTo>
                    <a:lnTo>
                      <a:pt x="36" y="178"/>
                    </a:lnTo>
                    <a:lnTo>
                      <a:pt x="39" y="179"/>
                    </a:lnTo>
                    <a:lnTo>
                      <a:pt x="50" y="177"/>
                    </a:lnTo>
                    <a:lnTo>
                      <a:pt x="59" y="176"/>
                    </a:lnTo>
                    <a:lnTo>
                      <a:pt x="61" y="177"/>
                    </a:lnTo>
                    <a:lnTo>
                      <a:pt x="63" y="178"/>
                    </a:lnTo>
                    <a:lnTo>
                      <a:pt x="67" y="181"/>
                    </a:lnTo>
                    <a:lnTo>
                      <a:pt x="66" y="175"/>
                    </a:lnTo>
                    <a:lnTo>
                      <a:pt x="71" y="179"/>
                    </a:lnTo>
                    <a:lnTo>
                      <a:pt x="74" y="181"/>
                    </a:lnTo>
                    <a:lnTo>
                      <a:pt x="75" y="178"/>
                    </a:lnTo>
                    <a:lnTo>
                      <a:pt x="77" y="176"/>
                    </a:lnTo>
                    <a:lnTo>
                      <a:pt x="80" y="174"/>
                    </a:lnTo>
                    <a:lnTo>
                      <a:pt x="83" y="174"/>
                    </a:lnTo>
                    <a:lnTo>
                      <a:pt x="85" y="171"/>
                    </a:lnTo>
                    <a:lnTo>
                      <a:pt x="88" y="173"/>
                    </a:lnTo>
                    <a:lnTo>
                      <a:pt x="91" y="171"/>
                    </a:lnTo>
                    <a:lnTo>
                      <a:pt x="93" y="169"/>
                    </a:lnTo>
                    <a:lnTo>
                      <a:pt x="96" y="168"/>
                    </a:lnTo>
                    <a:lnTo>
                      <a:pt x="95" y="170"/>
                    </a:lnTo>
                    <a:lnTo>
                      <a:pt x="97" y="171"/>
                    </a:lnTo>
                    <a:lnTo>
                      <a:pt x="99" y="175"/>
                    </a:lnTo>
                    <a:lnTo>
                      <a:pt x="96" y="177"/>
                    </a:lnTo>
                    <a:lnTo>
                      <a:pt x="94" y="178"/>
                    </a:lnTo>
                    <a:lnTo>
                      <a:pt x="91" y="177"/>
                    </a:lnTo>
                    <a:lnTo>
                      <a:pt x="91" y="179"/>
                    </a:lnTo>
                    <a:lnTo>
                      <a:pt x="93" y="181"/>
                    </a:lnTo>
                    <a:lnTo>
                      <a:pt x="96" y="185"/>
                    </a:lnTo>
                    <a:lnTo>
                      <a:pt x="97" y="188"/>
                    </a:lnTo>
                    <a:lnTo>
                      <a:pt x="99" y="191"/>
                    </a:lnTo>
                    <a:lnTo>
                      <a:pt x="99" y="194"/>
                    </a:lnTo>
                    <a:lnTo>
                      <a:pt x="97" y="196"/>
                    </a:lnTo>
                    <a:lnTo>
                      <a:pt x="95" y="199"/>
                    </a:lnTo>
                    <a:lnTo>
                      <a:pt x="92" y="201"/>
                    </a:lnTo>
                    <a:lnTo>
                      <a:pt x="84" y="201"/>
                    </a:lnTo>
                    <a:lnTo>
                      <a:pt x="80" y="200"/>
                    </a:lnTo>
                    <a:lnTo>
                      <a:pt x="78" y="200"/>
                    </a:lnTo>
                    <a:lnTo>
                      <a:pt x="74" y="205"/>
                    </a:lnTo>
                    <a:lnTo>
                      <a:pt x="71" y="207"/>
                    </a:lnTo>
                    <a:lnTo>
                      <a:pt x="68" y="209"/>
                    </a:lnTo>
                    <a:lnTo>
                      <a:pt x="66" y="210"/>
                    </a:lnTo>
                    <a:lnTo>
                      <a:pt x="63" y="210"/>
                    </a:lnTo>
                    <a:lnTo>
                      <a:pt x="60" y="210"/>
                    </a:lnTo>
                    <a:lnTo>
                      <a:pt x="58" y="211"/>
                    </a:lnTo>
                    <a:lnTo>
                      <a:pt x="60" y="209"/>
                    </a:lnTo>
                    <a:lnTo>
                      <a:pt x="59" y="207"/>
                    </a:lnTo>
                    <a:lnTo>
                      <a:pt x="54" y="205"/>
                    </a:lnTo>
                    <a:lnTo>
                      <a:pt x="49" y="207"/>
                    </a:lnTo>
                    <a:lnTo>
                      <a:pt x="48" y="209"/>
                    </a:lnTo>
                    <a:lnTo>
                      <a:pt x="50" y="211"/>
                    </a:lnTo>
                    <a:lnTo>
                      <a:pt x="46" y="210"/>
                    </a:lnTo>
                    <a:lnTo>
                      <a:pt x="44" y="213"/>
                    </a:lnTo>
                    <a:lnTo>
                      <a:pt x="44" y="216"/>
                    </a:lnTo>
                    <a:lnTo>
                      <a:pt x="43" y="216"/>
                    </a:lnTo>
                    <a:lnTo>
                      <a:pt x="45" y="219"/>
                    </a:lnTo>
                    <a:lnTo>
                      <a:pt x="49" y="217"/>
                    </a:lnTo>
                    <a:lnTo>
                      <a:pt x="45" y="219"/>
                    </a:lnTo>
                    <a:lnTo>
                      <a:pt x="44" y="222"/>
                    </a:lnTo>
                    <a:lnTo>
                      <a:pt x="46" y="222"/>
                    </a:lnTo>
                    <a:lnTo>
                      <a:pt x="44" y="222"/>
                    </a:lnTo>
                    <a:lnTo>
                      <a:pt x="42" y="221"/>
                    </a:lnTo>
                    <a:lnTo>
                      <a:pt x="40" y="221"/>
                    </a:lnTo>
                    <a:lnTo>
                      <a:pt x="32" y="230"/>
                    </a:lnTo>
                    <a:lnTo>
                      <a:pt x="31" y="233"/>
                    </a:lnTo>
                    <a:lnTo>
                      <a:pt x="33" y="235"/>
                    </a:lnTo>
                    <a:lnTo>
                      <a:pt x="31" y="236"/>
                    </a:lnTo>
                    <a:lnTo>
                      <a:pt x="28" y="238"/>
                    </a:lnTo>
                    <a:lnTo>
                      <a:pt x="31" y="239"/>
                    </a:lnTo>
                    <a:lnTo>
                      <a:pt x="28" y="239"/>
                    </a:lnTo>
                    <a:lnTo>
                      <a:pt x="25" y="239"/>
                    </a:lnTo>
                    <a:lnTo>
                      <a:pt x="27" y="242"/>
                    </a:lnTo>
                    <a:lnTo>
                      <a:pt x="29" y="244"/>
                    </a:lnTo>
                    <a:lnTo>
                      <a:pt x="29" y="246"/>
                    </a:lnTo>
                    <a:lnTo>
                      <a:pt x="33" y="248"/>
                    </a:lnTo>
                    <a:lnTo>
                      <a:pt x="33" y="251"/>
                    </a:lnTo>
                    <a:lnTo>
                      <a:pt x="36" y="250"/>
                    </a:lnTo>
                    <a:lnTo>
                      <a:pt x="39" y="247"/>
                    </a:lnTo>
                    <a:lnTo>
                      <a:pt x="39" y="244"/>
                    </a:lnTo>
                    <a:lnTo>
                      <a:pt x="44" y="241"/>
                    </a:lnTo>
                    <a:lnTo>
                      <a:pt x="45" y="241"/>
                    </a:lnTo>
                    <a:lnTo>
                      <a:pt x="43" y="243"/>
                    </a:lnTo>
                    <a:lnTo>
                      <a:pt x="41" y="244"/>
                    </a:lnTo>
                    <a:lnTo>
                      <a:pt x="36" y="250"/>
                    </a:lnTo>
                    <a:lnTo>
                      <a:pt x="40" y="248"/>
                    </a:lnTo>
                    <a:lnTo>
                      <a:pt x="40" y="251"/>
                    </a:lnTo>
                    <a:lnTo>
                      <a:pt x="42" y="253"/>
                    </a:lnTo>
                    <a:lnTo>
                      <a:pt x="40" y="255"/>
                    </a:lnTo>
                    <a:lnTo>
                      <a:pt x="43" y="254"/>
                    </a:lnTo>
                    <a:lnTo>
                      <a:pt x="45" y="254"/>
                    </a:lnTo>
                    <a:lnTo>
                      <a:pt x="49" y="256"/>
                    </a:lnTo>
                    <a:lnTo>
                      <a:pt x="54" y="256"/>
                    </a:lnTo>
                    <a:lnTo>
                      <a:pt x="59" y="253"/>
                    </a:lnTo>
                    <a:lnTo>
                      <a:pt x="59" y="256"/>
                    </a:lnTo>
                    <a:lnTo>
                      <a:pt x="57" y="256"/>
                    </a:lnTo>
                    <a:lnTo>
                      <a:pt x="59" y="256"/>
                    </a:lnTo>
                    <a:lnTo>
                      <a:pt x="61" y="258"/>
                    </a:lnTo>
                    <a:lnTo>
                      <a:pt x="62" y="260"/>
                    </a:lnTo>
                    <a:lnTo>
                      <a:pt x="59" y="262"/>
                    </a:lnTo>
                    <a:lnTo>
                      <a:pt x="57" y="261"/>
                    </a:lnTo>
                    <a:lnTo>
                      <a:pt x="57" y="258"/>
                    </a:lnTo>
                    <a:lnTo>
                      <a:pt x="54" y="259"/>
                    </a:lnTo>
                    <a:lnTo>
                      <a:pt x="49" y="262"/>
                    </a:lnTo>
                    <a:lnTo>
                      <a:pt x="51" y="260"/>
                    </a:lnTo>
                    <a:lnTo>
                      <a:pt x="50" y="258"/>
                    </a:lnTo>
                    <a:lnTo>
                      <a:pt x="48" y="258"/>
                    </a:lnTo>
                    <a:lnTo>
                      <a:pt x="44" y="255"/>
                    </a:lnTo>
                    <a:lnTo>
                      <a:pt x="42" y="255"/>
                    </a:lnTo>
                    <a:lnTo>
                      <a:pt x="41" y="258"/>
                    </a:lnTo>
                    <a:lnTo>
                      <a:pt x="36" y="263"/>
                    </a:lnTo>
                    <a:lnTo>
                      <a:pt x="42" y="263"/>
                    </a:lnTo>
                    <a:lnTo>
                      <a:pt x="40" y="265"/>
                    </a:lnTo>
                    <a:lnTo>
                      <a:pt x="42" y="267"/>
                    </a:lnTo>
                    <a:lnTo>
                      <a:pt x="44" y="268"/>
                    </a:lnTo>
                    <a:lnTo>
                      <a:pt x="45" y="268"/>
                    </a:lnTo>
                    <a:lnTo>
                      <a:pt x="51" y="272"/>
                    </a:lnTo>
                    <a:lnTo>
                      <a:pt x="53" y="273"/>
                    </a:lnTo>
                    <a:lnTo>
                      <a:pt x="53" y="277"/>
                    </a:lnTo>
                    <a:lnTo>
                      <a:pt x="56" y="278"/>
                    </a:lnTo>
                    <a:lnTo>
                      <a:pt x="58" y="278"/>
                    </a:lnTo>
                    <a:lnTo>
                      <a:pt x="63" y="278"/>
                    </a:lnTo>
                    <a:lnTo>
                      <a:pt x="67" y="277"/>
                    </a:lnTo>
                    <a:lnTo>
                      <a:pt x="69" y="276"/>
                    </a:lnTo>
                    <a:lnTo>
                      <a:pt x="71" y="273"/>
                    </a:lnTo>
                    <a:lnTo>
                      <a:pt x="75" y="273"/>
                    </a:lnTo>
                    <a:lnTo>
                      <a:pt x="76" y="272"/>
                    </a:lnTo>
                    <a:lnTo>
                      <a:pt x="76" y="270"/>
                    </a:lnTo>
                    <a:lnTo>
                      <a:pt x="75" y="267"/>
                    </a:lnTo>
                    <a:lnTo>
                      <a:pt x="77" y="264"/>
                    </a:lnTo>
                    <a:lnTo>
                      <a:pt x="80" y="259"/>
                    </a:lnTo>
                    <a:lnTo>
                      <a:pt x="82" y="260"/>
                    </a:lnTo>
                    <a:lnTo>
                      <a:pt x="84" y="260"/>
                    </a:lnTo>
                    <a:lnTo>
                      <a:pt x="82" y="261"/>
                    </a:lnTo>
                    <a:lnTo>
                      <a:pt x="79" y="263"/>
                    </a:lnTo>
                    <a:lnTo>
                      <a:pt x="77" y="267"/>
                    </a:lnTo>
                    <a:lnTo>
                      <a:pt x="77" y="269"/>
                    </a:lnTo>
                    <a:lnTo>
                      <a:pt x="79" y="271"/>
                    </a:lnTo>
                    <a:lnTo>
                      <a:pt x="79" y="273"/>
                    </a:lnTo>
                    <a:lnTo>
                      <a:pt x="83" y="279"/>
                    </a:lnTo>
                    <a:lnTo>
                      <a:pt x="84" y="281"/>
                    </a:lnTo>
                    <a:lnTo>
                      <a:pt x="86" y="284"/>
                    </a:lnTo>
                    <a:lnTo>
                      <a:pt x="84" y="286"/>
                    </a:lnTo>
                    <a:lnTo>
                      <a:pt x="82" y="289"/>
                    </a:lnTo>
                    <a:lnTo>
                      <a:pt x="84" y="291"/>
                    </a:lnTo>
                    <a:lnTo>
                      <a:pt x="87" y="293"/>
                    </a:lnTo>
                    <a:lnTo>
                      <a:pt x="84" y="294"/>
                    </a:lnTo>
                    <a:lnTo>
                      <a:pt x="85" y="299"/>
                    </a:lnTo>
                    <a:lnTo>
                      <a:pt x="83" y="301"/>
                    </a:lnTo>
                    <a:lnTo>
                      <a:pt x="80" y="301"/>
                    </a:lnTo>
                    <a:lnTo>
                      <a:pt x="88" y="302"/>
                    </a:lnTo>
                    <a:lnTo>
                      <a:pt x="91" y="301"/>
                    </a:lnTo>
                    <a:lnTo>
                      <a:pt x="92" y="298"/>
                    </a:lnTo>
                    <a:lnTo>
                      <a:pt x="94" y="298"/>
                    </a:lnTo>
                    <a:lnTo>
                      <a:pt x="100" y="296"/>
                    </a:lnTo>
                    <a:lnTo>
                      <a:pt x="102" y="294"/>
                    </a:lnTo>
                    <a:lnTo>
                      <a:pt x="105" y="293"/>
                    </a:lnTo>
                    <a:lnTo>
                      <a:pt x="106" y="296"/>
                    </a:lnTo>
                    <a:lnTo>
                      <a:pt x="110" y="297"/>
                    </a:lnTo>
                    <a:lnTo>
                      <a:pt x="112" y="298"/>
                    </a:lnTo>
                    <a:lnTo>
                      <a:pt x="113" y="296"/>
                    </a:lnTo>
                    <a:lnTo>
                      <a:pt x="116" y="297"/>
                    </a:lnTo>
                    <a:lnTo>
                      <a:pt x="119" y="301"/>
                    </a:lnTo>
                    <a:lnTo>
                      <a:pt x="122" y="305"/>
                    </a:lnTo>
                    <a:lnTo>
                      <a:pt x="123" y="306"/>
                    </a:lnTo>
                    <a:lnTo>
                      <a:pt x="127" y="304"/>
                    </a:lnTo>
                    <a:lnTo>
                      <a:pt x="125" y="301"/>
                    </a:lnTo>
                    <a:lnTo>
                      <a:pt x="130" y="293"/>
                    </a:lnTo>
                    <a:lnTo>
                      <a:pt x="129" y="290"/>
                    </a:lnTo>
                    <a:lnTo>
                      <a:pt x="131" y="293"/>
                    </a:lnTo>
                    <a:lnTo>
                      <a:pt x="135" y="294"/>
                    </a:lnTo>
                    <a:lnTo>
                      <a:pt x="136" y="295"/>
                    </a:lnTo>
                    <a:lnTo>
                      <a:pt x="133" y="294"/>
                    </a:lnTo>
                    <a:lnTo>
                      <a:pt x="130" y="296"/>
                    </a:lnTo>
                    <a:lnTo>
                      <a:pt x="129" y="298"/>
                    </a:lnTo>
                    <a:lnTo>
                      <a:pt x="134" y="302"/>
                    </a:lnTo>
                    <a:lnTo>
                      <a:pt x="136" y="302"/>
                    </a:lnTo>
                    <a:lnTo>
                      <a:pt x="142" y="299"/>
                    </a:lnTo>
                    <a:lnTo>
                      <a:pt x="150" y="296"/>
                    </a:lnTo>
                    <a:lnTo>
                      <a:pt x="153" y="294"/>
                    </a:lnTo>
                    <a:lnTo>
                      <a:pt x="154" y="291"/>
                    </a:lnTo>
                    <a:lnTo>
                      <a:pt x="153" y="294"/>
                    </a:lnTo>
                    <a:lnTo>
                      <a:pt x="151" y="297"/>
                    </a:lnTo>
                    <a:lnTo>
                      <a:pt x="152" y="299"/>
                    </a:lnTo>
                    <a:lnTo>
                      <a:pt x="148" y="301"/>
                    </a:lnTo>
                    <a:lnTo>
                      <a:pt x="143" y="306"/>
                    </a:lnTo>
                    <a:lnTo>
                      <a:pt x="144" y="308"/>
                    </a:lnTo>
                    <a:lnTo>
                      <a:pt x="146" y="310"/>
                    </a:lnTo>
                    <a:lnTo>
                      <a:pt x="148" y="311"/>
                    </a:lnTo>
                    <a:lnTo>
                      <a:pt x="146" y="310"/>
                    </a:lnTo>
                    <a:lnTo>
                      <a:pt x="143" y="311"/>
                    </a:lnTo>
                    <a:lnTo>
                      <a:pt x="143" y="313"/>
                    </a:lnTo>
                    <a:lnTo>
                      <a:pt x="142" y="316"/>
                    </a:lnTo>
                    <a:lnTo>
                      <a:pt x="142" y="319"/>
                    </a:lnTo>
                    <a:lnTo>
                      <a:pt x="143" y="324"/>
                    </a:lnTo>
                    <a:lnTo>
                      <a:pt x="145" y="323"/>
                    </a:lnTo>
                    <a:lnTo>
                      <a:pt x="145" y="324"/>
                    </a:lnTo>
                    <a:lnTo>
                      <a:pt x="142" y="324"/>
                    </a:lnTo>
                    <a:lnTo>
                      <a:pt x="142" y="323"/>
                    </a:lnTo>
                    <a:lnTo>
                      <a:pt x="138" y="324"/>
                    </a:lnTo>
                    <a:lnTo>
                      <a:pt x="136" y="327"/>
                    </a:lnTo>
                    <a:lnTo>
                      <a:pt x="133" y="328"/>
                    </a:lnTo>
                    <a:lnTo>
                      <a:pt x="128" y="332"/>
                    </a:lnTo>
                    <a:lnTo>
                      <a:pt x="128" y="336"/>
                    </a:lnTo>
                    <a:lnTo>
                      <a:pt x="126" y="338"/>
                    </a:lnTo>
                    <a:lnTo>
                      <a:pt x="123" y="337"/>
                    </a:lnTo>
                    <a:lnTo>
                      <a:pt x="120" y="340"/>
                    </a:lnTo>
                    <a:lnTo>
                      <a:pt x="112" y="342"/>
                    </a:lnTo>
                    <a:lnTo>
                      <a:pt x="106" y="347"/>
                    </a:lnTo>
                    <a:lnTo>
                      <a:pt x="104" y="349"/>
                    </a:lnTo>
                    <a:lnTo>
                      <a:pt x="103" y="352"/>
                    </a:lnTo>
                    <a:lnTo>
                      <a:pt x="103" y="355"/>
                    </a:lnTo>
                    <a:lnTo>
                      <a:pt x="104" y="357"/>
                    </a:lnTo>
                    <a:lnTo>
                      <a:pt x="102" y="356"/>
                    </a:lnTo>
                    <a:lnTo>
                      <a:pt x="99" y="356"/>
                    </a:lnTo>
                    <a:lnTo>
                      <a:pt x="99" y="358"/>
                    </a:lnTo>
                    <a:lnTo>
                      <a:pt x="97" y="356"/>
                    </a:lnTo>
                    <a:lnTo>
                      <a:pt x="97" y="354"/>
                    </a:lnTo>
                    <a:lnTo>
                      <a:pt x="95" y="355"/>
                    </a:lnTo>
                    <a:lnTo>
                      <a:pt x="92" y="354"/>
                    </a:lnTo>
                    <a:lnTo>
                      <a:pt x="80" y="357"/>
                    </a:lnTo>
                    <a:lnTo>
                      <a:pt x="78" y="359"/>
                    </a:lnTo>
                    <a:lnTo>
                      <a:pt x="76" y="363"/>
                    </a:lnTo>
                    <a:lnTo>
                      <a:pt x="76" y="365"/>
                    </a:lnTo>
                    <a:lnTo>
                      <a:pt x="72" y="366"/>
                    </a:lnTo>
                    <a:lnTo>
                      <a:pt x="70" y="368"/>
                    </a:lnTo>
                    <a:lnTo>
                      <a:pt x="67" y="368"/>
                    </a:lnTo>
                    <a:lnTo>
                      <a:pt x="65" y="370"/>
                    </a:lnTo>
                    <a:lnTo>
                      <a:pt x="65" y="373"/>
                    </a:lnTo>
                    <a:lnTo>
                      <a:pt x="66" y="375"/>
                    </a:lnTo>
                    <a:lnTo>
                      <a:pt x="67" y="373"/>
                    </a:lnTo>
                    <a:lnTo>
                      <a:pt x="66" y="370"/>
                    </a:lnTo>
                    <a:lnTo>
                      <a:pt x="69" y="373"/>
                    </a:lnTo>
                    <a:lnTo>
                      <a:pt x="71" y="374"/>
                    </a:lnTo>
                    <a:lnTo>
                      <a:pt x="75" y="373"/>
                    </a:lnTo>
                    <a:lnTo>
                      <a:pt x="74" y="370"/>
                    </a:lnTo>
                    <a:lnTo>
                      <a:pt x="72" y="367"/>
                    </a:lnTo>
                    <a:lnTo>
                      <a:pt x="76" y="368"/>
                    </a:lnTo>
                    <a:lnTo>
                      <a:pt x="77" y="372"/>
                    </a:lnTo>
                    <a:lnTo>
                      <a:pt x="80" y="370"/>
                    </a:lnTo>
                    <a:lnTo>
                      <a:pt x="83" y="370"/>
                    </a:lnTo>
                    <a:lnTo>
                      <a:pt x="84" y="367"/>
                    </a:lnTo>
                    <a:lnTo>
                      <a:pt x="86" y="364"/>
                    </a:lnTo>
                    <a:lnTo>
                      <a:pt x="87" y="362"/>
                    </a:lnTo>
                    <a:lnTo>
                      <a:pt x="89" y="361"/>
                    </a:lnTo>
                    <a:lnTo>
                      <a:pt x="93" y="362"/>
                    </a:lnTo>
                    <a:lnTo>
                      <a:pt x="89" y="363"/>
                    </a:lnTo>
                    <a:lnTo>
                      <a:pt x="89" y="365"/>
                    </a:lnTo>
                    <a:lnTo>
                      <a:pt x="93" y="366"/>
                    </a:lnTo>
                    <a:lnTo>
                      <a:pt x="97" y="363"/>
                    </a:lnTo>
                    <a:lnTo>
                      <a:pt x="101" y="362"/>
                    </a:lnTo>
                    <a:lnTo>
                      <a:pt x="103" y="363"/>
                    </a:lnTo>
                    <a:lnTo>
                      <a:pt x="104" y="359"/>
                    </a:lnTo>
                    <a:lnTo>
                      <a:pt x="106" y="359"/>
                    </a:lnTo>
                    <a:lnTo>
                      <a:pt x="110" y="357"/>
                    </a:lnTo>
                    <a:lnTo>
                      <a:pt x="111" y="357"/>
                    </a:lnTo>
                    <a:lnTo>
                      <a:pt x="114" y="358"/>
                    </a:lnTo>
                    <a:lnTo>
                      <a:pt x="113" y="361"/>
                    </a:lnTo>
                    <a:lnTo>
                      <a:pt x="116" y="361"/>
                    </a:lnTo>
                    <a:lnTo>
                      <a:pt x="117" y="357"/>
                    </a:lnTo>
                    <a:lnTo>
                      <a:pt x="120" y="355"/>
                    </a:lnTo>
                    <a:lnTo>
                      <a:pt x="122" y="355"/>
                    </a:lnTo>
                    <a:lnTo>
                      <a:pt x="126" y="353"/>
                    </a:lnTo>
                    <a:lnTo>
                      <a:pt x="128" y="354"/>
                    </a:lnTo>
                    <a:lnTo>
                      <a:pt x="129" y="350"/>
                    </a:lnTo>
                    <a:lnTo>
                      <a:pt x="130" y="354"/>
                    </a:lnTo>
                    <a:lnTo>
                      <a:pt x="131" y="353"/>
                    </a:lnTo>
                    <a:lnTo>
                      <a:pt x="133" y="350"/>
                    </a:lnTo>
                    <a:lnTo>
                      <a:pt x="135" y="349"/>
                    </a:lnTo>
                    <a:lnTo>
                      <a:pt x="133" y="349"/>
                    </a:lnTo>
                    <a:lnTo>
                      <a:pt x="133" y="347"/>
                    </a:lnTo>
                    <a:lnTo>
                      <a:pt x="129" y="347"/>
                    </a:lnTo>
                    <a:lnTo>
                      <a:pt x="133" y="344"/>
                    </a:lnTo>
                    <a:lnTo>
                      <a:pt x="135" y="344"/>
                    </a:lnTo>
                    <a:lnTo>
                      <a:pt x="138" y="342"/>
                    </a:lnTo>
                    <a:lnTo>
                      <a:pt x="135" y="342"/>
                    </a:lnTo>
                    <a:lnTo>
                      <a:pt x="138" y="341"/>
                    </a:lnTo>
                    <a:lnTo>
                      <a:pt x="140" y="340"/>
                    </a:lnTo>
                    <a:lnTo>
                      <a:pt x="143" y="339"/>
                    </a:lnTo>
                    <a:lnTo>
                      <a:pt x="146" y="337"/>
                    </a:lnTo>
                    <a:lnTo>
                      <a:pt x="150" y="337"/>
                    </a:lnTo>
                    <a:lnTo>
                      <a:pt x="152" y="335"/>
                    </a:lnTo>
                    <a:lnTo>
                      <a:pt x="157" y="332"/>
                    </a:lnTo>
                    <a:lnTo>
                      <a:pt x="159" y="330"/>
                    </a:lnTo>
                    <a:lnTo>
                      <a:pt x="157" y="328"/>
                    </a:lnTo>
                    <a:lnTo>
                      <a:pt x="160" y="325"/>
                    </a:lnTo>
                    <a:lnTo>
                      <a:pt x="165" y="323"/>
                    </a:lnTo>
                    <a:lnTo>
                      <a:pt x="168" y="323"/>
                    </a:lnTo>
                    <a:lnTo>
                      <a:pt x="169" y="321"/>
                    </a:lnTo>
                    <a:lnTo>
                      <a:pt x="172" y="319"/>
                    </a:lnTo>
                    <a:lnTo>
                      <a:pt x="177" y="316"/>
                    </a:lnTo>
                    <a:lnTo>
                      <a:pt x="179" y="314"/>
                    </a:lnTo>
                    <a:lnTo>
                      <a:pt x="185" y="312"/>
                    </a:lnTo>
                    <a:lnTo>
                      <a:pt x="187" y="313"/>
                    </a:lnTo>
                    <a:lnTo>
                      <a:pt x="189" y="310"/>
                    </a:lnTo>
                    <a:lnTo>
                      <a:pt x="189" y="307"/>
                    </a:lnTo>
                    <a:lnTo>
                      <a:pt x="190" y="305"/>
                    </a:lnTo>
                    <a:lnTo>
                      <a:pt x="194" y="302"/>
                    </a:lnTo>
                    <a:lnTo>
                      <a:pt x="196" y="302"/>
                    </a:lnTo>
                    <a:lnTo>
                      <a:pt x="198" y="301"/>
                    </a:lnTo>
                    <a:lnTo>
                      <a:pt x="200" y="297"/>
                    </a:lnTo>
                    <a:lnTo>
                      <a:pt x="199" y="295"/>
                    </a:lnTo>
                    <a:lnTo>
                      <a:pt x="197" y="294"/>
                    </a:lnTo>
                    <a:lnTo>
                      <a:pt x="195" y="293"/>
                    </a:lnTo>
                    <a:lnTo>
                      <a:pt x="189" y="293"/>
                    </a:lnTo>
                    <a:lnTo>
                      <a:pt x="189" y="291"/>
                    </a:lnTo>
                    <a:lnTo>
                      <a:pt x="190" y="287"/>
                    </a:lnTo>
                    <a:lnTo>
                      <a:pt x="193" y="286"/>
                    </a:lnTo>
                    <a:lnTo>
                      <a:pt x="194" y="284"/>
                    </a:lnTo>
                    <a:lnTo>
                      <a:pt x="196" y="281"/>
                    </a:lnTo>
                    <a:lnTo>
                      <a:pt x="202" y="280"/>
                    </a:lnTo>
                    <a:lnTo>
                      <a:pt x="204" y="280"/>
                    </a:lnTo>
                    <a:lnTo>
                      <a:pt x="205" y="277"/>
                    </a:lnTo>
                    <a:lnTo>
                      <a:pt x="202" y="277"/>
                    </a:lnTo>
                    <a:lnTo>
                      <a:pt x="207" y="276"/>
                    </a:lnTo>
                    <a:lnTo>
                      <a:pt x="211" y="273"/>
                    </a:lnTo>
                    <a:lnTo>
                      <a:pt x="211" y="272"/>
                    </a:lnTo>
                    <a:lnTo>
                      <a:pt x="206" y="268"/>
                    </a:lnTo>
                    <a:lnTo>
                      <a:pt x="208" y="269"/>
                    </a:lnTo>
                    <a:lnTo>
                      <a:pt x="211" y="269"/>
                    </a:lnTo>
                    <a:lnTo>
                      <a:pt x="214" y="268"/>
                    </a:lnTo>
                    <a:lnTo>
                      <a:pt x="214" y="264"/>
                    </a:lnTo>
                    <a:lnTo>
                      <a:pt x="216" y="262"/>
                    </a:lnTo>
                    <a:lnTo>
                      <a:pt x="220" y="260"/>
                    </a:lnTo>
                    <a:lnTo>
                      <a:pt x="222" y="258"/>
                    </a:lnTo>
                    <a:lnTo>
                      <a:pt x="223" y="255"/>
                    </a:lnTo>
                    <a:lnTo>
                      <a:pt x="225" y="253"/>
                    </a:lnTo>
                    <a:lnTo>
                      <a:pt x="231" y="252"/>
                    </a:lnTo>
                    <a:lnTo>
                      <a:pt x="233" y="248"/>
                    </a:lnTo>
                    <a:lnTo>
                      <a:pt x="237" y="248"/>
                    </a:lnTo>
                    <a:lnTo>
                      <a:pt x="239" y="245"/>
                    </a:lnTo>
                    <a:lnTo>
                      <a:pt x="241" y="248"/>
                    </a:lnTo>
                    <a:lnTo>
                      <a:pt x="247" y="248"/>
                    </a:lnTo>
                    <a:lnTo>
                      <a:pt x="249" y="245"/>
                    </a:lnTo>
                    <a:lnTo>
                      <a:pt x="251" y="243"/>
                    </a:lnTo>
                    <a:lnTo>
                      <a:pt x="255" y="244"/>
                    </a:lnTo>
                    <a:lnTo>
                      <a:pt x="249" y="246"/>
                    </a:lnTo>
                    <a:lnTo>
                      <a:pt x="247" y="248"/>
                    </a:lnTo>
                    <a:lnTo>
                      <a:pt x="247" y="251"/>
                    </a:lnTo>
                    <a:lnTo>
                      <a:pt x="251" y="253"/>
                    </a:lnTo>
                    <a:lnTo>
                      <a:pt x="257" y="255"/>
                    </a:lnTo>
                    <a:lnTo>
                      <a:pt x="249" y="254"/>
                    </a:lnTo>
                    <a:lnTo>
                      <a:pt x="246" y="255"/>
                    </a:lnTo>
                    <a:lnTo>
                      <a:pt x="240" y="253"/>
                    </a:lnTo>
                    <a:lnTo>
                      <a:pt x="237" y="254"/>
                    </a:lnTo>
                    <a:lnTo>
                      <a:pt x="232" y="258"/>
                    </a:lnTo>
                    <a:lnTo>
                      <a:pt x="229" y="258"/>
                    </a:lnTo>
                    <a:lnTo>
                      <a:pt x="228" y="261"/>
                    </a:lnTo>
                    <a:lnTo>
                      <a:pt x="229" y="263"/>
                    </a:lnTo>
                    <a:lnTo>
                      <a:pt x="229" y="267"/>
                    </a:lnTo>
                    <a:lnTo>
                      <a:pt x="228" y="269"/>
                    </a:lnTo>
                    <a:lnTo>
                      <a:pt x="223" y="273"/>
                    </a:lnTo>
                    <a:lnTo>
                      <a:pt x="221" y="278"/>
                    </a:lnTo>
                    <a:lnTo>
                      <a:pt x="223" y="280"/>
                    </a:lnTo>
                    <a:lnTo>
                      <a:pt x="225" y="281"/>
                    </a:lnTo>
                    <a:lnTo>
                      <a:pt x="229" y="280"/>
                    </a:lnTo>
                    <a:lnTo>
                      <a:pt x="231" y="280"/>
                    </a:lnTo>
                    <a:lnTo>
                      <a:pt x="229" y="282"/>
                    </a:lnTo>
                    <a:lnTo>
                      <a:pt x="227" y="285"/>
                    </a:lnTo>
                    <a:lnTo>
                      <a:pt x="223" y="285"/>
                    </a:lnTo>
                    <a:lnTo>
                      <a:pt x="221" y="286"/>
                    </a:lnTo>
                    <a:lnTo>
                      <a:pt x="220" y="289"/>
                    </a:lnTo>
                    <a:lnTo>
                      <a:pt x="222" y="290"/>
                    </a:lnTo>
                    <a:lnTo>
                      <a:pt x="231" y="288"/>
                    </a:lnTo>
                    <a:lnTo>
                      <a:pt x="233" y="289"/>
                    </a:lnTo>
                    <a:lnTo>
                      <a:pt x="236" y="287"/>
                    </a:lnTo>
                    <a:lnTo>
                      <a:pt x="238" y="285"/>
                    </a:lnTo>
                    <a:lnTo>
                      <a:pt x="239" y="282"/>
                    </a:lnTo>
                    <a:lnTo>
                      <a:pt x="241" y="282"/>
                    </a:lnTo>
                    <a:lnTo>
                      <a:pt x="244" y="279"/>
                    </a:lnTo>
                    <a:lnTo>
                      <a:pt x="244" y="282"/>
                    </a:lnTo>
                    <a:lnTo>
                      <a:pt x="247" y="281"/>
                    </a:lnTo>
                    <a:lnTo>
                      <a:pt x="247" y="278"/>
                    </a:lnTo>
                    <a:lnTo>
                      <a:pt x="250" y="279"/>
                    </a:lnTo>
                    <a:lnTo>
                      <a:pt x="249" y="277"/>
                    </a:lnTo>
                    <a:lnTo>
                      <a:pt x="251" y="277"/>
                    </a:lnTo>
                    <a:lnTo>
                      <a:pt x="253" y="279"/>
                    </a:lnTo>
                    <a:lnTo>
                      <a:pt x="253" y="277"/>
                    </a:lnTo>
                    <a:lnTo>
                      <a:pt x="255" y="273"/>
                    </a:lnTo>
                    <a:lnTo>
                      <a:pt x="256" y="273"/>
                    </a:lnTo>
                    <a:lnTo>
                      <a:pt x="256" y="277"/>
                    </a:lnTo>
                    <a:lnTo>
                      <a:pt x="257" y="273"/>
                    </a:lnTo>
                    <a:lnTo>
                      <a:pt x="264" y="274"/>
                    </a:lnTo>
                    <a:lnTo>
                      <a:pt x="266" y="273"/>
                    </a:lnTo>
                    <a:lnTo>
                      <a:pt x="268" y="273"/>
                    </a:lnTo>
                    <a:lnTo>
                      <a:pt x="268" y="271"/>
                    </a:lnTo>
                    <a:lnTo>
                      <a:pt x="272" y="271"/>
                    </a:lnTo>
                    <a:lnTo>
                      <a:pt x="270" y="268"/>
                    </a:lnTo>
                    <a:lnTo>
                      <a:pt x="273" y="265"/>
                    </a:lnTo>
                    <a:lnTo>
                      <a:pt x="274" y="263"/>
                    </a:lnTo>
                    <a:lnTo>
                      <a:pt x="272" y="262"/>
                    </a:lnTo>
                    <a:lnTo>
                      <a:pt x="268" y="263"/>
                    </a:lnTo>
                    <a:lnTo>
                      <a:pt x="266" y="263"/>
                    </a:lnTo>
                    <a:lnTo>
                      <a:pt x="268" y="262"/>
                    </a:lnTo>
                    <a:lnTo>
                      <a:pt x="271" y="261"/>
                    </a:lnTo>
                    <a:lnTo>
                      <a:pt x="271" y="258"/>
                    </a:lnTo>
                    <a:lnTo>
                      <a:pt x="268" y="261"/>
                    </a:lnTo>
                    <a:lnTo>
                      <a:pt x="267" y="258"/>
                    </a:lnTo>
                    <a:lnTo>
                      <a:pt x="265" y="260"/>
                    </a:lnTo>
                    <a:lnTo>
                      <a:pt x="266" y="256"/>
                    </a:lnTo>
                    <a:lnTo>
                      <a:pt x="270" y="256"/>
                    </a:lnTo>
                    <a:lnTo>
                      <a:pt x="271" y="254"/>
                    </a:lnTo>
                    <a:lnTo>
                      <a:pt x="271" y="251"/>
                    </a:lnTo>
                    <a:lnTo>
                      <a:pt x="273" y="253"/>
                    </a:lnTo>
                    <a:lnTo>
                      <a:pt x="275" y="250"/>
                    </a:lnTo>
                    <a:lnTo>
                      <a:pt x="278" y="247"/>
                    </a:lnTo>
                    <a:lnTo>
                      <a:pt x="278" y="250"/>
                    </a:lnTo>
                    <a:lnTo>
                      <a:pt x="275" y="252"/>
                    </a:lnTo>
                    <a:lnTo>
                      <a:pt x="274" y="255"/>
                    </a:lnTo>
                    <a:lnTo>
                      <a:pt x="280" y="256"/>
                    </a:lnTo>
                    <a:lnTo>
                      <a:pt x="280" y="253"/>
                    </a:lnTo>
                    <a:lnTo>
                      <a:pt x="281" y="251"/>
                    </a:lnTo>
                    <a:lnTo>
                      <a:pt x="281" y="253"/>
                    </a:lnTo>
                    <a:lnTo>
                      <a:pt x="287" y="253"/>
                    </a:lnTo>
                    <a:lnTo>
                      <a:pt x="289" y="254"/>
                    </a:lnTo>
                    <a:lnTo>
                      <a:pt x="292" y="252"/>
                    </a:lnTo>
                    <a:lnTo>
                      <a:pt x="295" y="251"/>
                    </a:lnTo>
                    <a:lnTo>
                      <a:pt x="298" y="252"/>
                    </a:lnTo>
                    <a:lnTo>
                      <a:pt x="295" y="252"/>
                    </a:lnTo>
                    <a:lnTo>
                      <a:pt x="292" y="253"/>
                    </a:lnTo>
                    <a:lnTo>
                      <a:pt x="292" y="255"/>
                    </a:lnTo>
                    <a:lnTo>
                      <a:pt x="295" y="258"/>
                    </a:lnTo>
                    <a:lnTo>
                      <a:pt x="298" y="256"/>
                    </a:lnTo>
                    <a:lnTo>
                      <a:pt x="300" y="256"/>
                    </a:lnTo>
                    <a:lnTo>
                      <a:pt x="296" y="258"/>
                    </a:lnTo>
                    <a:lnTo>
                      <a:pt x="293" y="260"/>
                    </a:lnTo>
                    <a:lnTo>
                      <a:pt x="296" y="260"/>
                    </a:lnTo>
                    <a:lnTo>
                      <a:pt x="301" y="258"/>
                    </a:lnTo>
                    <a:lnTo>
                      <a:pt x="300" y="261"/>
                    </a:lnTo>
                    <a:lnTo>
                      <a:pt x="302" y="260"/>
                    </a:lnTo>
                    <a:lnTo>
                      <a:pt x="306" y="262"/>
                    </a:lnTo>
                    <a:lnTo>
                      <a:pt x="304" y="264"/>
                    </a:lnTo>
                    <a:lnTo>
                      <a:pt x="307" y="264"/>
                    </a:lnTo>
                    <a:lnTo>
                      <a:pt x="309" y="267"/>
                    </a:lnTo>
                    <a:lnTo>
                      <a:pt x="313" y="265"/>
                    </a:lnTo>
                    <a:lnTo>
                      <a:pt x="317" y="261"/>
                    </a:lnTo>
                    <a:lnTo>
                      <a:pt x="321" y="259"/>
                    </a:lnTo>
                    <a:lnTo>
                      <a:pt x="321" y="260"/>
                    </a:lnTo>
                    <a:lnTo>
                      <a:pt x="317" y="262"/>
                    </a:lnTo>
                    <a:lnTo>
                      <a:pt x="317" y="268"/>
                    </a:lnTo>
                    <a:lnTo>
                      <a:pt x="319" y="269"/>
                    </a:lnTo>
                    <a:lnTo>
                      <a:pt x="323" y="270"/>
                    </a:lnTo>
                    <a:lnTo>
                      <a:pt x="325" y="271"/>
                    </a:lnTo>
                    <a:lnTo>
                      <a:pt x="326" y="273"/>
                    </a:lnTo>
                    <a:lnTo>
                      <a:pt x="331" y="273"/>
                    </a:lnTo>
                    <a:lnTo>
                      <a:pt x="333" y="273"/>
                    </a:lnTo>
                    <a:lnTo>
                      <a:pt x="347" y="271"/>
                    </a:lnTo>
                    <a:lnTo>
                      <a:pt x="349" y="272"/>
                    </a:lnTo>
                    <a:lnTo>
                      <a:pt x="358" y="273"/>
                    </a:lnTo>
                    <a:lnTo>
                      <a:pt x="360" y="274"/>
                    </a:lnTo>
                    <a:lnTo>
                      <a:pt x="364" y="273"/>
                    </a:lnTo>
                    <a:lnTo>
                      <a:pt x="365" y="271"/>
                    </a:lnTo>
                    <a:lnTo>
                      <a:pt x="366" y="273"/>
                    </a:lnTo>
                    <a:lnTo>
                      <a:pt x="365" y="277"/>
                    </a:lnTo>
                    <a:lnTo>
                      <a:pt x="373" y="279"/>
                    </a:lnTo>
                    <a:lnTo>
                      <a:pt x="378" y="280"/>
                    </a:lnTo>
                    <a:lnTo>
                      <a:pt x="381" y="279"/>
                    </a:lnTo>
                    <a:lnTo>
                      <a:pt x="384" y="278"/>
                    </a:lnTo>
                    <a:lnTo>
                      <a:pt x="386" y="277"/>
                    </a:lnTo>
                    <a:lnTo>
                      <a:pt x="390" y="273"/>
                    </a:lnTo>
                    <a:lnTo>
                      <a:pt x="392" y="273"/>
                    </a:lnTo>
                    <a:lnTo>
                      <a:pt x="393" y="276"/>
                    </a:lnTo>
                    <a:lnTo>
                      <a:pt x="399" y="278"/>
                    </a:lnTo>
                    <a:lnTo>
                      <a:pt x="396" y="277"/>
                    </a:lnTo>
                    <a:lnTo>
                      <a:pt x="393" y="279"/>
                    </a:lnTo>
                    <a:lnTo>
                      <a:pt x="393" y="282"/>
                    </a:lnTo>
                    <a:lnTo>
                      <a:pt x="393" y="277"/>
                    </a:lnTo>
                    <a:lnTo>
                      <a:pt x="390" y="274"/>
                    </a:lnTo>
                    <a:lnTo>
                      <a:pt x="390" y="277"/>
                    </a:lnTo>
                    <a:lnTo>
                      <a:pt x="391" y="280"/>
                    </a:lnTo>
                    <a:lnTo>
                      <a:pt x="389" y="282"/>
                    </a:lnTo>
                    <a:lnTo>
                      <a:pt x="385" y="284"/>
                    </a:lnTo>
                    <a:lnTo>
                      <a:pt x="389" y="285"/>
                    </a:lnTo>
                    <a:lnTo>
                      <a:pt x="391" y="286"/>
                    </a:lnTo>
                    <a:lnTo>
                      <a:pt x="393" y="287"/>
                    </a:lnTo>
                    <a:lnTo>
                      <a:pt x="396" y="288"/>
                    </a:lnTo>
                    <a:lnTo>
                      <a:pt x="399" y="289"/>
                    </a:lnTo>
                    <a:lnTo>
                      <a:pt x="402" y="291"/>
                    </a:lnTo>
                    <a:lnTo>
                      <a:pt x="404" y="290"/>
                    </a:lnTo>
                    <a:lnTo>
                      <a:pt x="403" y="293"/>
                    </a:lnTo>
                    <a:lnTo>
                      <a:pt x="407" y="293"/>
                    </a:lnTo>
                    <a:lnTo>
                      <a:pt x="409" y="295"/>
                    </a:lnTo>
                    <a:lnTo>
                      <a:pt x="411" y="297"/>
                    </a:lnTo>
                    <a:lnTo>
                      <a:pt x="416" y="302"/>
                    </a:lnTo>
                    <a:lnTo>
                      <a:pt x="421" y="305"/>
                    </a:lnTo>
                    <a:lnTo>
                      <a:pt x="427" y="307"/>
                    </a:lnTo>
                    <a:lnTo>
                      <a:pt x="429" y="310"/>
                    </a:lnTo>
                    <a:lnTo>
                      <a:pt x="429" y="307"/>
                    </a:lnTo>
                    <a:lnTo>
                      <a:pt x="433" y="306"/>
                    </a:lnTo>
                    <a:lnTo>
                      <a:pt x="435" y="307"/>
                    </a:lnTo>
                    <a:lnTo>
                      <a:pt x="437" y="306"/>
                    </a:lnTo>
                    <a:lnTo>
                      <a:pt x="435" y="304"/>
                    </a:lnTo>
                    <a:lnTo>
                      <a:pt x="435" y="301"/>
                    </a:lnTo>
                    <a:lnTo>
                      <a:pt x="432" y="301"/>
                    </a:lnTo>
                    <a:lnTo>
                      <a:pt x="432" y="298"/>
                    </a:lnTo>
                    <a:lnTo>
                      <a:pt x="426" y="296"/>
                    </a:lnTo>
                    <a:lnTo>
                      <a:pt x="424" y="297"/>
                    </a:lnTo>
                    <a:lnTo>
                      <a:pt x="426" y="296"/>
                    </a:lnTo>
                    <a:lnTo>
                      <a:pt x="424" y="293"/>
                    </a:lnTo>
                    <a:lnTo>
                      <a:pt x="426" y="295"/>
                    </a:lnTo>
                    <a:lnTo>
                      <a:pt x="429" y="294"/>
                    </a:lnTo>
                    <a:lnTo>
                      <a:pt x="432" y="297"/>
                    </a:lnTo>
                    <a:lnTo>
                      <a:pt x="434" y="298"/>
                    </a:lnTo>
                    <a:lnTo>
                      <a:pt x="437" y="297"/>
                    </a:lnTo>
                    <a:lnTo>
                      <a:pt x="437" y="294"/>
                    </a:lnTo>
                    <a:lnTo>
                      <a:pt x="437" y="297"/>
                    </a:lnTo>
                    <a:lnTo>
                      <a:pt x="441" y="297"/>
                    </a:lnTo>
                    <a:lnTo>
                      <a:pt x="437" y="298"/>
                    </a:lnTo>
                    <a:lnTo>
                      <a:pt x="441" y="304"/>
                    </a:lnTo>
                    <a:lnTo>
                      <a:pt x="441" y="306"/>
                    </a:lnTo>
                    <a:lnTo>
                      <a:pt x="443" y="305"/>
                    </a:lnTo>
                    <a:lnTo>
                      <a:pt x="446" y="306"/>
                    </a:lnTo>
                    <a:lnTo>
                      <a:pt x="447" y="308"/>
                    </a:lnTo>
                    <a:lnTo>
                      <a:pt x="450" y="310"/>
                    </a:lnTo>
                    <a:lnTo>
                      <a:pt x="451" y="307"/>
                    </a:lnTo>
                    <a:lnTo>
                      <a:pt x="450" y="305"/>
                    </a:lnTo>
                    <a:lnTo>
                      <a:pt x="450" y="302"/>
                    </a:lnTo>
                    <a:lnTo>
                      <a:pt x="446" y="295"/>
                    </a:lnTo>
                    <a:lnTo>
                      <a:pt x="446" y="293"/>
                    </a:lnTo>
                    <a:lnTo>
                      <a:pt x="445" y="289"/>
                    </a:lnTo>
                    <a:lnTo>
                      <a:pt x="447" y="290"/>
                    </a:lnTo>
                    <a:lnTo>
                      <a:pt x="445" y="288"/>
                    </a:lnTo>
                    <a:lnTo>
                      <a:pt x="446" y="288"/>
                    </a:lnTo>
                    <a:lnTo>
                      <a:pt x="447" y="285"/>
                    </a:lnTo>
                    <a:lnTo>
                      <a:pt x="447" y="287"/>
                    </a:lnTo>
                    <a:lnTo>
                      <a:pt x="447" y="289"/>
                    </a:lnTo>
                    <a:lnTo>
                      <a:pt x="449" y="293"/>
                    </a:lnTo>
                    <a:lnTo>
                      <a:pt x="450" y="297"/>
                    </a:lnTo>
                    <a:lnTo>
                      <a:pt x="453" y="298"/>
                    </a:lnTo>
                    <a:lnTo>
                      <a:pt x="452" y="302"/>
                    </a:lnTo>
                    <a:lnTo>
                      <a:pt x="455" y="306"/>
                    </a:lnTo>
                    <a:lnTo>
                      <a:pt x="459" y="307"/>
                    </a:lnTo>
                    <a:lnTo>
                      <a:pt x="461" y="310"/>
                    </a:lnTo>
                    <a:lnTo>
                      <a:pt x="464" y="310"/>
                    </a:lnTo>
                    <a:lnTo>
                      <a:pt x="467" y="304"/>
                    </a:lnTo>
                    <a:lnTo>
                      <a:pt x="469" y="304"/>
                    </a:lnTo>
                    <a:lnTo>
                      <a:pt x="467" y="306"/>
                    </a:lnTo>
                    <a:lnTo>
                      <a:pt x="464" y="308"/>
                    </a:lnTo>
                    <a:lnTo>
                      <a:pt x="464" y="311"/>
                    </a:lnTo>
                    <a:lnTo>
                      <a:pt x="467" y="314"/>
                    </a:lnTo>
                    <a:lnTo>
                      <a:pt x="469" y="313"/>
                    </a:lnTo>
                    <a:lnTo>
                      <a:pt x="468" y="315"/>
                    </a:lnTo>
                    <a:lnTo>
                      <a:pt x="470" y="319"/>
                    </a:lnTo>
                    <a:lnTo>
                      <a:pt x="472" y="315"/>
                    </a:lnTo>
                    <a:lnTo>
                      <a:pt x="475" y="316"/>
                    </a:lnTo>
                    <a:lnTo>
                      <a:pt x="477" y="318"/>
                    </a:lnTo>
                    <a:lnTo>
                      <a:pt x="475" y="316"/>
                    </a:lnTo>
                    <a:lnTo>
                      <a:pt x="472" y="318"/>
                    </a:lnTo>
                    <a:lnTo>
                      <a:pt x="473" y="320"/>
                    </a:lnTo>
                    <a:lnTo>
                      <a:pt x="479" y="323"/>
                    </a:lnTo>
                    <a:lnTo>
                      <a:pt x="471" y="320"/>
                    </a:lnTo>
                    <a:lnTo>
                      <a:pt x="472" y="323"/>
                    </a:lnTo>
                    <a:lnTo>
                      <a:pt x="475" y="322"/>
                    </a:lnTo>
                    <a:lnTo>
                      <a:pt x="472" y="325"/>
                    </a:lnTo>
                    <a:lnTo>
                      <a:pt x="476" y="328"/>
                    </a:lnTo>
                    <a:lnTo>
                      <a:pt x="478" y="328"/>
                    </a:lnTo>
                    <a:lnTo>
                      <a:pt x="472" y="329"/>
                    </a:lnTo>
                    <a:lnTo>
                      <a:pt x="473" y="331"/>
                    </a:lnTo>
                    <a:lnTo>
                      <a:pt x="477" y="331"/>
                    </a:lnTo>
                    <a:lnTo>
                      <a:pt x="479" y="332"/>
                    </a:lnTo>
                    <a:lnTo>
                      <a:pt x="481" y="333"/>
                    </a:lnTo>
                    <a:lnTo>
                      <a:pt x="481" y="336"/>
                    </a:lnTo>
                    <a:lnTo>
                      <a:pt x="484" y="338"/>
                    </a:lnTo>
                    <a:lnTo>
                      <a:pt x="487" y="339"/>
                    </a:lnTo>
                    <a:lnTo>
                      <a:pt x="486" y="341"/>
                    </a:lnTo>
                    <a:lnTo>
                      <a:pt x="489" y="341"/>
                    </a:lnTo>
                    <a:lnTo>
                      <a:pt x="489" y="344"/>
                    </a:lnTo>
                    <a:lnTo>
                      <a:pt x="493" y="346"/>
                    </a:lnTo>
                    <a:lnTo>
                      <a:pt x="494" y="349"/>
                    </a:lnTo>
                    <a:lnTo>
                      <a:pt x="498" y="349"/>
                    </a:lnTo>
                    <a:lnTo>
                      <a:pt x="496" y="349"/>
                    </a:lnTo>
                    <a:lnTo>
                      <a:pt x="494" y="352"/>
                    </a:lnTo>
                    <a:lnTo>
                      <a:pt x="494" y="354"/>
                    </a:lnTo>
                    <a:lnTo>
                      <a:pt x="490" y="359"/>
                    </a:lnTo>
                    <a:lnTo>
                      <a:pt x="492" y="362"/>
                    </a:lnTo>
                    <a:lnTo>
                      <a:pt x="495" y="361"/>
                    </a:lnTo>
                    <a:lnTo>
                      <a:pt x="496" y="358"/>
                    </a:lnTo>
                    <a:lnTo>
                      <a:pt x="496" y="356"/>
                    </a:lnTo>
                    <a:lnTo>
                      <a:pt x="498" y="354"/>
                    </a:lnTo>
                    <a:lnTo>
                      <a:pt x="504" y="354"/>
                    </a:lnTo>
                    <a:lnTo>
                      <a:pt x="509" y="358"/>
                    </a:lnTo>
                    <a:lnTo>
                      <a:pt x="509" y="364"/>
                    </a:lnTo>
                    <a:lnTo>
                      <a:pt x="510" y="367"/>
                    </a:lnTo>
                    <a:lnTo>
                      <a:pt x="507" y="367"/>
                    </a:lnTo>
                    <a:lnTo>
                      <a:pt x="509" y="371"/>
                    </a:lnTo>
                    <a:lnTo>
                      <a:pt x="511" y="370"/>
                    </a:lnTo>
                    <a:lnTo>
                      <a:pt x="514" y="366"/>
                    </a:lnTo>
                    <a:lnTo>
                      <a:pt x="511" y="370"/>
                    </a:lnTo>
                    <a:lnTo>
                      <a:pt x="509" y="371"/>
                    </a:lnTo>
                    <a:lnTo>
                      <a:pt x="507" y="373"/>
                    </a:lnTo>
                    <a:lnTo>
                      <a:pt x="507" y="376"/>
                    </a:lnTo>
                    <a:lnTo>
                      <a:pt x="511" y="374"/>
                    </a:lnTo>
                    <a:lnTo>
                      <a:pt x="511" y="376"/>
                    </a:lnTo>
                    <a:lnTo>
                      <a:pt x="514" y="375"/>
                    </a:lnTo>
                    <a:lnTo>
                      <a:pt x="517" y="373"/>
                    </a:lnTo>
                    <a:lnTo>
                      <a:pt x="518" y="370"/>
                    </a:lnTo>
                    <a:lnTo>
                      <a:pt x="520" y="367"/>
                    </a:lnTo>
                    <a:lnTo>
                      <a:pt x="519" y="363"/>
                    </a:lnTo>
                    <a:lnTo>
                      <a:pt x="518" y="357"/>
                    </a:lnTo>
                    <a:lnTo>
                      <a:pt x="520" y="355"/>
                    </a:lnTo>
                    <a:lnTo>
                      <a:pt x="520" y="355"/>
                    </a:lnTo>
                    <a:lnTo>
                      <a:pt x="519" y="357"/>
                    </a:lnTo>
                    <a:lnTo>
                      <a:pt x="520" y="366"/>
                    </a:lnTo>
                    <a:lnTo>
                      <a:pt x="520" y="371"/>
                    </a:lnTo>
                    <a:lnTo>
                      <a:pt x="521" y="370"/>
                    </a:lnTo>
                    <a:lnTo>
                      <a:pt x="523" y="366"/>
                    </a:lnTo>
                    <a:lnTo>
                      <a:pt x="523" y="362"/>
                    </a:lnTo>
                    <a:lnTo>
                      <a:pt x="526" y="364"/>
                    </a:lnTo>
                    <a:lnTo>
                      <a:pt x="524" y="367"/>
                    </a:lnTo>
                    <a:lnTo>
                      <a:pt x="522" y="370"/>
                    </a:lnTo>
                    <a:lnTo>
                      <a:pt x="523" y="372"/>
                    </a:lnTo>
                    <a:lnTo>
                      <a:pt x="526" y="372"/>
                    </a:lnTo>
                    <a:lnTo>
                      <a:pt x="520" y="373"/>
                    </a:lnTo>
                    <a:lnTo>
                      <a:pt x="518" y="378"/>
                    </a:lnTo>
                    <a:lnTo>
                      <a:pt x="519" y="379"/>
                    </a:lnTo>
                    <a:lnTo>
                      <a:pt x="515" y="380"/>
                    </a:lnTo>
                    <a:lnTo>
                      <a:pt x="518" y="382"/>
                    </a:lnTo>
                    <a:lnTo>
                      <a:pt x="520" y="382"/>
                    </a:lnTo>
                    <a:lnTo>
                      <a:pt x="520" y="382"/>
                    </a:lnTo>
                    <a:lnTo>
                      <a:pt x="520" y="382"/>
                    </a:lnTo>
                    <a:lnTo>
                      <a:pt x="520" y="385"/>
                    </a:lnTo>
                    <a:lnTo>
                      <a:pt x="520" y="384"/>
                    </a:lnTo>
                    <a:lnTo>
                      <a:pt x="514" y="380"/>
                    </a:lnTo>
                    <a:lnTo>
                      <a:pt x="514" y="384"/>
                    </a:lnTo>
                    <a:lnTo>
                      <a:pt x="517" y="384"/>
                    </a:lnTo>
                    <a:lnTo>
                      <a:pt x="517" y="387"/>
                    </a:lnTo>
                    <a:lnTo>
                      <a:pt x="518" y="388"/>
                    </a:lnTo>
                    <a:lnTo>
                      <a:pt x="520" y="388"/>
                    </a:lnTo>
                    <a:lnTo>
                      <a:pt x="522" y="387"/>
                    </a:lnTo>
                    <a:lnTo>
                      <a:pt x="528" y="387"/>
                    </a:lnTo>
                    <a:lnTo>
                      <a:pt x="521" y="388"/>
                    </a:lnTo>
                    <a:lnTo>
                      <a:pt x="523" y="391"/>
                    </a:lnTo>
                    <a:lnTo>
                      <a:pt x="520" y="388"/>
                    </a:lnTo>
                    <a:lnTo>
                      <a:pt x="520" y="391"/>
                    </a:lnTo>
                    <a:lnTo>
                      <a:pt x="520" y="393"/>
                    </a:lnTo>
                    <a:lnTo>
                      <a:pt x="528" y="401"/>
                    </a:lnTo>
                    <a:lnTo>
                      <a:pt x="530" y="402"/>
                    </a:lnTo>
                    <a:lnTo>
                      <a:pt x="531" y="398"/>
                    </a:lnTo>
                    <a:lnTo>
                      <a:pt x="534" y="396"/>
                    </a:lnTo>
                    <a:lnTo>
                      <a:pt x="537" y="393"/>
                    </a:lnTo>
                    <a:lnTo>
                      <a:pt x="538" y="391"/>
                    </a:lnTo>
                    <a:lnTo>
                      <a:pt x="539" y="391"/>
                    </a:lnTo>
                    <a:lnTo>
                      <a:pt x="538" y="393"/>
                    </a:lnTo>
                    <a:lnTo>
                      <a:pt x="541" y="395"/>
                    </a:lnTo>
                    <a:lnTo>
                      <a:pt x="538" y="395"/>
                    </a:lnTo>
                    <a:lnTo>
                      <a:pt x="537" y="397"/>
                    </a:lnTo>
                    <a:lnTo>
                      <a:pt x="538" y="399"/>
                    </a:lnTo>
                    <a:lnTo>
                      <a:pt x="540" y="401"/>
                    </a:lnTo>
                    <a:lnTo>
                      <a:pt x="544" y="401"/>
                    </a:lnTo>
                    <a:lnTo>
                      <a:pt x="546" y="401"/>
                    </a:lnTo>
                    <a:lnTo>
                      <a:pt x="547" y="401"/>
                    </a:lnTo>
                    <a:lnTo>
                      <a:pt x="548" y="405"/>
                    </a:lnTo>
                    <a:lnTo>
                      <a:pt x="546" y="401"/>
                    </a:lnTo>
                    <a:lnTo>
                      <a:pt x="544" y="401"/>
                    </a:lnTo>
                    <a:lnTo>
                      <a:pt x="541" y="402"/>
                    </a:lnTo>
                    <a:lnTo>
                      <a:pt x="538" y="401"/>
                    </a:lnTo>
                    <a:lnTo>
                      <a:pt x="536" y="401"/>
                    </a:lnTo>
                    <a:lnTo>
                      <a:pt x="536" y="405"/>
                    </a:lnTo>
                    <a:lnTo>
                      <a:pt x="541" y="408"/>
                    </a:lnTo>
                    <a:lnTo>
                      <a:pt x="541" y="410"/>
                    </a:lnTo>
                    <a:lnTo>
                      <a:pt x="543" y="414"/>
                    </a:lnTo>
                    <a:lnTo>
                      <a:pt x="546" y="413"/>
                    </a:lnTo>
                    <a:lnTo>
                      <a:pt x="545" y="419"/>
                    </a:lnTo>
                    <a:lnTo>
                      <a:pt x="545" y="422"/>
                    </a:lnTo>
                    <a:lnTo>
                      <a:pt x="547" y="419"/>
                    </a:lnTo>
                    <a:lnTo>
                      <a:pt x="548" y="422"/>
                    </a:lnTo>
                    <a:lnTo>
                      <a:pt x="549" y="419"/>
                    </a:lnTo>
                    <a:lnTo>
                      <a:pt x="549" y="422"/>
                    </a:lnTo>
                    <a:lnTo>
                      <a:pt x="549" y="425"/>
                    </a:lnTo>
                    <a:lnTo>
                      <a:pt x="558" y="419"/>
                    </a:lnTo>
                    <a:lnTo>
                      <a:pt x="562" y="414"/>
                    </a:lnTo>
                    <a:lnTo>
                      <a:pt x="561" y="417"/>
                    </a:lnTo>
                    <a:lnTo>
                      <a:pt x="558" y="419"/>
                    </a:lnTo>
                    <a:lnTo>
                      <a:pt x="560" y="422"/>
                    </a:lnTo>
                    <a:lnTo>
                      <a:pt x="564" y="422"/>
                    </a:lnTo>
                    <a:lnTo>
                      <a:pt x="563" y="424"/>
                    </a:lnTo>
                    <a:lnTo>
                      <a:pt x="564" y="426"/>
                    </a:lnTo>
                    <a:lnTo>
                      <a:pt x="562" y="424"/>
                    </a:lnTo>
                    <a:lnTo>
                      <a:pt x="560" y="423"/>
                    </a:lnTo>
                    <a:lnTo>
                      <a:pt x="557" y="424"/>
                    </a:lnTo>
                    <a:lnTo>
                      <a:pt x="555" y="427"/>
                    </a:lnTo>
                    <a:lnTo>
                      <a:pt x="553" y="427"/>
                    </a:lnTo>
                    <a:lnTo>
                      <a:pt x="551" y="430"/>
                    </a:lnTo>
                    <a:lnTo>
                      <a:pt x="549" y="432"/>
                    </a:lnTo>
                    <a:lnTo>
                      <a:pt x="551" y="436"/>
                    </a:lnTo>
                    <a:lnTo>
                      <a:pt x="553" y="438"/>
                    </a:lnTo>
                    <a:lnTo>
                      <a:pt x="554" y="435"/>
                    </a:lnTo>
                    <a:lnTo>
                      <a:pt x="554" y="434"/>
                    </a:lnTo>
                    <a:lnTo>
                      <a:pt x="557" y="432"/>
                    </a:lnTo>
                    <a:lnTo>
                      <a:pt x="558" y="434"/>
                    </a:lnTo>
                    <a:lnTo>
                      <a:pt x="563" y="434"/>
                    </a:lnTo>
                    <a:lnTo>
                      <a:pt x="566" y="432"/>
                    </a:lnTo>
                    <a:lnTo>
                      <a:pt x="565" y="435"/>
                    </a:lnTo>
                    <a:lnTo>
                      <a:pt x="557" y="435"/>
                    </a:lnTo>
                    <a:lnTo>
                      <a:pt x="555" y="436"/>
                    </a:lnTo>
                    <a:lnTo>
                      <a:pt x="552" y="441"/>
                    </a:lnTo>
                    <a:lnTo>
                      <a:pt x="557" y="441"/>
                    </a:lnTo>
                    <a:lnTo>
                      <a:pt x="560" y="440"/>
                    </a:lnTo>
                    <a:lnTo>
                      <a:pt x="557" y="441"/>
                    </a:lnTo>
                    <a:lnTo>
                      <a:pt x="553" y="442"/>
                    </a:lnTo>
                    <a:lnTo>
                      <a:pt x="552" y="444"/>
                    </a:lnTo>
                    <a:lnTo>
                      <a:pt x="557" y="445"/>
                    </a:lnTo>
                    <a:lnTo>
                      <a:pt x="563" y="445"/>
                    </a:lnTo>
                    <a:lnTo>
                      <a:pt x="565" y="444"/>
                    </a:lnTo>
                    <a:lnTo>
                      <a:pt x="563" y="445"/>
                    </a:lnTo>
                    <a:lnTo>
                      <a:pt x="560" y="445"/>
                    </a:lnTo>
                    <a:lnTo>
                      <a:pt x="557" y="445"/>
                    </a:lnTo>
                    <a:lnTo>
                      <a:pt x="555" y="445"/>
                    </a:lnTo>
                    <a:lnTo>
                      <a:pt x="556" y="448"/>
                    </a:lnTo>
                    <a:lnTo>
                      <a:pt x="558" y="449"/>
                    </a:lnTo>
                    <a:lnTo>
                      <a:pt x="562" y="449"/>
                    </a:lnTo>
                    <a:lnTo>
                      <a:pt x="558" y="448"/>
                    </a:lnTo>
                    <a:lnTo>
                      <a:pt x="562" y="449"/>
                    </a:lnTo>
                    <a:lnTo>
                      <a:pt x="568" y="449"/>
                    </a:lnTo>
                    <a:lnTo>
                      <a:pt x="570" y="448"/>
                    </a:lnTo>
                    <a:lnTo>
                      <a:pt x="572" y="448"/>
                    </a:lnTo>
                    <a:lnTo>
                      <a:pt x="570" y="449"/>
                    </a:lnTo>
                    <a:lnTo>
                      <a:pt x="572" y="450"/>
                    </a:lnTo>
                    <a:lnTo>
                      <a:pt x="573" y="452"/>
                    </a:lnTo>
                    <a:lnTo>
                      <a:pt x="577" y="452"/>
                    </a:lnTo>
                    <a:lnTo>
                      <a:pt x="579" y="451"/>
                    </a:lnTo>
                    <a:lnTo>
                      <a:pt x="581" y="445"/>
                    </a:lnTo>
                    <a:lnTo>
                      <a:pt x="581" y="449"/>
                    </a:lnTo>
                    <a:lnTo>
                      <a:pt x="580" y="451"/>
                    </a:lnTo>
                    <a:lnTo>
                      <a:pt x="577" y="452"/>
                    </a:lnTo>
                    <a:lnTo>
                      <a:pt x="572" y="453"/>
                    </a:lnTo>
                    <a:lnTo>
                      <a:pt x="572" y="453"/>
                    </a:lnTo>
                    <a:lnTo>
                      <a:pt x="575" y="453"/>
                    </a:lnTo>
                    <a:lnTo>
                      <a:pt x="572" y="456"/>
                    </a:lnTo>
                    <a:lnTo>
                      <a:pt x="575" y="456"/>
                    </a:lnTo>
                    <a:lnTo>
                      <a:pt x="578" y="455"/>
                    </a:lnTo>
                    <a:lnTo>
                      <a:pt x="580" y="457"/>
                    </a:lnTo>
                    <a:lnTo>
                      <a:pt x="581" y="453"/>
                    </a:lnTo>
                    <a:lnTo>
                      <a:pt x="582" y="457"/>
                    </a:lnTo>
                    <a:lnTo>
                      <a:pt x="584" y="457"/>
                    </a:lnTo>
                    <a:lnTo>
                      <a:pt x="588" y="456"/>
                    </a:lnTo>
                    <a:lnTo>
                      <a:pt x="590" y="453"/>
                    </a:lnTo>
                    <a:lnTo>
                      <a:pt x="589" y="450"/>
                    </a:lnTo>
                    <a:lnTo>
                      <a:pt x="591" y="448"/>
                    </a:lnTo>
                    <a:lnTo>
                      <a:pt x="591" y="449"/>
                    </a:lnTo>
                    <a:lnTo>
                      <a:pt x="590" y="455"/>
                    </a:lnTo>
                    <a:lnTo>
                      <a:pt x="588" y="456"/>
                    </a:lnTo>
                    <a:lnTo>
                      <a:pt x="588" y="459"/>
                    </a:lnTo>
                    <a:lnTo>
                      <a:pt x="591" y="459"/>
                    </a:lnTo>
                    <a:lnTo>
                      <a:pt x="594" y="457"/>
                    </a:lnTo>
                    <a:lnTo>
                      <a:pt x="596" y="457"/>
                    </a:lnTo>
                    <a:lnTo>
                      <a:pt x="594" y="459"/>
                    </a:lnTo>
                    <a:lnTo>
                      <a:pt x="594" y="462"/>
                    </a:lnTo>
                    <a:lnTo>
                      <a:pt x="594" y="465"/>
                    </a:lnTo>
                    <a:lnTo>
                      <a:pt x="591" y="465"/>
                    </a:lnTo>
                    <a:lnTo>
                      <a:pt x="596" y="468"/>
                    </a:lnTo>
                    <a:lnTo>
                      <a:pt x="598" y="469"/>
                    </a:lnTo>
                    <a:lnTo>
                      <a:pt x="601" y="468"/>
                    </a:lnTo>
                    <a:lnTo>
                      <a:pt x="604" y="467"/>
                    </a:lnTo>
                    <a:lnTo>
                      <a:pt x="603" y="465"/>
                    </a:lnTo>
                    <a:lnTo>
                      <a:pt x="605" y="462"/>
                    </a:lnTo>
                    <a:lnTo>
                      <a:pt x="604" y="465"/>
                    </a:lnTo>
                    <a:lnTo>
                      <a:pt x="604" y="466"/>
                    </a:lnTo>
                    <a:lnTo>
                      <a:pt x="604" y="469"/>
                    </a:lnTo>
                    <a:lnTo>
                      <a:pt x="606" y="470"/>
                    </a:lnTo>
                    <a:lnTo>
                      <a:pt x="609" y="470"/>
                    </a:lnTo>
                    <a:lnTo>
                      <a:pt x="607" y="470"/>
                    </a:lnTo>
                    <a:lnTo>
                      <a:pt x="601" y="472"/>
                    </a:lnTo>
                    <a:lnTo>
                      <a:pt x="604" y="474"/>
                    </a:lnTo>
                    <a:lnTo>
                      <a:pt x="609" y="475"/>
                    </a:lnTo>
                    <a:lnTo>
                      <a:pt x="611" y="473"/>
                    </a:lnTo>
                    <a:lnTo>
                      <a:pt x="614" y="472"/>
                    </a:lnTo>
                    <a:lnTo>
                      <a:pt x="613" y="474"/>
                    </a:lnTo>
                    <a:lnTo>
                      <a:pt x="614" y="476"/>
                    </a:lnTo>
                    <a:lnTo>
                      <a:pt x="616" y="477"/>
                    </a:lnTo>
                    <a:lnTo>
                      <a:pt x="615" y="479"/>
                    </a:lnTo>
                    <a:lnTo>
                      <a:pt x="616" y="479"/>
                    </a:lnTo>
                    <a:lnTo>
                      <a:pt x="615" y="483"/>
                    </a:lnTo>
                    <a:lnTo>
                      <a:pt x="616" y="483"/>
                    </a:lnTo>
                    <a:lnTo>
                      <a:pt x="617" y="481"/>
                    </a:lnTo>
                    <a:lnTo>
                      <a:pt x="620" y="483"/>
                    </a:lnTo>
                    <a:lnTo>
                      <a:pt x="620" y="485"/>
                    </a:lnTo>
                    <a:lnTo>
                      <a:pt x="623" y="486"/>
                    </a:lnTo>
                    <a:lnTo>
                      <a:pt x="624" y="490"/>
                    </a:lnTo>
                    <a:lnTo>
                      <a:pt x="623" y="492"/>
                    </a:lnTo>
                    <a:lnTo>
                      <a:pt x="621" y="492"/>
                    </a:lnTo>
                    <a:lnTo>
                      <a:pt x="624" y="494"/>
                    </a:lnTo>
                    <a:lnTo>
                      <a:pt x="625" y="498"/>
                    </a:lnTo>
                    <a:lnTo>
                      <a:pt x="626" y="500"/>
                    </a:lnTo>
                    <a:lnTo>
                      <a:pt x="625" y="503"/>
                    </a:lnTo>
                    <a:lnTo>
                      <a:pt x="624" y="506"/>
                    </a:lnTo>
                    <a:lnTo>
                      <a:pt x="625" y="511"/>
                    </a:lnTo>
                    <a:lnTo>
                      <a:pt x="623" y="512"/>
                    </a:lnTo>
                    <a:lnTo>
                      <a:pt x="621" y="516"/>
                    </a:lnTo>
                    <a:lnTo>
                      <a:pt x="618" y="516"/>
                    </a:lnTo>
                    <a:lnTo>
                      <a:pt x="616" y="515"/>
                    </a:lnTo>
                    <a:lnTo>
                      <a:pt x="620" y="511"/>
                    </a:lnTo>
                    <a:lnTo>
                      <a:pt x="620" y="515"/>
                    </a:lnTo>
                    <a:lnTo>
                      <a:pt x="622" y="511"/>
                    </a:lnTo>
                    <a:lnTo>
                      <a:pt x="623" y="509"/>
                    </a:lnTo>
                    <a:lnTo>
                      <a:pt x="622" y="506"/>
                    </a:lnTo>
                    <a:lnTo>
                      <a:pt x="623" y="503"/>
                    </a:lnTo>
                    <a:lnTo>
                      <a:pt x="621" y="503"/>
                    </a:lnTo>
                    <a:lnTo>
                      <a:pt x="618" y="506"/>
                    </a:lnTo>
                    <a:lnTo>
                      <a:pt x="616" y="508"/>
                    </a:lnTo>
                    <a:lnTo>
                      <a:pt x="617" y="510"/>
                    </a:lnTo>
                    <a:lnTo>
                      <a:pt x="614" y="511"/>
                    </a:lnTo>
                    <a:lnTo>
                      <a:pt x="616" y="508"/>
                    </a:lnTo>
                    <a:lnTo>
                      <a:pt x="621" y="503"/>
                    </a:lnTo>
                    <a:lnTo>
                      <a:pt x="621" y="500"/>
                    </a:lnTo>
                    <a:lnTo>
                      <a:pt x="620" y="498"/>
                    </a:lnTo>
                    <a:lnTo>
                      <a:pt x="617" y="498"/>
                    </a:lnTo>
                    <a:lnTo>
                      <a:pt x="614" y="496"/>
                    </a:lnTo>
                    <a:lnTo>
                      <a:pt x="612" y="498"/>
                    </a:lnTo>
                    <a:lnTo>
                      <a:pt x="604" y="496"/>
                    </a:lnTo>
                    <a:lnTo>
                      <a:pt x="598" y="495"/>
                    </a:lnTo>
                    <a:lnTo>
                      <a:pt x="596" y="493"/>
                    </a:lnTo>
                    <a:lnTo>
                      <a:pt x="592" y="493"/>
                    </a:lnTo>
                    <a:lnTo>
                      <a:pt x="594" y="495"/>
                    </a:lnTo>
                    <a:lnTo>
                      <a:pt x="594" y="498"/>
                    </a:lnTo>
                    <a:lnTo>
                      <a:pt x="594" y="500"/>
                    </a:lnTo>
                    <a:lnTo>
                      <a:pt x="596" y="503"/>
                    </a:lnTo>
                    <a:lnTo>
                      <a:pt x="598" y="506"/>
                    </a:lnTo>
                    <a:lnTo>
                      <a:pt x="598" y="509"/>
                    </a:lnTo>
                    <a:lnTo>
                      <a:pt x="599" y="511"/>
                    </a:lnTo>
                    <a:lnTo>
                      <a:pt x="599" y="511"/>
                    </a:lnTo>
                    <a:lnTo>
                      <a:pt x="600" y="515"/>
                    </a:lnTo>
                    <a:lnTo>
                      <a:pt x="603" y="517"/>
                    </a:lnTo>
                    <a:lnTo>
                      <a:pt x="605" y="518"/>
                    </a:lnTo>
                    <a:lnTo>
                      <a:pt x="601" y="519"/>
                    </a:lnTo>
                    <a:lnTo>
                      <a:pt x="603" y="522"/>
                    </a:lnTo>
                    <a:lnTo>
                      <a:pt x="604" y="524"/>
                    </a:lnTo>
                    <a:lnTo>
                      <a:pt x="603" y="526"/>
                    </a:lnTo>
                    <a:lnTo>
                      <a:pt x="601" y="524"/>
                    </a:lnTo>
                    <a:lnTo>
                      <a:pt x="603" y="527"/>
                    </a:lnTo>
                    <a:lnTo>
                      <a:pt x="603" y="529"/>
                    </a:lnTo>
                    <a:lnTo>
                      <a:pt x="608" y="529"/>
                    </a:lnTo>
                    <a:lnTo>
                      <a:pt x="612" y="530"/>
                    </a:lnTo>
                    <a:lnTo>
                      <a:pt x="614" y="532"/>
                    </a:lnTo>
                    <a:lnTo>
                      <a:pt x="612" y="532"/>
                    </a:lnTo>
                    <a:lnTo>
                      <a:pt x="608" y="530"/>
                    </a:lnTo>
                    <a:lnTo>
                      <a:pt x="603" y="530"/>
                    </a:lnTo>
                    <a:lnTo>
                      <a:pt x="604" y="534"/>
                    </a:lnTo>
                    <a:lnTo>
                      <a:pt x="604" y="544"/>
                    </a:lnTo>
                    <a:lnTo>
                      <a:pt x="601" y="554"/>
                    </a:lnTo>
                    <a:lnTo>
                      <a:pt x="600" y="570"/>
                    </a:lnTo>
                    <a:lnTo>
                      <a:pt x="601" y="573"/>
                    </a:lnTo>
                    <a:lnTo>
                      <a:pt x="599" y="575"/>
                    </a:lnTo>
                    <a:lnTo>
                      <a:pt x="600" y="577"/>
                    </a:lnTo>
                    <a:lnTo>
                      <a:pt x="598" y="580"/>
                    </a:lnTo>
                    <a:lnTo>
                      <a:pt x="596" y="586"/>
                    </a:lnTo>
                    <a:lnTo>
                      <a:pt x="596" y="589"/>
                    </a:lnTo>
                    <a:lnTo>
                      <a:pt x="597" y="592"/>
                    </a:lnTo>
                    <a:lnTo>
                      <a:pt x="597" y="596"/>
                    </a:lnTo>
                    <a:lnTo>
                      <a:pt x="598" y="598"/>
                    </a:lnTo>
                    <a:lnTo>
                      <a:pt x="600" y="602"/>
                    </a:lnTo>
                    <a:lnTo>
                      <a:pt x="600" y="604"/>
                    </a:lnTo>
                    <a:lnTo>
                      <a:pt x="601" y="609"/>
                    </a:lnTo>
                    <a:lnTo>
                      <a:pt x="601" y="613"/>
                    </a:lnTo>
                    <a:lnTo>
                      <a:pt x="600" y="615"/>
                    </a:lnTo>
                    <a:lnTo>
                      <a:pt x="601" y="619"/>
                    </a:lnTo>
                    <a:lnTo>
                      <a:pt x="600" y="621"/>
                    </a:lnTo>
                    <a:lnTo>
                      <a:pt x="598" y="623"/>
                    </a:lnTo>
                    <a:lnTo>
                      <a:pt x="598" y="626"/>
                    </a:lnTo>
                    <a:lnTo>
                      <a:pt x="598" y="629"/>
                    </a:lnTo>
                    <a:lnTo>
                      <a:pt x="600" y="631"/>
                    </a:lnTo>
                    <a:lnTo>
                      <a:pt x="604" y="635"/>
                    </a:lnTo>
                    <a:lnTo>
                      <a:pt x="605" y="638"/>
                    </a:lnTo>
                    <a:lnTo>
                      <a:pt x="606" y="640"/>
                    </a:lnTo>
                    <a:lnTo>
                      <a:pt x="606" y="646"/>
                    </a:lnTo>
                    <a:lnTo>
                      <a:pt x="607" y="648"/>
                    </a:lnTo>
                    <a:lnTo>
                      <a:pt x="607" y="652"/>
                    </a:lnTo>
                    <a:lnTo>
                      <a:pt x="615" y="658"/>
                    </a:lnTo>
                    <a:lnTo>
                      <a:pt x="617" y="663"/>
                    </a:lnTo>
                    <a:lnTo>
                      <a:pt x="618" y="665"/>
                    </a:lnTo>
                    <a:lnTo>
                      <a:pt x="621" y="667"/>
                    </a:lnTo>
                    <a:lnTo>
                      <a:pt x="623" y="666"/>
                    </a:lnTo>
                    <a:lnTo>
                      <a:pt x="625" y="664"/>
                    </a:lnTo>
                    <a:lnTo>
                      <a:pt x="629" y="665"/>
                    </a:lnTo>
                    <a:lnTo>
                      <a:pt x="629" y="665"/>
                    </a:lnTo>
                    <a:lnTo>
                      <a:pt x="632" y="665"/>
                    </a:lnTo>
                    <a:lnTo>
                      <a:pt x="634" y="664"/>
                    </a:lnTo>
                    <a:lnTo>
                      <a:pt x="637" y="665"/>
                    </a:lnTo>
                    <a:lnTo>
                      <a:pt x="633" y="666"/>
                    </a:lnTo>
                    <a:lnTo>
                      <a:pt x="631" y="665"/>
                    </a:lnTo>
                    <a:lnTo>
                      <a:pt x="625" y="666"/>
                    </a:lnTo>
                    <a:lnTo>
                      <a:pt x="625" y="669"/>
                    </a:lnTo>
                    <a:lnTo>
                      <a:pt x="629" y="671"/>
                    </a:lnTo>
                    <a:lnTo>
                      <a:pt x="629" y="674"/>
                    </a:lnTo>
                    <a:lnTo>
                      <a:pt x="626" y="672"/>
                    </a:lnTo>
                    <a:lnTo>
                      <a:pt x="623" y="670"/>
                    </a:lnTo>
                    <a:lnTo>
                      <a:pt x="623" y="673"/>
                    </a:lnTo>
                    <a:lnTo>
                      <a:pt x="624" y="675"/>
                    </a:lnTo>
                    <a:lnTo>
                      <a:pt x="624" y="678"/>
                    </a:lnTo>
                    <a:lnTo>
                      <a:pt x="626" y="681"/>
                    </a:lnTo>
                    <a:lnTo>
                      <a:pt x="630" y="682"/>
                    </a:lnTo>
                    <a:lnTo>
                      <a:pt x="632" y="683"/>
                    </a:lnTo>
                    <a:lnTo>
                      <a:pt x="633" y="686"/>
                    </a:lnTo>
                    <a:lnTo>
                      <a:pt x="631" y="690"/>
                    </a:lnTo>
                    <a:lnTo>
                      <a:pt x="632" y="693"/>
                    </a:lnTo>
                    <a:lnTo>
                      <a:pt x="634" y="695"/>
                    </a:lnTo>
                    <a:lnTo>
                      <a:pt x="638" y="698"/>
                    </a:lnTo>
                    <a:lnTo>
                      <a:pt x="639" y="700"/>
                    </a:lnTo>
                    <a:lnTo>
                      <a:pt x="641" y="703"/>
                    </a:lnTo>
                    <a:lnTo>
                      <a:pt x="646" y="707"/>
                    </a:lnTo>
                    <a:lnTo>
                      <a:pt x="647" y="710"/>
                    </a:lnTo>
                    <a:lnTo>
                      <a:pt x="649" y="712"/>
                    </a:lnTo>
                    <a:lnTo>
                      <a:pt x="649" y="715"/>
                    </a:lnTo>
                    <a:lnTo>
                      <a:pt x="649" y="720"/>
                    </a:lnTo>
                    <a:lnTo>
                      <a:pt x="651" y="722"/>
                    </a:lnTo>
                    <a:lnTo>
                      <a:pt x="658" y="722"/>
                    </a:lnTo>
                    <a:lnTo>
                      <a:pt x="663" y="722"/>
                    </a:lnTo>
                    <a:lnTo>
                      <a:pt x="666" y="723"/>
                    </a:lnTo>
                    <a:lnTo>
                      <a:pt x="668" y="726"/>
                    </a:lnTo>
                    <a:lnTo>
                      <a:pt x="671" y="727"/>
                    </a:lnTo>
                    <a:lnTo>
                      <a:pt x="674" y="729"/>
                    </a:lnTo>
                    <a:lnTo>
                      <a:pt x="676" y="727"/>
                    </a:lnTo>
                    <a:lnTo>
                      <a:pt x="680" y="730"/>
                    </a:lnTo>
                    <a:lnTo>
                      <a:pt x="681" y="733"/>
                    </a:lnTo>
                    <a:lnTo>
                      <a:pt x="682" y="732"/>
                    </a:lnTo>
                    <a:lnTo>
                      <a:pt x="684" y="733"/>
                    </a:lnTo>
                    <a:lnTo>
                      <a:pt x="690" y="737"/>
                    </a:lnTo>
                    <a:lnTo>
                      <a:pt x="692" y="740"/>
                    </a:lnTo>
                    <a:lnTo>
                      <a:pt x="694" y="742"/>
                    </a:lnTo>
                    <a:lnTo>
                      <a:pt x="694" y="746"/>
                    </a:lnTo>
                    <a:lnTo>
                      <a:pt x="694" y="748"/>
                    </a:lnTo>
                    <a:lnTo>
                      <a:pt x="697" y="750"/>
                    </a:lnTo>
                    <a:lnTo>
                      <a:pt x="698" y="752"/>
                    </a:lnTo>
                    <a:lnTo>
                      <a:pt x="700" y="756"/>
                    </a:lnTo>
                    <a:lnTo>
                      <a:pt x="700" y="758"/>
                    </a:lnTo>
                    <a:lnTo>
                      <a:pt x="702" y="761"/>
                    </a:lnTo>
                    <a:lnTo>
                      <a:pt x="703" y="766"/>
                    </a:lnTo>
                    <a:lnTo>
                      <a:pt x="708" y="772"/>
                    </a:lnTo>
                    <a:lnTo>
                      <a:pt x="709" y="775"/>
                    </a:lnTo>
                    <a:lnTo>
                      <a:pt x="711" y="777"/>
                    </a:lnTo>
                    <a:lnTo>
                      <a:pt x="711" y="780"/>
                    </a:lnTo>
                    <a:lnTo>
                      <a:pt x="714" y="783"/>
                    </a:lnTo>
                    <a:lnTo>
                      <a:pt x="715" y="784"/>
                    </a:lnTo>
                    <a:lnTo>
                      <a:pt x="715" y="786"/>
                    </a:lnTo>
                    <a:lnTo>
                      <a:pt x="715" y="790"/>
                    </a:lnTo>
                    <a:lnTo>
                      <a:pt x="716" y="791"/>
                    </a:lnTo>
                    <a:lnTo>
                      <a:pt x="717" y="793"/>
                    </a:lnTo>
                    <a:lnTo>
                      <a:pt x="720" y="795"/>
                    </a:lnTo>
                    <a:lnTo>
                      <a:pt x="720" y="797"/>
                    </a:lnTo>
                    <a:lnTo>
                      <a:pt x="724" y="798"/>
                    </a:lnTo>
                    <a:lnTo>
                      <a:pt x="725" y="798"/>
                    </a:lnTo>
                    <a:lnTo>
                      <a:pt x="727" y="799"/>
                    </a:lnTo>
                    <a:lnTo>
                      <a:pt x="727" y="800"/>
                    </a:lnTo>
                    <a:lnTo>
                      <a:pt x="728" y="801"/>
                    </a:lnTo>
                    <a:lnTo>
                      <a:pt x="732" y="806"/>
                    </a:lnTo>
                    <a:lnTo>
                      <a:pt x="737" y="810"/>
                    </a:lnTo>
                    <a:lnTo>
                      <a:pt x="737" y="811"/>
                    </a:lnTo>
                    <a:lnTo>
                      <a:pt x="739" y="814"/>
                    </a:lnTo>
                    <a:lnTo>
                      <a:pt x="739" y="817"/>
                    </a:lnTo>
                    <a:lnTo>
                      <a:pt x="737" y="819"/>
                    </a:lnTo>
                    <a:lnTo>
                      <a:pt x="737" y="821"/>
                    </a:lnTo>
                    <a:lnTo>
                      <a:pt x="737" y="824"/>
                    </a:lnTo>
                    <a:lnTo>
                      <a:pt x="741" y="821"/>
                    </a:lnTo>
                    <a:lnTo>
                      <a:pt x="741" y="824"/>
                    </a:lnTo>
                    <a:lnTo>
                      <a:pt x="741" y="827"/>
                    </a:lnTo>
                    <a:lnTo>
                      <a:pt x="740" y="824"/>
                    </a:lnTo>
                    <a:lnTo>
                      <a:pt x="737" y="824"/>
                    </a:lnTo>
                    <a:lnTo>
                      <a:pt x="734" y="821"/>
                    </a:lnTo>
                    <a:lnTo>
                      <a:pt x="732" y="823"/>
                    </a:lnTo>
                    <a:lnTo>
                      <a:pt x="728" y="823"/>
                    </a:lnTo>
                    <a:lnTo>
                      <a:pt x="726" y="824"/>
                    </a:lnTo>
                    <a:lnTo>
                      <a:pt x="728" y="825"/>
                    </a:lnTo>
                    <a:lnTo>
                      <a:pt x="732" y="827"/>
                    </a:lnTo>
                    <a:lnTo>
                      <a:pt x="733" y="829"/>
                    </a:lnTo>
                    <a:lnTo>
                      <a:pt x="735" y="832"/>
                    </a:lnTo>
                    <a:lnTo>
                      <a:pt x="739" y="833"/>
                    </a:lnTo>
                    <a:lnTo>
                      <a:pt x="739" y="833"/>
                    </a:lnTo>
                    <a:lnTo>
                      <a:pt x="742" y="835"/>
                    </a:lnTo>
                    <a:lnTo>
                      <a:pt x="744" y="837"/>
                    </a:lnTo>
                    <a:lnTo>
                      <a:pt x="746" y="837"/>
                    </a:lnTo>
                    <a:lnTo>
                      <a:pt x="749" y="837"/>
                    </a:lnTo>
                    <a:lnTo>
                      <a:pt x="751" y="835"/>
                    </a:lnTo>
                    <a:lnTo>
                      <a:pt x="751" y="834"/>
                    </a:lnTo>
                    <a:lnTo>
                      <a:pt x="751" y="837"/>
                    </a:lnTo>
                    <a:lnTo>
                      <a:pt x="752" y="840"/>
                    </a:lnTo>
                    <a:lnTo>
                      <a:pt x="756" y="842"/>
                    </a:lnTo>
                    <a:lnTo>
                      <a:pt x="758" y="844"/>
                    </a:lnTo>
                    <a:lnTo>
                      <a:pt x="758" y="844"/>
                    </a:lnTo>
                    <a:lnTo>
                      <a:pt x="761" y="845"/>
                    </a:lnTo>
                    <a:lnTo>
                      <a:pt x="761" y="845"/>
                    </a:lnTo>
                    <a:lnTo>
                      <a:pt x="763" y="849"/>
                    </a:lnTo>
                    <a:lnTo>
                      <a:pt x="763" y="849"/>
                    </a:lnTo>
                    <a:lnTo>
                      <a:pt x="766" y="851"/>
                    </a:lnTo>
                    <a:lnTo>
                      <a:pt x="766" y="854"/>
                    </a:lnTo>
                    <a:lnTo>
                      <a:pt x="766" y="857"/>
                    </a:lnTo>
                    <a:lnTo>
                      <a:pt x="766" y="859"/>
                    </a:lnTo>
                    <a:lnTo>
                      <a:pt x="766" y="860"/>
                    </a:lnTo>
                    <a:lnTo>
                      <a:pt x="765" y="862"/>
                    </a:lnTo>
                    <a:lnTo>
                      <a:pt x="765" y="864"/>
                    </a:lnTo>
                    <a:lnTo>
                      <a:pt x="768" y="867"/>
                    </a:lnTo>
                    <a:lnTo>
                      <a:pt x="769" y="869"/>
                    </a:lnTo>
                    <a:lnTo>
                      <a:pt x="773" y="871"/>
                    </a:lnTo>
                    <a:lnTo>
                      <a:pt x="773" y="871"/>
                    </a:lnTo>
                    <a:lnTo>
                      <a:pt x="778" y="875"/>
                    </a:lnTo>
                    <a:lnTo>
                      <a:pt x="780" y="877"/>
                    </a:lnTo>
                    <a:lnTo>
                      <a:pt x="783" y="879"/>
                    </a:lnTo>
                    <a:lnTo>
                      <a:pt x="786" y="881"/>
                    </a:lnTo>
                    <a:lnTo>
                      <a:pt x="788" y="883"/>
                    </a:lnTo>
                    <a:lnTo>
                      <a:pt x="791" y="886"/>
                    </a:lnTo>
                    <a:lnTo>
                      <a:pt x="792" y="888"/>
                    </a:lnTo>
                    <a:lnTo>
                      <a:pt x="793" y="891"/>
                    </a:lnTo>
                    <a:lnTo>
                      <a:pt x="794" y="893"/>
                    </a:lnTo>
                    <a:lnTo>
                      <a:pt x="795" y="894"/>
                    </a:lnTo>
                    <a:lnTo>
                      <a:pt x="796" y="893"/>
                    </a:lnTo>
                    <a:lnTo>
                      <a:pt x="799" y="891"/>
                    </a:lnTo>
                    <a:lnTo>
                      <a:pt x="802" y="889"/>
                    </a:lnTo>
                    <a:lnTo>
                      <a:pt x="802" y="886"/>
                    </a:lnTo>
                    <a:lnTo>
                      <a:pt x="801" y="884"/>
                    </a:lnTo>
                    <a:lnTo>
                      <a:pt x="799" y="883"/>
                    </a:lnTo>
                    <a:lnTo>
                      <a:pt x="797" y="880"/>
                    </a:lnTo>
                    <a:lnTo>
                      <a:pt x="797" y="877"/>
                    </a:lnTo>
                    <a:lnTo>
                      <a:pt x="794" y="876"/>
                    </a:lnTo>
                    <a:lnTo>
                      <a:pt x="793" y="875"/>
                    </a:lnTo>
                    <a:lnTo>
                      <a:pt x="790" y="874"/>
                    </a:lnTo>
                    <a:lnTo>
                      <a:pt x="788" y="875"/>
                    </a:lnTo>
                    <a:lnTo>
                      <a:pt x="787" y="875"/>
                    </a:lnTo>
                    <a:lnTo>
                      <a:pt x="785" y="872"/>
                    </a:lnTo>
                    <a:lnTo>
                      <a:pt x="784" y="870"/>
                    </a:lnTo>
                    <a:lnTo>
                      <a:pt x="784" y="867"/>
                    </a:lnTo>
                    <a:lnTo>
                      <a:pt x="784" y="864"/>
                    </a:lnTo>
                    <a:lnTo>
                      <a:pt x="782" y="861"/>
                    </a:lnTo>
                    <a:lnTo>
                      <a:pt x="782" y="859"/>
                    </a:lnTo>
                    <a:lnTo>
                      <a:pt x="780" y="857"/>
                    </a:lnTo>
                    <a:lnTo>
                      <a:pt x="778" y="853"/>
                    </a:lnTo>
                    <a:lnTo>
                      <a:pt x="776" y="851"/>
                    </a:lnTo>
                    <a:lnTo>
                      <a:pt x="776" y="848"/>
                    </a:lnTo>
                    <a:lnTo>
                      <a:pt x="775" y="845"/>
                    </a:lnTo>
                    <a:lnTo>
                      <a:pt x="775" y="843"/>
                    </a:lnTo>
                    <a:lnTo>
                      <a:pt x="773" y="840"/>
                    </a:lnTo>
                    <a:lnTo>
                      <a:pt x="771" y="837"/>
                    </a:lnTo>
                    <a:lnTo>
                      <a:pt x="768" y="835"/>
                    </a:lnTo>
                    <a:lnTo>
                      <a:pt x="768" y="838"/>
                    </a:lnTo>
                    <a:lnTo>
                      <a:pt x="768" y="835"/>
                    </a:lnTo>
                    <a:lnTo>
                      <a:pt x="768" y="833"/>
                    </a:lnTo>
                    <a:lnTo>
                      <a:pt x="766" y="832"/>
                    </a:lnTo>
                    <a:lnTo>
                      <a:pt x="763" y="829"/>
                    </a:lnTo>
                    <a:lnTo>
                      <a:pt x="762" y="826"/>
                    </a:lnTo>
                    <a:lnTo>
                      <a:pt x="760" y="825"/>
                    </a:lnTo>
                    <a:lnTo>
                      <a:pt x="757" y="821"/>
                    </a:lnTo>
                    <a:lnTo>
                      <a:pt x="757" y="819"/>
                    </a:lnTo>
                    <a:lnTo>
                      <a:pt x="756" y="818"/>
                    </a:lnTo>
                    <a:lnTo>
                      <a:pt x="756" y="815"/>
                    </a:lnTo>
                    <a:lnTo>
                      <a:pt x="751" y="809"/>
                    </a:lnTo>
                    <a:lnTo>
                      <a:pt x="746" y="806"/>
                    </a:lnTo>
                    <a:lnTo>
                      <a:pt x="745" y="802"/>
                    </a:lnTo>
                    <a:lnTo>
                      <a:pt x="744" y="800"/>
                    </a:lnTo>
                    <a:lnTo>
                      <a:pt x="737" y="793"/>
                    </a:lnTo>
                    <a:lnTo>
                      <a:pt x="734" y="792"/>
                    </a:lnTo>
                    <a:lnTo>
                      <a:pt x="732" y="790"/>
                    </a:lnTo>
                    <a:lnTo>
                      <a:pt x="731" y="785"/>
                    </a:lnTo>
                    <a:lnTo>
                      <a:pt x="731" y="782"/>
                    </a:lnTo>
                    <a:lnTo>
                      <a:pt x="729" y="780"/>
                    </a:lnTo>
                    <a:lnTo>
                      <a:pt x="729" y="777"/>
                    </a:lnTo>
                    <a:lnTo>
                      <a:pt x="728" y="774"/>
                    </a:lnTo>
                    <a:lnTo>
                      <a:pt x="727" y="772"/>
                    </a:lnTo>
                    <a:lnTo>
                      <a:pt x="728" y="764"/>
                    </a:lnTo>
                    <a:lnTo>
                      <a:pt x="726" y="760"/>
                    </a:lnTo>
                    <a:lnTo>
                      <a:pt x="725" y="759"/>
                    </a:lnTo>
                    <a:lnTo>
                      <a:pt x="726" y="760"/>
                    </a:lnTo>
                    <a:lnTo>
                      <a:pt x="727" y="760"/>
                    </a:lnTo>
                    <a:lnTo>
                      <a:pt x="735" y="766"/>
                    </a:lnTo>
                    <a:lnTo>
                      <a:pt x="739" y="767"/>
                    </a:lnTo>
                    <a:lnTo>
                      <a:pt x="741" y="765"/>
                    </a:lnTo>
                    <a:lnTo>
                      <a:pt x="744" y="766"/>
                    </a:lnTo>
                    <a:lnTo>
                      <a:pt x="744" y="769"/>
                    </a:lnTo>
                    <a:lnTo>
                      <a:pt x="746" y="770"/>
                    </a:lnTo>
                    <a:lnTo>
                      <a:pt x="750" y="770"/>
                    </a:lnTo>
                    <a:lnTo>
                      <a:pt x="752" y="772"/>
                    </a:lnTo>
                    <a:lnTo>
                      <a:pt x="752" y="773"/>
                    </a:lnTo>
                    <a:lnTo>
                      <a:pt x="752" y="778"/>
                    </a:lnTo>
                    <a:lnTo>
                      <a:pt x="757" y="786"/>
                    </a:lnTo>
                    <a:lnTo>
                      <a:pt x="757" y="790"/>
                    </a:lnTo>
                    <a:lnTo>
                      <a:pt x="759" y="794"/>
                    </a:lnTo>
                    <a:lnTo>
                      <a:pt x="761" y="797"/>
                    </a:lnTo>
                    <a:lnTo>
                      <a:pt x="761" y="799"/>
                    </a:lnTo>
                    <a:lnTo>
                      <a:pt x="765" y="801"/>
                    </a:lnTo>
                    <a:lnTo>
                      <a:pt x="765" y="802"/>
                    </a:lnTo>
                    <a:lnTo>
                      <a:pt x="766" y="806"/>
                    </a:lnTo>
                    <a:lnTo>
                      <a:pt x="769" y="808"/>
                    </a:lnTo>
                    <a:lnTo>
                      <a:pt x="770" y="810"/>
                    </a:lnTo>
                    <a:lnTo>
                      <a:pt x="775" y="815"/>
                    </a:lnTo>
                    <a:lnTo>
                      <a:pt x="777" y="818"/>
                    </a:lnTo>
                    <a:lnTo>
                      <a:pt x="779" y="820"/>
                    </a:lnTo>
                    <a:lnTo>
                      <a:pt x="783" y="821"/>
                    </a:lnTo>
                    <a:lnTo>
                      <a:pt x="783" y="819"/>
                    </a:lnTo>
                    <a:lnTo>
                      <a:pt x="783" y="819"/>
                    </a:lnTo>
                    <a:lnTo>
                      <a:pt x="783" y="820"/>
                    </a:lnTo>
                    <a:lnTo>
                      <a:pt x="787" y="821"/>
                    </a:lnTo>
                    <a:lnTo>
                      <a:pt x="785" y="824"/>
                    </a:lnTo>
                    <a:lnTo>
                      <a:pt x="786" y="827"/>
                    </a:lnTo>
                    <a:lnTo>
                      <a:pt x="790" y="831"/>
                    </a:lnTo>
                    <a:lnTo>
                      <a:pt x="792" y="832"/>
                    </a:lnTo>
                    <a:lnTo>
                      <a:pt x="795" y="833"/>
                    </a:lnTo>
                    <a:lnTo>
                      <a:pt x="797" y="837"/>
                    </a:lnTo>
                    <a:lnTo>
                      <a:pt x="799" y="838"/>
                    </a:lnTo>
                    <a:lnTo>
                      <a:pt x="802" y="838"/>
                    </a:lnTo>
                    <a:lnTo>
                      <a:pt x="804" y="841"/>
                    </a:lnTo>
                    <a:lnTo>
                      <a:pt x="804" y="844"/>
                    </a:lnTo>
                    <a:lnTo>
                      <a:pt x="807" y="843"/>
                    </a:lnTo>
                    <a:lnTo>
                      <a:pt x="805" y="845"/>
                    </a:lnTo>
                    <a:lnTo>
                      <a:pt x="804" y="845"/>
                    </a:lnTo>
                    <a:lnTo>
                      <a:pt x="802" y="848"/>
                    </a:lnTo>
                    <a:lnTo>
                      <a:pt x="802" y="851"/>
                    </a:lnTo>
                    <a:lnTo>
                      <a:pt x="803" y="852"/>
                    </a:lnTo>
                    <a:lnTo>
                      <a:pt x="805" y="854"/>
                    </a:lnTo>
                    <a:lnTo>
                      <a:pt x="808" y="854"/>
                    </a:lnTo>
                    <a:lnTo>
                      <a:pt x="810" y="854"/>
                    </a:lnTo>
                    <a:lnTo>
                      <a:pt x="813" y="858"/>
                    </a:lnTo>
                    <a:lnTo>
                      <a:pt x="814" y="859"/>
                    </a:lnTo>
                    <a:lnTo>
                      <a:pt x="818" y="860"/>
                    </a:lnTo>
                    <a:lnTo>
                      <a:pt x="821" y="862"/>
                    </a:lnTo>
                    <a:lnTo>
                      <a:pt x="821" y="863"/>
                    </a:lnTo>
                    <a:lnTo>
                      <a:pt x="821" y="867"/>
                    </a:lnTo>
                    <a:lnTo>
                      <a:pt x="822" y="869"/>
                    </a:lnTo>
                    <a:lnTo>
                      <a:pt x="826" y="870"/>
                    </a:lnTo>
                    <a:lnTo>
                      <a:pt x="827" y="872"/>
                    </a:lnTo>
                    <a:lnTo>
                      <a:pt x="834" y="877"/>
                    </a:lnTo>
                    <a:lnTo>
                      <a:pt x="842" y="887"/>
                    </a:lnTo>
                    <a:lnTo>
                      <a:pt x="844" y="889"/>
                    </a:lnTo>
                    <a:lnTo>
                      <a:pt x="850" y="894"/>
                    </a:lnTo>
                    <a:lnTo>
                      <a:pt x="853" y="900"/>
                    </a:lnTo>
                    <a:lnTo>
                      <a:pt x="854" y="902"/>
                    </a:lnTo>
                    <a:lnTo>
                      <a:pt x="854" y="908"/>
                    </a:lnTo>
                    <a:lnTo>
                      <a:pt x="857" y="913"/>
                    </a:lnTo>
                    <a:lnTo>
                      <a:pt x="860" y="913"/>
                    </a:lnTo>
                    <a:lnTo>
                      <a:pt x="860" y="919"/>
                    </a:lnTo>
                    <a:lnTo>
                      <a:pt x="857" y="921"/>
                    </a:lnTo>
                    <a:lnTo>
                      <a:pt x="856" y="925"/>
                    </a:lnTo>
                    <a:lnTo>
                      <a:pt x="860" y="926"/>
                    </a:lnTo>
                    <a:lnTo>
                      <a:pt x="860" y="926"/>
                    </a:lnTo>
                    <a:lnTo>
                      <a:pt x="859" y="927"/>
                    </a:lnTo>
                    <a:lnTo>
                      <a:pt x="854" y="930"/>
                    </a:lnTo>
                    <a:lnTo>
                      <a:pt x="855" y="932"/>
                    </a:lnTo>
                    <a:lnTo>
                      <a:pt x="856" y="935"/>
                    </a:lnTo>
                    <a:lnTo>
                      <a:pt x="862" y="943"/>
                    </a:lnTo>
                    <a:lnTo>
                      <a:pt x="865" y="946"/>
                    </a:lnTo>
                    <a:lnTo>
                      <a:pt x="872" y="948"/>
                    </a:lnTo>
                    <a:lnTo>
                      <a:pt x="877" y="952"/>
                    </a:lnTo>
                    <a:lnTo>
                      <a:pt x="880" y="954"/>
                    </a:lnTo>
                    <a:lnTo>
                      <a:pt x="885" y="960"/>
                    </a:lnTo>
                    <a:lnTo>
                      <a:pt x="890" y="961"/>
                    </a:lnTo>
                    <a:lnTo>
                      <a:pt x="893" y="963"/>
                    </a:lnTo>
                    <a:lnTo>
                      <a:pt x="902" y="964"/>
                    </a:lnTo>
                    <a:lnTo>
                      <a:pt x="903" y="964"/>
                    </a:lnTo>
                    <a:lnTo>
                      <a:pt x="906" y="964"/>
                    </a:lnTo>
                    <a:lnTo>
                      <a:pt x="908" y="968"/>
                    </a:lnTo>
                    <a:lnTo>
                      <a:pt x="916" y="974"/>
                    </a:lnTo>
                    <a:lnTo>
                      <a:pt x="931" y="979"/>
                    </a:lnTo>
                    <a:lnTo>
                      <a:pt x="935" y="981"/>
                    </a:lnTo>
                    <a:lnTo>
                      <a:pt x="949" y="985"/>
                    </a:lnTo>
                    <a:lnTo>
                      <a:pt x="950" y="987"/>
                    </a:lnTo>
                    <a:lnTo>
                      <a:pt x="957" y="989"/>
                    </a:lnTo>
                    <a:lnTo>
                      <a:pt x="962" y="992"/>
                    </a:lnTo>
                    <a:lnTo>
                      <a:pt x="965" y="992"/>
                    </a:lnTo>
                    <a:lnTo>
                      <a:pt x="970" y="994"/>
                    </a:lnTo>
                    <a:lnTo>
                      <a:pt x="974" y="996"/>
                    </a:lnTo>
                    <a:lnTo>
                      <a:pt x="980" y="997"/>
                    </a:lnTo>
                    <a:lnTo>
                      <a:pt x="980" y="996"/>
                    </a:lnTo>
                    <a:lnTo>
                      <a:pt x="982" y="996"/>
                    </a:lnTo>
                    <a:lnTo>
                      <a:pt x="985" y="995"/>
                    </a:lnTo>
                    <a:lnTo>
                      <a:pt x="987" y="994"/>
                    </a:lnTo>
                    <a:lnTo>
                      <a:pt x="992" y="992"/>
                    </a:lnTo>
                    <a:lnTo>
                      <a:pt x="998" y="989"/>
                    </a:lnTo>
                    <a:lnTo>
                      <a:pt x="998" y="989"/>
                    </a:lnTo>
                    <a:lnTo>
                      <a:pt x="1000" y="989"/>
                    </a:lnTo>
                    <a:lnTo>
                      <a:pt x="1002" y="989"/>
                    </a:lnTo>
                    <a:lnTo>
                      <a:pt x="1000" y="988"/>
                    </a:lnTo>
                    <a:lnTo>
                      <a:pt x="1000" y="987"/>
                    </a:lnTo>
                    <a:lnTo>
                      <a:pt x="1002" y="986"/>
                    </a:lnTo>
                    <a:lnTo>
                      <a:pt x="1004" y="989"/>
                    </a:lnTo>
                    <a:lnTo>
                      <a:pt x="1006" y="989"/>
                    </a:lnTo>
                    <a:lnTo>
                      <a:pt x="1013" y="991"/>
                    </a:lnTo>
                    <a:lnTo>
                      <a:pt x="1012" y="990"/>
                    </a:lnTo>
                    <a:lnTo>
                      <a:pt x="1009" y="989"/>
                    </a:lnTo>
                    <a:lnTo>
                      <a:pt x="1013" y="989"/>
                    </a:lnTo>
                    <a:lnTo>
                      <a:pt x="1015" y="990"/>
                    </a:lnTo>
                    <a:lnTo>
                      <a:pt x="1017" y="994"/>
                    </a:lnTo>
                    <a:lnTo>
                      <a:pt x="1027" y="1002"/>
                    </a:lnTo>
                    <a:lnTo>
                      <a:pt x="1030" y="1003"/>
                    </a:lnTo>
                    <a:lnTo>
                      <a:pt x="1031" y="1006"/>
                    </a:lnTo>
                    <a:lnTo>
                      <a:pt x="1038" y="1012"/>
                    </a:lnTo>
                    <a:lnTo>
                      <a:pt x="1047" y="1020"/>
                    </a:lnTo>
                    <a:lnTo>
                      <a:pt x="1050" y="1021"/>
                    </a:lnTo>
                    <a:lnTo>
                      <a:pt x="1053" y="1021"/>
                    </a:lnTo>
                    <a:lnTo>
                      <a:pt x="1059" y="1021"/>
                    </a:lnTo>
                    <a:lnTo>
                      <a:pt x="1061" y="1021"/>
                    </a:lnTo>
                    <a:lnTo>
                      <a:pt x="1068" y="1024"/>
                    </a:lnTo>
                    <a:lnTo>
                      <a:pt x="1070" y="1026"/>
                    </a:lnTo>
                    <a:lnTo>
                      <a:pt x="1077" y="1028"/>
                    </a:lnTo>
                    <a:lnTo>
                      <a:pt x="1079" y="1028"/>
                    </a:lnTo>
                    <a:lnTo>
                      <a:pt x="1084" y="1030"/>
                    </a:lnTo>
                    <a:lnTo>
                      <a:pt x="1090" y="1031"/>
                    </a:lnTo>
                    <a:lnTo>
                      <a:pt x="1086" y="1030"/>
                    </a:lnTo>
                    <a:lnTo>
                      <a:pt x="1091" y="1031"/>
                    </a:lnTo>
                    <a:lnTo>
                      <a:pt x="1091" y="1031"/>
                    </a:lnTo>
                    <a:lnTo>
                      <a:pt x="1095" y="1031"/>
                    </a:lnTo>
                    <a:lnTo>
                      <a:pt x="1098" y="1030"/>
                    </a:lnTo>
                    <a:lnTo>
                      <a:pt x="1098" y="1028"/>
                    </a:lnTo>
                    <a:lnTo>
                      <a:pt x="1098" y="1029"/>
                    </a:lnTo>
                    <a:lnTo>
                      <a:pt x="1100" y="1029"/>
                    </a:lnTo>
                    <a:lnTo>
                      <a:pt x="1101" y="1029"/>
                    </a:lnTo>
                    <a:lnTo>
                      <a:pt x="1104" y="1029"/>
                    </a:lnTo>
                    <a:lnTo>
                      <a:pt x="1103" y="1029"/>
                    </a:lnTo>
                    <a:lnTo>
                      <a:pt x="1103" y="1032"/>
                    </a:lnTo>
                    <a:lnTo>
                      <a:pt x="1106" y="1033"/>
                    </a:lnTo>
                    <a:lnTo>
                      <a:pt x="1106" y="1034"/>
                    </a:lnTo>
                    <a:lnTo>
                      <a:pt x="1104" y="1034"/>
                    </a:lnTo>
                    <a:lnTo>
                      <a:pt x="1101" y="1033"/>
                    </a:lnTo>
                    <a:lnTo>
                      <a:pt x="1100" y="1033"/>
                    </a:lnTo>
                    <a:lnTo>
                      <a:pt x="1102" y="1037"/>
                    </a:lnTo>
                    <a:lnTo>
                      <a:pt x="1107" y="1041"/>
                    </a:lnTo>
                    <a:lnTo>
                      <a:pt x="1108" y="1041"/>
                    </a:lnTo>
                    <a:lnTo>
                      <a:pt x="1108" y="1041"/>
                    </a:lnTo>
                    <a:lnTo>
                      <a:pt x="1107" y="1041"/>
                    </a:lnTo>
                    <a:lnTo>
                      <a:pt x="1112" y="1045"/>
                    </a:lnTo>
                    <a:lnTo>
                      <a:pt x="1113" y="1048"/>
                    </a:lnTo>
                    <a:lnTo>
                      <a:pt x="1118" y="1052"/>
                    </a:lnTo>
                    <a:lnTo>
                      <a:pt x="1120" y="1055"/>
                    </a:lnTo>
                    <a:lnTo>
                      <a:pt x="1127" y="1060"/>
                    </a:lnTo>
                    <a:lnTo>
                      <a:pt x="1125" y="1063"/>
                    </a:lnTo>
                    <a:lnTo>
                      <a:pt x="1125" y="1064"/>
                    </a:lnTo>
                    <a:lnTo>
                      <a:pt x="1128" y="1065"/>
                    </a:lnTo>
                    <a:lnTo>
                      <a:pt x="1127" y="1067"/>
                    </a:lnTo>
                    <a:lnTo>
                      <a:pt x="1125" y="1071"/>
                    </a:lnTo>
                    <a:lnTo>
                      <a:pt x="1125" y="1073"/>
                    </a:lnTo>
                    <a:lnTo>
                      <a:pt x="1128" y="1076"/>
                    </a:lnTo>
                    <a:lnTo>
                      <a:pt x="1130" y="1077"/>
                    </a:lnTo>
                    <a:lnTo>
                      <a:pt x="1134" y="1079"/>
                    </a:lnTo>
                    <a:lnTo>
                      <a:pt x="1135" y="1081"/>
                    </a:lnTo>
                    <a:lnTo>
                      <a:pt x="1137" y="1079"/>
                    </a:lnTo>
                    <a:lnTo>
                      <a:pt x="1137" y="1076"/>
                    </a:lnTo>
                    <a:lnTo>
                      <a:pt x="1135" y="1075"/>
                    </a:lnTo>
                    <a:lnTo>
                      <a:pt x="1134" y="1074"/>
                    </a:lnTo>
                    <a:lnTo>
                      <a:pt x="1133" y="1072"/>
                    </a:lnTo>
                    <a:lnTo>
                      <a:pt x="1134" y="1072"/>
                    </a:lnTo>
                    <a:lnTo>
                      <a:pt x="1134" y="1073"/>
                    </a:lnTo>
                    <a:lnTo>
                      <a:pt x="1136" y="1073"/>
                    </a:lnTo>
                    <a:lnTo>
                      <a:pt x="1142" y="1079"/>
                    </a:lnTo>
                    <a:lnTo>
                      <a:pt x="1142" y="1080"/>
                    </a:lnTo>
                    <a:lnTo>
                      <a:pt x="1143" y="1082"/>
                    </a:lnTo>
                    <a:lnTo>
                      <a:pt x="1147" y="1083"/>
                    </a:lnTo>
                    <a:lnTo>
                      <a:pt x="1153" y="1086"/>
                    </a:lnTo>
                    <a:lnTo>
                      <a:pt x="1155" y="1090"/>
                    </a:lnTo>
                    <a:lnTo>
                      <a:pt x="1157" y="1091"/>
                    </a:lnTo>
                    <a:lnTo>
                      <a:pt x="1154" y="1093"/>
                    </a:lnTo>
                    <a:lnTo>
                      <a:pt x="1154" y="1096"/>
                    </a:lnTo>
                    <a:lnTo>
                      <a:pt x="1160" y="1098"/>
                    </a:lnTo>
                    <a:lnTo>
                      <a:pt x="1160" y="1096"/>
                    </a:lnTo>
                    <a:lnTo>
                      <a:pt x="1159" y="1093"/>
                    </a:lnTo>
                    <a:lnTo>
                      <a:pt x="1161" y="1094"/>
                    </a:lnTo>
                    <a:lnTo>
                      <a:pt x="1166" y="1102"/>
                    </a:lnTo>
                    <a:lnTo>
                      <a:pt x="1164" y="1099"/>
                    </a:lnTo>
                    <a:lnTo>
                      <a:pt x="1164" y="1099"/>
                    </a:lnTo>
                    <a:lnTo>
                      <a:pt x="1164" y="1098"/>
                    </a:lnTo>
                    <a:lnTo>
                      <a:pt x="1166" y="1097"/>
                    </a:lnTo>
                    <a:lnTo>
                      <a:pt x="1167" y="1097"/>
                    </a:lnTo>
                    <a:lnTo>
                      <a:pt x="1167" y="1096"/>
                    </a:lnTo>
                    <a:lnTo>
                      <a:pt x="1166" y="1092"/>
                    </a:lnTo>
                    <a:lnTo>
                      <a:pt x="1167" y="1091"/>
                    </a:lnTo>
                    <a:lnTo>
                      <a:pt x="1168" y="1090"/>
                    </a:lnTo>
                    <a:lnTo>
                      <a:pt x="1168" y="1090"/>
                    </a:lnTo>
                    <a:lnTo>
                      <a:pt x="1164" y="1089"/>
                    </a:lnTo>
                    <a:lnTo>
                      <a:pt x="1164" y="1085"/>
                    </a:lnTo>
                    <a:lnTo>
                      <a:pt x="1167" y="1082"/>
                    </a:lnTo>
                    <a:lnTo>
                      <a:pt x="1166" y="1081"/>
                    </a:lnTo>
                    <a:lnTo>
                      <a:pt x="1167" y="1081"/>
                    </a:lnTo>
                    <a:lnTo>
                      <a:pt x="1169" y="1082"/>
                    </a:lnTo>
                    <a:lnTo>
                      <a:pt x="1170" y="1081"/>
                    </a:lnTo>
                    <a:lnTo>
                      <a:pt x="1166" y="1079"/>
                    </a:lnTo>
                    <a:lnTo>
                      <a:pt x="1163" y="1075"/>
                    </a:lnTo>
                    <a:lnTo>
                      <a:pt x="1163" y="1075"/>
                    </a:lnTo>
                    <a:lnTo>
                      <a:pt x="1160" y="1072"/>
                    </a:lnTo>
                    <a:lnTo>
                      <a:pt x="1157" y="1067"/>
                    </a:lnTo>
                    <a:lnTo>
                      <a:pt x="1155" y="1065"/>
                    </a:lnTo>
                    <a:lnTo>
                      <a:pt x="1155" y="1065"/>
                    </a:lnTo>
                    <a:lnTo>
                      <a:pt x="1155" y="1063"/>
                    </a:lnTo>
                    <a:lnTo>
                      <a:pt x="1154" y="1063"/>
                    </a:lnTo>
                    <a:lnTo>
                      <a:pt x="1153" y="1060"/>
                    </a:lnTo>
                    <a:lnTo>
                      <a:pt x="1152" y="1057"/>
                    </a:lnTo>
                    <a:lnTo>
                      <a:pt x="1155" y="1051"/>
                    </a:lnTo>
                    <a:lnTo>
                      <a:pt x="1153" y="1049"/>
                    </a:lnTo>
                    <a:lnTo>
                      <a:pt x="1154" y="1046"/>
                    </a:lnTo>
                    <a:lnTo>
                      <a:pt x="1155" y="1043"/>
                    </a:lnTo>
                    <a:lnTo>
                      <a:pt x="1154" y="1042"/>
                    </a:lnTo>
                    <a:lnTo>
                      <a:pt x="1155" y="1039"/>
                    </a:lnTo>
                    <a:lnTo>
                      <a:pt x="1155" y="1037"/>
                    </a:lnTo>
                    <a:lnTo>
                      <a:pt x="1157" y="1037"/>
                    </a:lnTo>
                    <a:lnTo>
                      <a:pt x="1155" y="1040"/>
                    </a:lnTo>
                    <a:lnTo>
                      <a:pt x="1155" y="1040"/>
                    </a:lnTo>
                    <a:lnTo>
                      <a:pt x="1155" y="1042"/>
                    </a:lnTo>
                    <a:lnTo>
                      <a:pt x="1157" y="1040"/>
                    </a:lnTo>
                    <a:lnTo>
                      <a:pt x="1157" y="1038"/>
                    </a:lnTo>
                    <a:lnTo>
                      <a:pt x="1158" y="1035"/>
                    </a:lnTo>
                    <a:lnTo>
                      <a:pt x="1157" y="1033"/>
                    </a:lnTo>
                    <a:lnTo>
                      <a:pt x="1157" y="1029"/>
                    </a:lnTo>
                    <a:lnTo>
                      <a:pt x="1158" y="1021"/>
                    </a:lnTo>
                    <a:lnTo>
                      <a:pt x="1161" y="1016"/>
                    </a:lnTo>
                    <a:lnTo>
                      <a:pt x="1161" y="1014"/>
                    </a:lnTo>
                    <a:lnTo>
                      <a:pt x="1160" y="1009"/>
                    </a:lnTo>
                    <a:lnTo>
                      <a:pt x="1162" y="1006"/>
                    </a:lnTo>
                    <a:lnTo>
                      <a:pt x="1161" y="1005"/>
                    </a:lnTo>
                    <a:lnTo>
                      <a:pt x="1159" y="1003"/>
                    </a:lnTo>
                    <a:lnTo>
                      <a:pt x="1157" y="1002"/>
                    </a:lnTo>
                    <a:lnTo>
                      <a:pt x="1157" y="1002"/>
                    </a:lnTo>
                    <a:lnTo>
                      <a:pt x="1153" y="1003"/>
                    </a:lnTo>
                    <a:lnTo>
                      <a:pt x="1151" y="1000"/>
                    </a:lnTo>
                    <a:lnTo>
                      <a:pt x="1152" y="1003"/>
                    </a:lnTo>
                    <a:lnTo>
                      <a:pt x="1151" y="1002"/>
                    </a:lnTo>
                    <a:lnTo>
                      <a:pt x="1149" y="999"/>
                    </a:lnTo>
                    <a:lnTo>
                      <a:pt x="1151" y="998"/>
                    </a:lnTo>
                    <a:lnTo>
                      <a:pt x="1154" y="1000"/>
                    </a:lnTo>
                    <a:lnTo>
                      <a:pt x="1154" y="1000"/>
                    </a:lnTo>
                    <a:lnTo>
                      <a:pt x="1151" y="998"/>
                    </a:lnTo>
                    <a:lnTo>
                      <a:pt x="1146" y="994"/>
                    </a:lnTo>
                    <a:lnTo>
                      <a:pt x="1144" y="995"/>
                    </a:lnTo>
                    <a:lnTo>
                      <a:pt x="1142" y="994"/>
                    </a:lnTo>
                    <a:lnTo>
                      <a:pt x="1137" y="992"/>
                    </a:lnTo>
                    <a:lnTo>
                      <a:pt x="1130" y="994"/>
                    </a:lnTo>
                    <a:lnTo>
                      <a:pt x="1127" y="992"/>
                    </a:lnTo>
                    <a:lnTo>
                      <a:pt x="1127" y="992"/>
                    </a:lnTo>
                    <a:lnTo>
                      <a:pt x="1125" y="992"/>
                    </a:lnTo>
                    <a:lnTo>
                      <a:pt x="1124" y="994"/>
                    </a:lnTo>
                    <a:lnTo>
                      <a:pt x="1120" y="994"/>
                    </a:lnTo>
                    <a:lnTo>
                      <a:pt x="1118" y="995"/>
                    </a:lnTo>
                    <a:lnTo>
                      <a:pt x="1117" y="995"/>
                    </a:lnTo>
                    <a:lnTo>
                      <a:pt x="1108" y="995"/>
                    </a:lnTo>
                    <a:lnTo>
                      <a:pt x="1104" y="994"/>
                    </a:lnTo>
                    <a:lnTo>
                      <a:pt x="1102" y="995"/>
                    </a:lnTo>
                    <a:lnTo>
                      <a:pt x="1099" y="992"/>
                    </a:lnTo>
                    <a:lnTo>
                      <a:pt x="1095" y="995"/>
                    </a:lnTo>
                    <a:lnTo>
                      <a:pt x="1093" y="996"/>
                    </a:lnTo>
                    <a:lnTo>
                      <a:pt x="1090" y="994"/>
                    </a:lnTo>
                    <a:lnTo>
                      <a:pt x="1089" y="994"/>
                    </a:lnTo>
                    <a:lnTo>
                      <a:pt x="1087" y="996"/>
                    </a:lnTo>
                    <a:lnTo>
                      <a:pt x="1087" y="995"/>
                    </a:lnTo>
                    <a:lnTo>
                      <a:pt x="1083" y="994"/>
                    </a:lnTo>
                    <a:lnTo>
                      <a:pt x="1083" y="992"/>
                    </a:lnTo>
                    <a:lnTo>
                      <a:pt x="1086" y="988"/>
                    </a:lnTo>
                    <a:lnTo>
                      <a:pt x="1089" y="987"/>
                    </a:lnTo>
                    <a:lnTo>
                      <a:pt x="1090" y="985"/>
                    </a:lnTo>
                    <a:lnTo>
                      <a:pt x="1091" y="985"/>
                    </a:lnTo>
                    <a:lnTo>
                      <a:pt x="1092" y="981"/>
                    </a:lnTo>
                    <a:lnTo>
                      <a:pt x="1092" y="973"/>
                    </a:lnTo>
                    <a:lnTo>
                      <a:pt x="1093" y="971"/>
                    </a:lnTo>
                    <a:lnTo>
                      <a:pt x="1092" y="970"/>
                    </a:lnTo>
                    <a:lnTo>
                      <a:pt x="1094" y="962"/>
                    </a:lnTo>
                    <a:lnTo>
                      <a:pt x="1094" y="960"/>
                    </a:lnTo>
                    <a:lnTo>
                      <a:pt x="1092" y="956"/>
                    </a:lnTo>
                    <a:lnTo>
                      <a:pt x="1092" y="954"/>
                    </a:lnTo>
                    <a:lnTo>
                      <a:pt x="1095" y="953"/>
                    </a:lnTo>
                    <a:lnTo>
                      <a:pt x="1094" y="955"/>
                    </a:lnTo>
                    <a:lnTo>
                      <a:pt x="1098" y="961"/>
                    </a:lnTo>
                    <a:lnTo>
                      <a:pt x="1103" y="945"/>
                    </a:lnTo>
                    <a:lnTo>
                      <a:pt x="1101" y="946"/>
                    </a:lnTo>
                    <a:lnTo>
                      <a:pt x="1100" y="945"/>
                    </a:lnTo>
                    <a:lnTo>
                      <a:pt x="1102" y="941"/>
                    </a:lnTo>
                    <a:lnTo>
                      <a:pt x="1100" y="941"/>
                    </a:lnTo>
                    <a:lnTo>
                      <a:pt x="1103" y="936"/>
                    </a:lnTo>
                    <a:lnTo>
                      <a:pt x="1103" y="934"/>
                    </a:lnTo>
                    <a:lnTo>
                      <a:pt x="1104" y="931"/>
                    </a:lnTo>
                    <a:lnTo>
                      <a:pt x="1106" y="929"/>
                    </a:lnTo>
                    <a:lnTo>
                      <a:pt x="1109" y="926"/>
                    </a:lnTo>
                    <a:lnTo>
                      <a:pt x="1111" y="923"/>
                    </a:lnTo>
                    <a:lnTo>
                      <a:pt x="1111" y="921"/>
                    </a:lnTo>
                    <a:lnTo>
                      <a:pt x="1111" y="917"/>
                    </a:lnTo>
                    <a:lnTo>
                      <a:pt x="1110" y="914"/>
                    </a:lnTo>
                    <a:lnTo>
                      <a:pt x="1108" y="912"/>
                    </a:lnTo>
                    <a:lnTo>
                      <a:pt x="1104" y="914"/>
                    </a:lnTo>
                    <a:lnTo>
                      <a:pt x="1094" y="912"/>
                    </a:lnTo>
                    <a:lnTo>
                      <a:pt x="1091" y="913"/>
                    </a:lnTo>
                    <a:lnTo>
                      <a:pt x="1090" y="913"/>
                    </a:lnTo>
                    <a:lnTo>
                      <a:pt x="1084" y="915"/>
                    </a:lnTo>
                    <a:lnTo>
                      <a:pt x="1070" y="917"/>
                    </a:lnTo>
                    <a:lnTo>
                      <a:pt x="1065" y="920"/>
                    </a:lnTo>
                    <a:lnTo>
                      <a:pt x="1063" y="922"/>
                    </a:lnTo>
                    <a:lnTo>
                      <a:pt x="1064" y="923"/>
                    </a:lnTo>
                    <a:lnTo>
                      <a:pt x="1063" y="925"/>
                    </a:lnTo>
                    <a:lnTo>
                      <a:pt x="1061" y="927"/>
                    </a:lnTo>
                    <a:lnTo>
                      <a:pt x="1061" y="930"/>
                    </a:lnTo>
                    <a:lnTo>
                      <a:pt x="1061" y="932"/>
                    </a:lnTo>
                    <a:lnTo>
                      <a:pt x="1061" y="935"/>
                    </a:lnTo>
                    <a:lnTo>
                      <a:pt x="1061" y="936"/>
                    </a:lnTo>
                    <a:lnTo>
                      <a:pt x="1059" y="938"/>
                    </a:lnTo>
                    <a:lnTo>
                      <a:pt x="1058" y="944"/>
                    </a:lnTo>
                    <a:lnTo>
                      <a:pt x="1056" y="947"/>
                    </a:lnTo>
                    <a:lnTo>
                      <a:pt x="1050" y="949"/>
                    </a:lnTo>
                    <a:lnTo>
                      <a:pt x="1048" y="952"/>
                    </a:lnTo>
                    <a:lnTo>
                      <a:pt x="1049" y="952"/>
                    </a:lnTo>
                    <a:lnTo>
                      <a:pt x="1051" y="955"/>
                    </a:lnTo>
                    <a:lnTo>
                      <a:pt x="1050" y="955"/>
                    </a:lnTo>
                    <a:lnTo>
                      <a:pt x="1048" y="957"/>
                    </a:lnTo>
                    <a:lnTo>
                      <a:pt x="1046" y="957"/>
                    </a:lnTo>
                    <a:lnTo>
                      <a:pt x="1043" y="957"/>
                    </a:lnTo>
                    <a:lnTo>
                      <a:pt x="1041" y="955"/>
                    </a:lnTo>
                    <a:lnTo>
                      <a:pt x="1042" y="955"/>
                    </a:lnTo>
                    <a:lnTo>
                      <a:pt x="1040" y="954"/>
                    </a:lnTo>
                    <a:lnTo>
                      <a:pt x="1034" y="954"/>
                    </a:lnTo>
                    <a:lnTo>
                      <a:pt x="1033" y="955"/>
                    </a:lnTo>
                    <a:lnTo>
                      <a:pt x="1032" y="957"/>
                    </a:lnTo>
                    <a:lnTo>
                      <a:pt x="1031" y="956"/>
                    </a:lnTo>
                    <a:lnTo>
                      <a:pt x="1029" y="957"/>
                    </a:lnTo>
                    <a:lnTo>
                      <a:pt x="1025" y="957"/>
                    </a:lnTo>
                    <a:lnTo>
                      <a:pt x="1021" y="957"/>
                    </a:lnTo>
                    <a:lnTo>
                      <a:pt x="1010" y="961"/>
                    </a:lnTo>
                    <a:lnTo>
                      <a:pt x="1007" y="962"/>
                    </a:lnTo>
                    <a:lnTo>
                      <a:pt x="1006" y="961"/>
                    </a:lnTo>
                    <a:lnTo>
                      <a:pt x="1002" y="956"/>
                    </a:lnTo>
                    <a:lnTo>
                      <a:pt x="1000" y="956"/>
                    </a:lnTo>
                    <a:lnTo>
                      <a:pt x="996" y="954"/>
                    </a:lnTo>
                    <a:lnTo>
                      <a:pt x="991" y="953"/>
                    </a:lnTo>
                    <a:lnTo>
                      <a:pt x="989" y="953"/>
                    </a:lnTo>
                    <a:lnTo>
                      <a:pt x="989" y="953"/>
                    </a:lnTo>
                    <a:lnTo>
                      <a:pt x="988" y="954"/>
                    </a:lnTo>
                    <a:lnTo>
                      <a:pt x="988" y="955"/>
                    </a:lnTo>
                    <a:lnTo>
                      <a:pt x="987" y="955"/>
                    </a:lnTo>
                    <a:lnTo>
                      <a:pt x="988" y="954"/>
                    </a:lnTo>
                    <a:lnTo>
                      <a:pt x="987" y="952"/>
                    </a:lnTo>
                    <a:lnTo>
                      <a:pt x="989" y="953"/>
                    </a:lnTo>
                    <a:lnTo>
                      <a:pt x="987" y="952"/>
                    </a:lnTo>
                    <a:lnTo>
                      <a:pt x="985" y="948"/>
                    </a:lnTo>
                    <a:lnTo>
                      <a:pt x="982" y="945"/>
                    </a:lnTo>
                    <a:lnTo>
                      <a:pt x="981" y="944"/>
                    </a:lnTo>
                    <a:lnTo>
                      <a:pt x="980" y="938"/>
                    </a:lnTo>
                    <a:lnTo>
                      <a:pt x="979" y="935"/>
                    </a:lnTo>
                    <a:lnTo>
                      <a:pt x="971" y="927"/>
                    </a:lnTo>
                    <a:lnTo>
                      <a:pt x="967" y="919"/>
                    </a:lnTo>
                    <a:lnTo>
                      <a:pt x="965" y="914"/>
                    </a:lnTo>
                    <a:lnTo>
                      <a:pt x="964" y="912"/>
                    </a:lnTo>
                    <a:lnTo>
                      <a:pt x="963" y="910"/>
                    </a:lnTo>
                    <a:lnTo>
                      <a:pt x="963" y="906"/>
                    </a:lnTo>
                    <a:lnTo>
                      <a:pt x="964" y="910"/>
                    </a:lnTo>
                    <a:lnTo>
                      <a:pt x="967" y="913"/>
                    </a:lnTo>
                    <a:lnTo>
                      <a:pt x="966" y="915"/>
                    </a:lnTo>
                    <a:lnTo>
                      <a:pt x="967" y="917"/>
                    </a:lnTo>
                    <a:lnTo>
                      <a:pt x="968" y="913"/>
                    </a:lnTo>
                    <a:lnTo>
                      <a:pt x="967" y="912"/>
                    </a:lnTo>
                    <a:lnTo>
                      <a:pt x="964" y="910"/>
                    </a:lnTo>
                    <a:lnTo>
                      <a:pt x="963" y="906"/>
                    </a:lnTo>
                    <a:lnTo>
                      <a:pt x="962" y="904"/>
                    </a:lnTo>
                    <a:lnTo>
                      <a:pt x="962" y="903"/>
                    </a:lnTo>
                    <a:lnTo>
                      <a:pt x="961" y="901"/>
                    </a:lnTo>
                    <a:lnTo>
                      <a:pt x="961" y="896"/>
                    </a:lnTo>
                    <a:lnTo>
                      <a:pt x="962" y="893"/>
                    </a:lnTo>
                    <a:lnTo>
                      <a:pt x="962" y="891"/>
                    </a:lnTo>
                    <a:lnTo>
                      <a:pt x="962" y="884"/>
                    </a:lnTo>
                    <a:lnTo>
                      <a:pt x="961" y="880"/>
                    </a:lnTo>
                    <a:lnTo>
                      <a:pt x="962" y="880"/>
                    </a:lnTo>
                    <a:lnTo>
                      <a:pt x="962" y="878"/>
                    </a:lnTo>
                    <a:lnTo>
                      <a:pt x="962" y="872"/>
                    </a:lnTo>
                    <a:lnTo>
                      <a:pt x="961" y="869"/>
                    </a:lnTo>
                    <a:lnTo>
                      <a:pt x="963" y="867"/>
                    </a:lnTo>
                    <a:lnTo>
                      <a:pt x="963" y="864"/>
                    </a:lnTo>
                    <a:lnTo>
                      <a:pt x="963" y="863"/>
                    </a:lnTo>
                    <a:lnTo>
                      <a:pt x="963" y="858"/>
                    </a:lnTo>
                    <a:lnTo>
                      <a:pt x="965" y="859"/>
                    </a:lnTo>
                    <a:lnTo>
                      <a:pt x="965" y="863"/>
                    </a:lnTo>
                    <a:lnTo>
                      <a:pt x="964" y="869"/>
                    </a:lnTo>
                    <a:lnTo>
                      <a:pt x="962" y="879"/>
                    </a:lnTo>
                    <a:lnTo>
                      <a:pt x="963" y="879"/>
                    </a:lnTo>
                    <a:lnTo>
                      <a:pt x="963" y="871"/>
                    </a:lnTo>
                    <a:lnTo>
                      <a:pt x="965" y="862"/>
                    </a:lnTo>
                    <a:lnTo>
                      <a:pt x="970" y="854"/>
                    </a:lnTo>
                    <a:lnTo>
                      <a:pt x="971" y="849"/>
                    </a:lnTo>
                    <a:lnTo>
                      <a:pt x="968" y="846"/>
                    </a:lnTo>
                    <a:lnTo>
                      <a:pt x="964" y="834"/>
                    </a:lnTo>
                    <a:lnTo>
                      <a:pt x="966" y="832"/>
                    </a:lnTo>
                    <a:lnTo>
                      <a:pt x="964" y="831"/>
                    </a:lnTo>
                    <a:lnTo>
                      <a:pt x="962" y="827"/>
                    </a:lnTo>
                    <a:lnTo>
                      <a:pt x="964" y="828"/>
                    </a:lnTo>
                    <a:lnTo>
                      <a:pt x="966" y="829"/>
                    </a:lnTo>
                    <a:lnTo>
                      <a:pt x="968" y="824"/>
                    </a:lnTo>
                    <a:lnTo>
                      <a:pt x="967" y="821"/>
                    </a:lnTo>
                    <a:lnTo>
                      <a:pt x="965" y="821"/>
                    </a:lnTo>
                    <a:lnTo>
                      <a:pt x="970" y="821"/>
                    </a:lnTo>
                    <a:lnTo>
                      <a:pt x="972" y="818"/>
                    </a:lnTo>
                    <a:lnTo>
                      <a:pt x="972" y="817"/>
                    </a:lnTo>
                    <a:lnTo>
                      <a:pt x="975" y="816"/>
                    </a:lnTo>
                    <a:lnTo>
                      <a:pt x="974" y="814"/>
                    </a:lnTo>
                    <a:lnTo>
                      <a:pt x="975" y="812"/>
                    </a:lnTo>
                    <a:lnTo>
                      <a:pt x="978" y="815"/>
                    </a:lnTo>
                    <a:lnTo>
                      <a:pt x="981" y="812"/>
                    </a:lnTo>
                    <a:lnTo>
                      <a:pt x="978" y="810"/>
                    </a:lnTo>
                    <a:lnTo>
                      <a:pt x="978" y="810"/>
                    </a:lnTo>
                    <a:lnTo>
                      <a:pt x="979" y="809"/>
                    </a:lnTo>
                    <a:lnTo>
                      <a:pt x="980" y="810"/>
                    </a:lnTo>
                    <a:lnTo>
                      <a:pt x="980" y="808"/>
                    </a:lnTo>
                    <a:lnTo>
                      <a:pt x="983" y="809"/>
                    </a:lnTo>
                    <a:lnTo>
                      <a:pt x="984" y="810"/>
                    </a:lnTo>
                    <a:lnTo>
                      <a:pt x="983" y="810"/>
                    </a:lnTo>
                    <a:lnTo>
                      <a:pt x="987" y="810"/>
                    </a:lnTo>
                    <a:lnTo>
                      <a:pt x="983" y="812"/>
                    </a:lnTo>
                    <a:lnTo>
                      <a:pt x="991" y="808"/>
                    </a:lnTo>
                    <a:lnTo>
                      <a:pt x="993" y="807"/>
                    </a:lnTo>
                    <a:lnTo>
                      <a:pt x="995" y="807"/>
                    </a:lnTo>
                    <a:lnTo>
                      <a:pt x="997" y="804"/>
                    </a:lnTo>
                    <a:lnTo>
                      <a:pt x="998" y="802"/>
                    </a:lnTo>
                    <a:lnTo>
                      <a:pt x="1001" y="800"/>
                    </a:lnTo>
                    <a:lnTo>
                      <a:pt x="999" y="794"/>
                    </a:lnTo>
                    <a:lnTo>
                      <a:pt x="999" y="793"/>
                    </a:lnTo>
                    <a:lnTo>
                      <a:pt x="1001" y="794"/>
                    </a:lnTo>
                    <a:lnTo>
                      <a:pt x="1004" y="793"/>
                    </a:lnTo>
                    <a:lnTo>
                      <a:pt x="1005" y="797"/>
                    </a:lnTo>
                    <a:lnTo>
                      <a:pt x="1007" y="797"/>
                    </a:lnTo>
                    <a:lnTo>
                      <a:pt x="1006" y="797"/>
                    </a:lnTo>
                    <a:lnTo>
                      <a:pt x="1002" y="799"/>
                    </a:lnTo>
                    <a:lnTo>
                      <a:pt x="1008" y="795"/>
                    </a:lnTo>
                    <a:lnTo>
                      <a:pt x="1012" y="794"/>
                    </a:lnTo>
                    <a:lnTo>
                      <a:pt x="1014" y="794"/>
                    </a:lnTo>
                    <a:lnTo>
                      <a:pt x="1015" y="793"/>
                    </a:lnTo>
                    <a:lnTo>
                      <a:pt x="1014" y="792"/>
                    </a:lnTo>
                    <a:lnTo>
                      <a:pt x="1016" y="790"/>
                    </a:lnTo>
                    <a:lnTo>
                      <a:pt x="1015" y="792"/>
                    </a:lnTo>
                    <a:lnTo>
                      <a:pt x="1015" y="793"/>
                    </a:lnTo>
                    <a:lnTo>
                      <a:pt x="1021" y="793"/>
                    </a:lnTo>
                    <a:lnTo>
                      <a:pt x="1022" y="792"/>
                    </a:lnTo>
                    <a:lnTo>
                      <a:pt x="1023" y="790"/>
                    </a:lnTo>
                    <a:lnTo>
                      <a:pt x="1023" y="790"/>
                    </a:lnTo>
                    <a:lnTo>
                      <a:pt x="1022" y="792"/>
                    </a:lnTo>
                    <a:lnTo>
                      <a:pt x="1027" y="793"/>
                    </a:lnTo>
                    <a:lnTo>
                      <a:pt x="1031" y="795"/>
                    </a:lnTo>
                    <a:lnTo>
                      <a:pt x="1036" y="797"/>
                    </a:lnTo>
                    <a:lnTo>
                      <a:pt x="1039" y="795"/>
                    </a:lnTo>
                    <a:lnTo>
                      <a:pt x="1040" y="795"/>
                    </a:lnTo>
                    <a:lnTo>
                      <a:pt x="1041" y="792"/>
                    </a:lnTo>
                    <a:lnTo>
                      <a:pt x="1043" y="793"/>
                    </a:lnTo>
                    <a:lnTo>
                      <a:pt x="1049" y="797"/>
                    </a:lnTo>
                    <a:lnTo>
                      <a:pt x="1051" y="795"/>
                    </a:lnTo>
                    <a:lnTo>
                      <a:pt x="1051" y="797"/>
                    </a:lnTo>
                    <a:lnTo>
                      <a:pt x="1055" y="802"/>
                    </a:lnTo>
                    <a:lnTo>
                      <a:pt x="1059" y="802"/>
                    </a:lnTo>
                    <a:lnTo>
                      <a:pt x="1059" y="801"/>
                    </a:lnTo>
                    <a:lnTo>
                      <a:pt x="1063" y="799"/>
                    </a:lnTo>
                    <a:lnTo>
                      <a:pt x="1066" y="802"/>
                    </a:lnTo>
                    <a:lnTo>
                      <a:pt x="1067" y="801"/>
                    </a:lnTo>
                    <a:lnTo>
                      <a:pt x="1067" y="799"/>
                    </a:lnTo>
                    <a:lnTo>
                      <a:pt x="1066" y="795"/>
                    </a:lnTo>
                    <a:lnTo>
                      <a:pt x="1070" y="798"/>
                    </a:lnTo>
                    <a:lnTo>
                      <a:pt x="1074" y="801"/>
                    </a:lnTo>
                    <a:lnTo>
                      <a:pt x="1076" y="802"/>
                    </a:lnTo>
                    <a:lnTo>
                      <a:pt x="1076" y="806"/>
                    </a:lnTo>
                    <a:lnTo>
                      <a:pt x="1078" y="803"/>
                    </a:lnTo>
                    <a:lnTo>
                      <a:pt x="1082" y="802"/>
                    </a:lnTo>
                    <a:lnTo>
                      <a:pt x="1082" y="801"/>
                    </a:lnTo>
                    <a:lnTo>
                      <a:pt x="1079" y="800"/>
                    </a:lnTo>
                    <a:lnTo>
                      <a:pt x="1077" y="799"/>
                    </a:lnTo>
                    <a:lnTo>
                      <a:pt x="1074" y="797"/>
                    </a:lnTo>
                    <a:lnTo>
                      <a:pt x="1073" y="794"/>
                    </a:lnTo>
                    <a:lnTo>
                      <a:pt x="1076" y="792"/>
                    </a:lnTo>
                    <a:lnTo>
                      <a:pt x="1076" y="790"/>
                    </a:lnTo>
                    <a:lnTo>
                      <a:pt x="1074" y="790"/>
                    </a:lnTo>
                    <a:lnTo>
                      <a:pt x="1072" y="790"/>
                    </a:lnTo>
                    <a:lnTo>
                      <a:pt x="1070" y="790"/>
                    </a:lnTo>
                    <a:lnTo>
                      <a:pt x="1073" y="787"/>
                    </a:lnTo>
                    <a:lnTo>
                      <a:pt x="1073" y="787"/>
                    </a:lnTo>
                    <a:lnTo>
                      <a:pt x="1070" y="787"/>
                    </a:lnTo>
                    <a:lnTo>
                      <a:pt x="1068" y="789"/>
                    </a:lnTo>
                    <a:lnTo>
                      <a:pt x="1066" y="789"/>
                    </a:lnTo>
                    <a:lnTo>
                      <a:pt x="1063" y="787"/>
                    </a:lnTo>
                    <a:lnTo>
                      <a:pt x="1064" y="785"/>
                    </a:lnTo>
                    <a:lnTo>
                      <a:pt x="1067" y="784"/>
                    </a:lnTo>
                    <a:lnTo>
                      <a:pt x="1070" y="786"/>
                    </a:lnTo>
                    <a:lnTo>
                      <a:pt x="1072" y="785"/>
                    </a:lnTo>
                    <a:lnTo>
                      <a:pt x="1074" y="786"/>
                    </a:lnTo>
                    <a:lnTo>
                      <a:pt x="1074" y="787"/>
                    </a:lnTo>
                    <a:lnTo>
                      <a:pt x="1077" y="785"/>
                    </a:lnTo>
                    <a:lnTo>
                      <a:pt x="1077" y="784"/>
                    </a:lnTo>
                    <a:lnTo>
                      <a:pt x="1084" y="784"/>
                    </a:lnTo>
                    <a:lnTo>
                      <a:pt x="1084" y="783"/>
                    </a:lnTo>
                    <a:lnTo>
                      <a:pt x="1083" y="783"/>
                    </a:lnTo>
                    <a:lnTo>
                      <a:pt x="1086" y="784"/>
                    </a:lnTo>
                    <a:lnTo>
                      <a:pt x="1093" y="784"/>
                    </a:lnTo>
                    <a:lnTo>
                      <a:pt x="1094" y="781"/>
                    </a:lnTo>
                    <a:lnTo>
                      <a:pt x="1095" y="778"/>
                    </a:lnTo>
                    <a:lnTo>
                      <a:pt x="1096" y="780"/>
                    </a:lnTo>
                    <a:lnTo>
                      <a:pt x="1096" y="782"/>
                    </a:lnTo>
                    <a:lnTo>
                      <a:pt x="1099" y="784"/>
                    </a:lnTo>
                    <a:lnTo>
                      <a:pt x="1095" y="785"/>
                    </a:lnTo>
                    <a:lnTo>
                      <a:pt x="1099" y="786"/>
                    </a:lnTo>
                    <a:lnTo>
                      <a:pt x="1101" y="785"/>
                    </a:lnTo>
                    <a:lnTo>
                      <a:pt x="1103" y="783"/>
                    </a:lnTo>
                    <a:lnTo>
                      <a:pt x="1103" y="782"/>
                    </a:lnTo>
                    <a:lnTo>
                      <a:pt x="1104" y="783"/>
                    </a:lnTo>
                    <a:lnTo>
                      <a:pt x="1107" y="783"/>
                    </a:lnTo>
                    <a:lnTo>
                      <a:pt x="1107" y="782"/>
                    </a:lnTo>
                    <a:lnTo>
                      <a:pt x="1109" y="781"/>
                    </a:lnTo>
                    <a:lnTo>
                      <a:pt x="1109" y="783"/>
                    </a:lnTo>
                    <a:lnTo>
                      <a:pt x="1108" y="784"/>
                    </a:lnTo>
                    <a:lnTo>
                      <a:pt x="1115" y="783"/>
                    </a:lnTo>
                    <a:lnTo>
                      <a:pt x="1120" y="782"/>
                    </a:lnTo>
                    <a:lnTo>
                      <a:pt x="1121" y="783"/>
                    </a:lnTo>
                    <a:lnTo>
                      <a:pt x="1121" y="784"/>
                    </a:lnTo>
                    <a:lnTo>
                      <a:pt x="1120" y="783"/>
                    </a:lnTo>
                    <a:lnTo>
                      <a:pt x="1116" y="783"/>
                    </a:lnTo>
                    <a:lnTo>
                      <a:pt x="1121" y="784"/>
                    </a:lnTo>
                    <a:lnTo>
                      <a:pt x="1127" y="787"/>
                    </a:lnTo>
                    <a:lnTo>
                      <a:pt x="1125" y="785"/>
                    </a:lnTo>
                    <a:lnTo>
                      <a:pt x="1128" y="785"/>
                    </a:lnTo>
                    <a:lnTo>
                      <a:pt x="1127" y="786"/>
                    </a:lnTo>
                    <a:lnTo>
                      <a:pt x="1132" y="789"/>
                    </a:lnTo>
                    <a:lnTo>
                      <a:pt x="1128" y="787"/>
                    </a:lnTo>
                    <a:lnTo>
                      <a:pt x="1129" y="790"/>
                    </a:lnTo>
                    <a:lnTo>
                      <a:pt x="1132" y="791"/>
                    </a:lnTo>
                    <a:lnTo>
                      <a:pt x="1133" y="794"/>
                    </a:lnTo>
                    <a:lnTo>
                      <a:pt x="1134" y="793"/>
                    </a:lnTo>
                    <a:lnTo>
                      <a:pt x="1137" y="793"/>
                    </a:lnTo>
                    <a:lnTo>
                      <a:pt x="1144" y="791"/>
                    </a:lnTo>
                    <a:lnTo>
                      <a:pt x="1144" y="790"/>
                    </a:lnTo>
                    <a:lnTo>
                      <a:pt x="1145" y="790"/>
                    </a:lnTo>
                    <a:lnTo>
                      <a:pt x="1147" y="787"/>
                    </a:lnTo>
                    <a:lnTo>
                      <a:pt x="1151" y="789"/>
                    </a:lnTo>
                    <a:lnTo>
                      <a:pt x="1155" y="791"/>
                    </a:lnTo>
                    <a:lnTo>
                      <a:pt x="1159" y="797"/>
                    </a:lnTo>
                    <a:lnTo>
                      <a:pt x="1161" y="799"/>
                    </a:lnTo>
                    <a:lnTo>
                      <a:pt x="1162" y="800"/>
                    </a:lnTo>
                    <a:lnTo>
                      <a:pt x="1168" y="803"/>
                    </a:lnTo>
                    <a:lnTo>
                      <a:pt x="1169" y="806"/>
                    </a:lnTo>
                    <a:lnTo>
                      <a:pt x="1169" y="811"/>
                    </a:lnTo>
                    <a:lnTo>
                      <a:pt x="1167" y="817"/>
                    </a:lnTo>
                    <a:lnTo>
                      <a:pt x="1167" y="819"/>
                    </a:lnTo>
                    <a:lnTo>
                      <a:pt x="1166" y="821"/>
                    </a:lnTo>
                    <a:lnTo>
                      <a:pt x="1168" y="824"/>
                    </a:lnTo>
                    <a:lnTo>
                      <a:pt x="1169" y="821"/>
                    </a:lnTo>
                    <a:lnTo>
                      <a:pt x="1168" y="819"/>
                    </a:lnTo>
                    <a:lnTo>
                      <a:pt x="1170" y="821"/>
                    </a:lnTo>
                    <a:lnTo>
                      <a:pt x="1171" y="824"/>
                    </a:lnTo>
                    <a:lnTo>
                      <a:pt x="1170" y="825"/>
                    </a:lnTo>
                    <a:lnTo>
                      <a:pt x="1169" y="828"/>
                    </a:lnTo>
                    <a:lnTo>
                      <a:pt x="1171" y="831"/>
                    </a:lnTo>
                    <a:lnTo>
                      <a:pt x="1172" y="835"/>
                    </a:lnTo>
                    <a:lnTo>
                      <a:pt x="1176" y="836"/>
                    </a:lnTo>
                    <a:lnTo>
                      <a:pt x="1174" y="834"/>
                    </a:lnTo>
                    <a:lnTo>
                      <a:pt x="1177" y="835"/>
                    </a:lnTo>
                    <a:lnTo>
                      <a:pt x="1177" y="840"/>
                    </a:lnTo>
                    <a:lnTo>
                      <a:pt x="1180" y="838"/>
                    </a:lnTo>
                    <a:lnTo>
                      <a:pt x="1179" y="841"/>
                    </a:lnTo>
                    <a:lnTo>
                      <a:pt x="1180" y="846"/>
                    </a:lnTo>
                    <a:lnTo>
                      <a:pt x="1181" y="849"/>
                    </a:lnTo>
                    <a:lnTo>
                      <a:pt x="1181" y="850"/>
                    </a:lnTo>
                    <a:lnTo>
                      <a:pt x="1187" y="851"/>
                    </a:lnTo>
                    <a:lnTo>
                      <a:pt x="1189" y="857"/>
                    </a:lnTo>
                    <a:lnTo>
                      <a:pt x="1192" y="859"/>
                    </a:lnTo>
                    <a:lnTo>
                      <a:pt x="1189" y="859"/>
                    </a:lnTo>
                    <a:lnTo>
                      <a:pt x="1192" y="861"/>
                    </a:lnTo>
                    <a:lnTo>
                      <a:pt x="1195" y="861"/>
                    </a:lnTo>
                    <a:lnTo>
                      <a:pt x="1200" y="859"/>
                    </a:lnTo>
                    <a:lnTo>
                      <a:pt x="1202" y="853"/>
                    </a:lnTo>
                    <a:lnTo>
                      <a:pt x="1203" y="852"/>
                    </a:lnTo>
                    <a:lnTo>
                      <a:pt x="1203" y="850"/>
                    </a:lnTo>
                    <a:lnTo>
                      <a:pt x="1204" y="838"/>
                    </a:lnTo>
                    <a:lnTo>
                      <a:pt x="1204" y="836"/>
                    </a:lnTo>
                    <a:lnTo>
                      <a:pt x="1204" y="835"/>
                    </a:lnTo>
                    <a:lnTo>
                      <a:pt x="1203" y="832"/>
                    </a:lnTo>
                    <a:lnTo>
                      <a:pt x="1202" y="831"/>
                    </a:lnTo>
                    <a:lnTo>
                      <a:pt x="1202" y="831"/>
                    </a:lnTo>
                    <a:lnTo>
                      <a:pt x="1201" y="825"/>
                    </a:lnTo>
                    <a:lnTo>
                      <a:pt x="1195" y="814"/>
                    </a:lnTo>
                    <a:lnTo>
                      <a:pt x="1194" y="811"/>
                    </a:lnTo>
                    <a:lnTo>
                      <a:pt x="1194" y="808"/>
                    </a:lnTo>
                    <a:lnTo>
                      <a:pt x="1196" y="810"/>
                    </a:lnTo>
                    <a:lnTo>
                      <a:pt x="1197" y="812"/>
                    </a:lnTo>
                    <a:lnTo>
                      <a:pt x="1196" y="816"/>
                    </a:lnTo>
                    <a:lnTo>
                      <a:pt x="1197" y="818"/>
                    </a:lnTo>
                    <a:lnTo>
                      <a:pt x="1198" y="821"/>
                    </a:lnTo>
                    <a:lnTo>
                      <a:pt x="1197" y="816"/>
                    </a:lnTo>
                    <a:lnTo>
                      <a:pt x="1197" y="810"/>
                    </a:lnTo>
                    <a:lnTo>
                      <a:pt x="1193" y="803"/>
                    </a:lnTo>
                    <a:lnTo>
                      <a:pt x="1191" y="799"/>
                    </a:lnTo>
                    <a:lnTo>
                      <a:pt x="1188" y="793"/>
                    </a:lnTo>
                    <a:lnTo>
                      <a:pt x="1186" y="784"/>
                    </a:lnTo>
                    <a:lnTo>
                      <a:pt x="1185" y="781"/>
                    </a:lnTo>
                    <a:lnTo>
                      <a:pt x="1185" y="773"/>
                    </a:lnTo>
                    <a:lnTo>
                      <a:pt x="1187" y="772"/>
                    </a:lnTo>
                    <a:lnTo>
                      <a:pt x="1185" y="768"/>
                    </a:lnTo>
                    <a:lnTo>
                      <a:pt x="1187" y="769"/>
                    </a:lnTo>
                    <a:lnTo>
                      <a:pt x="1188" y="768"/>
                    </a:lnTo>
                    <a:lnTo>
                      <a:pt x="1187" y="766"/>
                    </a:lnTo>
                    <a:lnTo>
                      <a:pt x="1189" y="764"/>
                    </a:lnTo>
                    <a:lnTo>
                      <a:pt x="1189" y="761"/>
                    </a:lnTo>
                    <a:lnTo>
                      <a:pt x="1193" y="760"/>
                    </a:lnTo>
                    <a:lnTo>
                      <a:pt x="1193" y="759"/>
                    </a:lnTo>
                    <a:lnTo>
                      <a:pt x="1195" y="756"/>
                    </a:lnTo>
                    <a:lnTo>
                      <a:pt x="1194" y="752"/>
                    </a:lnTo>
                    <a:lnTo>
                      <a:pt x="1196" y="755"/>
                    </a:lnTo>
                    <a:lnTo>
                      <a:pt x="1198" y="755"/>
                    </a:lnTo>
                    <a:lnTo>
                      <a:pt x="1198" y="751"/>
                    </a:lnTo>
                    <a:lnTo>
                      <a:pt x="1201" y="751"/>
                    </a:lnTo>
                    <a:lnTo>
                      <a:pt x="1203" y="750"/>
                    </a:lnTo>
                    <a:lnTo>
                      <a:pt x="1205" y="750"/>
                    </a:lnTo>
                    <a:lnTo>
                      <a:pt x="1206" y="746"/>
                    </a:lnTo>
                    <a:lnTo>
                      <a:pt x="1209" y="747"/>
                    </a:lnTo>
                    <a:lnTo>
                      <a:pt x="1211" y="744"/>
                    </a:lnTo>
                    <a:lnTo>
                      <a:pt x="1213" y="743"/>
                    </a:lnTo>
                    <a:lnTo>
                      <a:pt x="1215" y="739"/>
                    </a:lnTo>
                    <a:lnTo>
                      <a:pt x="1222" y="732"/>
                    </a:lnTo>
                    <a:lnTo>
                      <a:pt x="1224" y="731"/>
                    </a:lnTo>
                    <a:lnTo>
                      <a:pt x="1224" y="731"/>
                    </a:lnTo>
                    <a:lnTo>
                      <a:pt x="1230" y="730"/>
                    </a:lnTo>
                    <a:lnTo>
                      <a:pt x="1234" y="729"/>
                    </a:lnTo>
                    <a:lnTo>
                      <a:pt x="1234" y="726"/>
                    </a:lnTo>
                    <a:lnTo>
                      <a:pt x="1234" y="729"/>
                    </a:lnTo>
                    <a:lnTo>
                      <a:pt x="1235" y="726"/>
                    </a:lnTo>
                    <a:lnTo>
                      <a:pt x="1236" y="724"/>
                    </a:lnTo>
                    <a:lnTo>
                      <a:pt x="1239" y="722"/>
                    </a:lnTo>
                    <a:lnTo>
                      <a:pt x="1241" y="720"/>
                    </a:lnTo>
                    <a:lnTo>
                      <a:pt x="1249" y="717"/>
                    </a:lnTo>
                    <a:lnTo>
                      <a:pt x="1252" y="717"/>
                    </a:lnTo>
                    <a:lnTo>
                      <a:pt x="1255" y="715"/>
                    </a:lnTo>
                    <a:lnTo>
                      <a:pt x="1255" y="713"/>
                    </a:lnTo>
                    <a:lnTo>
                      <a:pt x="1253" y="713"/>
                    </a:lnTo>
                    <a:lnTo>
                      <a:pt x="1249" y="715"/>
                    </a:lnTo>
                    <a:lnTo>
                      <a:pt x="1247" y="714"/>
                    </a:lnTo>
                    <a:lnTo>
                      <a:pt x="1246" y="713"/>
                    </a:lnTo>
                    <a:lnTo>
                      <a:pt x="1251" y="713"/>
                    </a:lnTo>
                    <a:lnTo>
                      <a:pt x="1252" y="710"/>
                    </a:lnTo>
                    <a:lnTo>
                      <a:pt x="1251" y="708"/>
                    </a:lnTo>
                    <a:lnTo>
                      <a:pt x="1248" y="706"/>
                    </a:lnTo>
                    <a:lnTo>
                      <a:pt x="1251" y="706"/>
                    </a:lnTo>
                    <a:lnTo>
                      <a:pt x="1254" y="705"/>
                    </a:lnTo>
                    <a:lnTo>
                      <a:pt x="1254" y="707"/>
                    </a:lnTo>
                    <a:lnTo>
                      <a:pt x="1257" y="708"/>
                    </a:lnTo>
                    <a:lnTo>
                      <a:pt x="1260" y="705"/>
                    </a:lnTo>
                    <a:lnTo>
                      <a:pt x="1263" y="704"/>
                    </a:lnTo>
                    <a:lnTo>
                      <a:pt x="1264" y="701"/>
                    </a:lnTo>
                    <a:lnTo>
                      <a:pt x="1263" y="699"/>
                    </a:lnTo>
                    <a:lnTo>
                      <a:pt x="1260" y="699"/>
                    </a:lnTo>
                    <a:lnTo>
                      <a:pt x="1260" y="701"/>
                    </a:lnTo>
                    <a:lnTo>
                      <a:pt x="1260" y="699"/>
                    </a:lnTo>
                    <a:lnTo>
                      <a:pt x="1256" y="698"/>
                    </a:lnTo>
                    <a:lnTo>
                      <a:pt x="1251" y="698"/>
                    </a:lnTo>
                    <a:lnTo>
                      <a:pt x="1249" y="696"/>
                    </a:lnTo>
                    <a:lnTo>
                      <a:pt x="1251" y="693"/>
                    </a:lnTo>
                    <a:lnTo>
                      <a:pt x="1251" y="696"/>
                    </a:lnTo>
                    <a:lnTo>
                      <a:pt x="1253" y="698"/>
                    </a:lnTo>
                    <a:lnTo>
                      <a:pt x="1255" y="696"/>
                    </a:lnTo>
                    <a:lnTo>
                      <a:pt x="1258" y="696"/>
                    </a:lnTo>
                    <a:lnTo>
                      <a:pt x="1257" y="693"/>
                    </a:lnTo>
                    <a:lnTo>
                      <a:pt x="1262" y="696"/>
                    </a:lnTo>
                    <a:lnTo>
                      <a:pt x="1262" y="693"/>
                    </a:lnTo>
                    <a:lnTo>
                      <a:pt x="1260" y="691"/>
                    </a:lnTo>
                    <a:lnTo>
                      <a:pt x="1260" y="689"/>
                    </a:lnTo>
                    <a:lnTo>
                      <a:pt x="1262" y="689"/>
                    </a:lnTo>
                    <a:lnTo>
                      <a:pt x="1263" y="695"/>
                    </a:lnTo>
                    <a:lnTo>
                      <a:pt x="1265" y="700"/>
                    </a:lnTo>
                    <a:lnTo>
                      <a:pt x="1263" y="695"/>
                    </a:lnTo>
                    <a:lnTo>
                      <a:pt x="1260" y="683"/>
                    </a:lnTo>
                    <a:lnTo>
                      <a:pt x="1257" y="683"/>
                    </a:lnTo>
                    <a:lnTo>
                      <a:pt x="1255" y="683"/>
                    </a:lnTo>
                    <a:lnTo>
                      <a:pt x="1256" y="684"/>
                    </a:lnTo>
                    <a:lnTo>
                      <a:pt x="1252" y="681"/>
                    </a:lnTo>
                    <a:lnTo>
                      <a:pt x="1248" y="679"/>
                    </a:lnTo>
                    <a:lnTo>
                      <a:pt x="1246" y="678"/>
                    </a:lnTo>
                    <a:lnTo>
                      <a:pt x="1244" y="678"/>
                    </a:lnTo>
                    <a:lnTo>
                      <a:pt x="1243" y="677"/>
                    </a:lnTo>
                    <a:lnTo>
                      <a:pt x="1246" y="678"/>
                    </a:lnTo>
                    <a:lnTo>
                      <a:pt x="1248" y="677"/>
                    </a:lnTo>
                    <a:lnTo>
                      <a:pt x="1251" y="679"/>
                    </a:lnTo>
                    <a:lnTo>
                      <a:pt x="1253" y="681"/>
                    </a:lnTo>
                    <a:lnTo>
                      <a:pt x="1255" y="682"/>
                    </a:lnTo>
                    <a:lnTo>
                      <a:pt x="1255" y="679"/>
                    </a:lnTo>
                    <a:lnTo>
                      <a:pt x="1253" y="678"/>
                    </a:lnTo>
                    <a:lnTo>
                      <a:pt x="1251" y="675"/>
                    </a:lnTo>
                    <a:lnTo>
                      <a:pt x="1252" y="677"/>
                    </a:lnTo>
                    <a:lnTo>
                      <a:pt x="1255" y="678"/>
                    </a:lnTo>
                    <a:lnTo>
                      <a:pt x="1256" y="675"/>
                    </a:lnTo>
                    <a:lnTo>
                      <a:pt x="1248" y="667"/>
                    </a:lnTo>
                    <a:lnTo>
                      <a:pt x="1247" y="665"/>
                    </a:lnTo>
                    <a:lnTo>
                      <a:pt x="1245" y="663"/>
                    </a:lnTo>
                    <a:lnTo>
                      <a:pt x="1247" y="664"/>
                    </a:lnTo>
                    <a:lnTo>
                      <a:pt x="1249" y="667"/>
                    </a:lnTo>
                    <a:lnTo>
                      <a:pt x="1254" y="671"/>
                    </a:lnTo>
                    <a:lnTo>
                      <a:pt x="1255" y="669"/>
                    </a:lnTo>
                    <a:lnTo>
                      <a:pt x="1256" y="667"/>
                    </a:lnTo>
                    <a:lnTo>
                      <a:pt x="1254" y="666"/>
                    </a:lnTo>
                    <a:lnTo>
                      <a:pt x="1252" y="664"/>
                    </a:lnTo>
                    <a:lnTo>
                      <a:pt x="1247" y="663"/>
                    </a:lnTo>
                    <a:lnTo>
                      <a:pt x="1244" y="661"/>
                    </a:lnTo>
                    <a:lnTo>
                      <a:pt x="1243" y="661"/>
                    </a:lnTo>
                    <a:lnTo>
                      <a:pt x="1243" y="660"/>
                    </a:lnTo>
                    <a:lnTo>
                      <a:pt x="1243" y="657"/>
                    </a:lnTo>
                    <a:lnTo>
                      <a:pt x="1245" y="656"/>
                    </a:lnTo>
                    <a:lnTo>
                      <a:pt x="1245" y="655"/>
                    </a:lnTo>
                    <a:lnTo>
                      <a:pt x="1246" y="654"/>
                    </a:lnTo>
                    <a:lnTo>
                      <a:pt x="1246" y="654"/>
                    </a:lnTo>
                    <a:lnTo>
                      <a:pt x="1245" y="652"/>
                    </a:lnTo>
                    <a:lnTo>
                      <a:pt x="1246" y="653"/>
                    </a:lnTo>
                    <a:lnTo>
                      <a:pt x="1246" y="654"/>
                    </a:lnTo>
                    <a:lnTo>
                      <a:pt x="1246" y="654"/>
                    </a:lnTo>
                    <a:lnTo>
                      <a:pt x="1246" y="654"/>
                    </a:lnTo>
                    <a:lnTo>
                      <a:pt x="1245" y="656"/>
                    </a:lnTo>
                    <a:lnTo>
                      <a:pt x="1243" y="658"/>
                    </a:lnTo>
                    <a:lnTo>
                      <a:pt x="1245" y="660"/>
                    </a:lnTo>
                    <a:lnTo>
                      <a:pt x="1248" y="662"/>
                    </a:lnTo>
                    <a:lnTo>
                      <a:pt x="1248" y="661"/>
                    </a:lnTo>
                    <a:lnTo>
                      <a:pt x="1252" y="663"/>
                    </a:lnTo>
                    <a:lnTo>
                      <a:pt x="1254" y="663"/>
                    </a:lnTo>
                    <a:lnTo>
                      <a:pt x="1253" y="661"/>
                    </a:lnTo>
                    <a:lnTo>
                      <a:pt x="1252" y="658"/>
                    </a:lnTo>
                    <a:lnTo>
                      <a:pt x="1251" y="658"/>
                    </a:lnTo>
                    <a:lnTo>
                      <a:pt x="1251" y="655"/>
                    </a:lnTo>
                    <a:lnTo>
                      <a:pt x="1252" y="658"/>
                    </a:lnTo>
                    <a:lnTo>
                      <a:pt x="1254" y="661"/>
                    </a:lnTo>
                    <a:lnTo>
                      <a:pt x="1253" y="655"/>
                    </a:lnTo>
                    <a:lnTo>
                      <a:pt x="1253" y="647"/>
                    </a:lnTo>
                    <a:lnTo>
                      <a:pt x="1255" y="645"/>
                    </a:lnTo>
                    <a:lnTo>
                      <a:pt x="1255" y="645"/>
                    </a:lnTo>
                    <a:lnTo>
                      <a:pt x="1257" y="643"/>
                    </a:lnTo>
                    <a:lnTo>
                      <a:pt x="1258" y="641"/>
                    </a:lnTo>
                    <a:lnTo>
                      <a:pt x="1261" y="641"/>
                    </a:lnTo>
                    <a:lnTo>
                      <a:pt x="1260" y="644"/>
                    </a:lnTo>
                    <a:lnTo>
                      <a:pt x="1257" y="646"/>
                    </a:lnTo>
                    <a:lnTo>
                      <a:pt x="1257" y="649"/>
                    </a:lnTo>
                    <a:lnTo>
                      <a:pt x="1257" y="649"/>
                    </a:lnTo>
                    <a:lnTo>
                      <a:pt x="1255" y="650"/>
                    </a:lnTo>
                    <a:lnTo>
                      <a:pt x="1256" y="652"/>
                    </a:lnTo>
                    <a:lnTo>
                      <a:pt x="1258" y="654"/>
                    </a:lnTo>
                    <a:lnTo>
                      <a:pt x="1255" y="654"/>
                    </a:lnTo>
                    <a:lnTo>
                      <a:pt x="1258" y="655"/>
                    </a:lnTo>
                    <a:lnTo>
                      <a:pt x="1260" y="657"/>
                    </a:lnTo>
                    <a:lnTo>
                      <a:pt x="1256" y="656"/>
                    </a:lnTo>
                    <a:lnTo>
                      <a:pt x="1256" y="658"/>
                    </a:lnTo>
                    <a:lnTo>
                      <a:pt x="1258" y="662"/>
                    </a:lnTo>
                    <a:lnTo>
                      <a:pt x="1261" y="662"/>
                    </a:lnTo>
                    <a:lnTo>
                      <a:pt x="1262" y="664"/>
                    </a:lnTo>
                    <a:lnTo>
                      <a:pt x="1262" y="667"/>
                    </a:lnTo>
                    <a:lnTo>
                      <a:pt x="1264" y="666"/>
                    </a:lnTo>
                    <a:lnTo>
                      <a:pt x="1264" y="670"/>
                    </a:lnTo>
                    <a:lnTo>
                      <a:pt x="1261" y="675"/>
                    </a:lnTo>
                    <a:lnTo>
                      <a:pt x="1260" y="678"/>
                    </a:lnTo>
                    <a:lnTo>
                      <a:pt x="1261" y="680"/>
                    </a:lnTo>
                    <a:lnTo>
                      <a:pt x="1263" y="674"/>
                    </a:lnTo>
                    <a:lnTo>
                      <a:pt x="1265" y="671"/>
                    </a:lnTo>
                    <a:lnTo>
                      <a:pt x="1272" y="658"/>
                    </a:lnTo>
                    <a:lnTo>
                      <a:pt x="1273" y="658"/>
                    </a:lnTo>
                    <a:lnTo>
                      <a:pt x="1272" y="656"/>
                    </a:lnTo>
                    <a:lnTo>
                      <a:pt x="1271" y="654"/>
                    </a:lnTo>
                    <a:lnTo>
                      <a:pt x="1269" y="648"/>
                    </a:lnTo>
                    <a:lnTo>
                      <a:pt x="1268" y="645"/>
                    </a:lnTo>
                    <a:lnTo>
                      <a:pt x="1265" y="643"/>
                    </a:lnTo>
                    <a:lnTo>
                      <a:pt x="1265" y="640"/>
                    </a:lnTo>
                    <a:lnTo>
                      <a:pt x="1268" y="637"/>
                    </a:lnTo>
                    <a:lnTo>
                      <a:pt x="1271" y="637"/>
                    </a:lnTo>
                    <a:lnTo>
                      <a:pt x="1270" y="637"/>
                    </a:lnTo>
                    <a:lnTo>
                      <a:pt x="1269" y="637"/>
                    </a:lnTo>
                    <a:lnTo>
                      <a:pt x="1266" y="640"/>
                    </a:lnTo>
                    <a:lnTo>
                      <a:pt x="1266" y="643"/>
                    </a:lnTo>
                    <a:lnTo>
                      <a:pt x="1269" y="645"/>
                    </a:lnTo>
                    <a:lnTo>
                      <a:pt x="1271" y="646"/>
                    </a:lnTo>
                    <a:lnTo>
                      <a:pt x="1274" y="647"/>
                    </a:lnTo>
                    <a:lnTo>
                      <a:pt x="1274" y="649"/>
                    </a:lnTo>
                    <a:lnTo>
                      <a:pt x="1277" y="650"/>
                    </a:lnTo>
                    <a:lnTo>
                      <a:pt x="1278" y="648"/>
                    </a:lnTo>
                    <a:lnTo>
                      <a:pt x="1279" y="645"/>
                    </a:lnTo>
                    <a:lnTo>
                      <a:pt x="1281" y="645"/>
                    </a:lnTo>
                    <a:lnTo>
                      <a:pt x="1281" y="641"/>
                    </a:lnTo>
                    <a:lnTo>
                      <a:pt x="1283" y="640"/>
                    </a:lnTo>
                    <a:lnTo>
                      <a:pt x="1285" y="638"/>
                    </a:lnTo>
                    <a:lnTo>
                      <a:pt x="1286" y="636"/>
                    </a:lnTo>
                    <a:lnTo>
                      <a:pt x="1286" y="635"/>
                    </a:lnTo>
                    <a:lnTo>
                      <a:pt x="1287" y="635"/>
                    </a:lnTo>
                    <a:lnTo>
                      <a:pt x="1288" y="629"/>
                    </a:lnTo>
                    <a:lnTo>
                      <a:pt x="1283" y="626"/>
                    </a:lnTo>
                    <a:lnTo>
                      <a:pt x="1286" y="623"/>
                    </a:lnTo>
                    <a:lnTo>
                      <a:pt x="1286" y="623"/>
                    </a:lnTo>
                    <a:lnTo>
                      <a:pt x="1287" y="622"/>
                    </a:lnTo>
                    <a:lnTo>
                      <a:pt x="1288" y="619"/>
                    </a:lnTo>
                    <a:lnTo>
                      <a:pt x="1289" y="615"/>
                    </a:lnTo>
                    <a:lnTo>
                      <a:pt x="1288" y="613"/>
                    </a:lnTo>
                    <a:lnTo>
                      <a:pt x="1289" y="615"/>
                    </a:lnTo>
                    <a:lnTo>
                      <a:pt x="1289" y="619"/>
                    </a:lnTo>
                    <a:lnTo>
                      <a:pt x="1287" y="622"/>
                    </a:lnTo>
                    <a:lnTo>
                      <a:pt x="1290" y="621"/>
                    </a:lnTo>
                    <a:lnTo>
                      <a:pt x="1292" y="618"/>
                    </a:lnTo>
                    <a:lnTo>
                      <a:pt x="1303" y="614"/>
                    </a:lnTo>
                    <a:lnTo>
                      <a:pt x="1309" y="613"/>
                    </a:lnTo>
                    <a:lnTo>
                      <a:pt x="1315" y="612"/>
                    </a:lnTo>
                    <a:lnTo>
                      <a:pt x="1316" y="613"/>
                    </a:lnTo>
                    <a:lnTo>
                      <a:pt x="1320" y="612"/>
                    </a:lnTo>
                    <a:lnTo>
                      <a:pt x="1322" y="611"/>
                    </a:lnTo>
                    <a:lnTo>
                      <a:pt x="1323" y="605"/>
                    </a:lnTo>
                    <a:lnTo>
                      <a:pt x="1325" y="606"/>
                    </a:lnTo>
                    <a:lnTo>
                      <a:pt x="1325" y="610"/>
                    </a:lnTo>
                    <a:lnTo>
                      <a:pt x="1329" y="609"/>
                    </a:lnTo>
                    <a:lnTo>
                      <a:pt x="1333" y="606"/>
                    </a:lnTo>
                    <a:lnTo>
                      <a:pt x="1333" y="609"/>
                    </a:lnTo>
                    <a:lnTo>
                      <a:pt x="1335" y="609"/>
                    </a:lnTo>
                    <a:lnTo>
                      <a:pt x="1339" y="607"/>
                    </a:lnTo>
                    <a:lnTo>
                      <a:pt x="1341" y="606"/>
                    </a:lnTo>
                    <a:lnTo>
                      <a:pt x="1342" y="607"/>
                    </a:lnTo>
                    <a:lnTo>
                      <a:pt x="1342" y="604"/>
                    </a:lnTo>
                    <a:lnTo>
                      <a:pt x="1342" y="602"/>
                    </a:lnTo>
                    <a:lnTo>
                      <a:pt x="1339" y="601"/>
                    </a:lnTo>
                    <a:lnTo>
                      <a:pt x="1341" y="603"/>
                    </a:lnTo>
                    <a:lnTo>
                      <a:pt x="1342" y="603"/>
                    </a:lnTo>
                    <a:lnTo>
                      <a:pt x="1342" y="605"/>
                    </a:lnTo>
                    <a:lnTo>
                      <a:pt x="1339" y="606"/>
                    </a:lnTo>
                    <a:lnTo>
                      <a:pt x="1337" y="606"/>
                    </a:lnTo>
                    <a:lnTo>
                      <a:pt x="1335" y="605"/>
                    </a:lnTo>
                    <a:lnTo>
                      <a:pt x="1333" y="600"/>
                    </a:lnTo>
                    <a:lnTo>
                      <a:pt x="1331" y="597"/>
                    </a:lnTo>
                    <a:lnTo>
                      <a:pt x="1328" y="597"/>
                    </a:lnTo>
                    <a:lnTo>
                      <a:pt x="1330" y="594"/>
                    </a:lnTo>
                    <a:lnTo>
                      <a:pt x="1332" y="592"/>
                    </a:lnTo>
                    <a:lnTo>
                      <a:pt x="1330" y="588"/>
                    </a:lnTo>
                    <a:lnTo>
                      <a:pt x="1332" y="584"/>
                    </a:lnTo>
                    <a:lnTo>
                      <a:pt x="1332" y="584"/>
                    </a:lnTo>
                    <a:lnTo>
                      <a:pt x="1337" y="578"/>
                    </a:lnTo>
                    <a:lnTo>
                      <a:pt x="1339" y="573"/>
                    </a:lnTo>
                    <a:lnTo>
                      <a:pt x="1342" y="570"/>
                    </a:lnTo>
                    <a:lnTo>
                      <a:pt x="1342" y="572"/>
                    </a:lnTo>
                    <a:lnTo>
                      <a:pt x="1345" y="573"/>
                    </a:lnTo>
                    <a:lnTo>
                      <a:pt x="1345" y="570"/>
                    </a:lnTo>
                    <a:lnTo>
                      <a:pt x="1343" y="569"/>
                    </a:lnTo>
                    <a:lnTo>
                      <a:pt x="1346" y="567"/>
                    </a:lnTo>
                    <a:lnTo>
                      <a:pt x="1345" y="570"/>
                    </a:lnTo>
                    <a:lnTo>
                      <a:pt x="1348" y="571"/>
                    </a:lnTo>
                    <a:lnTo>
                      <a:pt x="1348" y="568"/>
                    </a:lnTo>
                    <a:lnTo>
                      <a:pt x="1348" y="571"/>
                    </a:lnTo>
                    <a:lnTo>
                      <a:pt x="1349" y="571"/>
                    </a:lnTo>
                    <a:lnTo>
                      <a:pt x="1350" y="568"/>
                    </a:lnTo>
                    <a:lnTo>
                      <a:pt x="1352" y="569"/>
                    </a:lnTo>
                    <a:lnTo>
                      <a:pt x="1355" y="567"/>
                    </a:lnTo>
                    <a:lnTo>
                      <a:pt x="1356" y="563"/>
                    </a:lnTo>
                    <a:lnTo>
                      <a:pt x="1356" y="561"/>
                    </a:lnTo>
                    <a:lnTo>
                      <a:pt x="1358" y="559"/>
                    </a:lnTo>
                    <a:lnTo>
                      <a:pt x="1358" y="561"/>
                    </a:lnTo>
                    <a:lnTo>
                      <a:pt x="1363" y="564"/>
                    </a:lnTo>
                    <a:lnTo>
                      <a:pt x="1362" y="561"/>
                    </a:lnTo>
                    <a:lnTo>
                      <a:pt x="1367" y="560"/>
                    </a:lnTo>
                    <a:lnTo>
                      <a:pt x="1368" y="561"/>
                    </a:lnTo>
                    <a:lnTo>
                      <a:pt x="1371" y="560"/>
                    </a:lnTo>
                    <a:lnTo>
                      <a:pt x="1373" y="560"/>
                    </a:lnTo>
                    <a:lnTo>
                      <a:pt x="1376" y="558"/>
                    </a:lnTo>
                    <a:lnTo>
                      <a:pt x="1379" y="556"/>
                    </a:lnTo>
                    <a:lnTo>
                      <a:pt x="1382" y="556"/>
                    </a:lnTo>
                    <a:lnTo>
                      <a:pt x="1383" y="553"/>
                    </a:lnTo>
                    <a:lnTo>
                      <a:pt x="1382" y="550"/>
                    </a:lnTo>
                    <a:lnTo>
                      <a:pt x="1381" y="549"/>
                    </a:lnTo>
                    <a:lnTo>
                      <a:pt x="1381" y="549"/>
                    </a:lnTo>
                    <a:lnTo>
                      <a:pt x="1382" y="550"/>
                    </a:lnTo>
                    <a:lnTo>
                      <a:pt x="1384" y="551"/>
                    </a:lnTo>
                    <a:lnTo>
                      <a:pt x="1388" y="550"/>
                    </a:lnTo>
                    <a:lnTo>
                      <a:pt x="1390" y="549"/>
                    </a:lnTo>
                    <a:lnTo>
                      <a:pt x="1393" y="550"/>
                    </a:lnTo>
                    <a:lnTo>
                      <a:pt x="1394" y="549"/>
                    </a:lnTo>
                    <a:lnTo>
                      <a:pt x="1394" y="546"/>
                    </a:lnTo>
                    <a:lnTo>
                      <a:pt x="1397" y="544"/>
                    </a:lnTo>
                    <a:lnTo>
                      <a:pt x="1396" y="546"/>
                    </a:lnTo>
                    <a:lnTo>
                      <a:pt x="1398" y="547"/>
                    </a:lnTo>
                    <a:lnTo>
                      <a:pt x="1400" y="547"/>
                    </a:lnTo>
                    <a:lnTo>
                      <a:pt x="1408" y="543"/>
                    </a:lnTo>
                    <a:lnTo>
                      <a:pt x="1414" y="541"/>
                    </a:lnTo>
                    <a:lnTo>
                      <a:pt x="1416" y="538"/>
                    </a:lnTo>
                    <a:lnTo>
                      <a:pt x="1416" y="536"/>
                    </a:lnTo>
                    <a:lnTo>
                      <a:pt x="1414" y="533"/>
                    </a:lnTo>
                    <a:lnTo>
                      <a:pt x="1418" y="538"/>
                    </a:lnTo>
                    <a:lnTo>
                      <a:pt x="1420" y="537"/>
                    </a:lnTo>
                    <a:lnTo>
                      <a:pt x="1420" y="538"/>
                    </a:lnTo>
                    <a:lnTo>
                      <a:pt x="1413" y="544"/>
                    </a:lnTo>
                    <a:lnTo>
                      <a:pt x="1414" y="546"/>
                    </a:lnTo>
                    <a:lnTo>
                      <a:pt x="1417" y="545"/>
                    </a:lnTo>
                    <a:lnTo>
                      <a:pt x="1419" y="545"/>
                    </a:lnTo>
                    <a:lnTo>
                      <a:pt x="1422" y="545"/>
                    </a:lnTo>
                    <a:lnTo>
                      <a:pt x="1427" y="545"/>
                    </a:lnTo>
                    <a:lnTo>
                      <a:pt x="1433" y="545"/>
                    </a:lnTo>
                    <a:lnTo>
                      <a:pt x="1430" y="546"/>
                    </a:lnTo>
                    <a:lnTo>
                      <a:pt x="1427" y="546"/>
                    </a:lnTo>
                    <a:lnTo>
                      <a:pt x="1422" y="549"/>
                    </a:lnTo>
                    <a:lnTo>
                      <a:pt x="1423" y="552"/>
                    </a:lnTo>
                    <a:lnTo>
                      <a:pt x="1422" y="552"/>
                    </a:lnTo>
                    <a:lnTo>
                      <a:pt x="1422" y="551"/>
                    </a:lnTo>
                    <a:lnTo>
                      <a:pt x="1419" y="549"/>
                    </a:lnTo>
                    <a:lnTo>
                      <a:pt x="1419" y="546"/>
                    </a:lnTo>
                    <a:lnTo>
                      <a:pt x="1416" y="547"/>
                    </a:lnTo>
                    <a:lnTo>
                      <a:pt x="1414" y="549"/>
                    </a:lnTo>
                    <a:lnTo>
                      <a:pt x="1403" y="554"/>
                    </a:lnTo>
                    <a:lnTo>
                      <a:pt x="1400" y="558"/>
                    </a:lnTo>
                    <a:lnTo>
                      <a:pt x="1403" y="556"/>
                    </a:lnTo>
                    <a:lnTo>
                      <a:pt x="1400" y="558"/>
                    </a:lnTo>
                    <a:lnTo>
                      <a:pt x="1400" y="556"/>
                    </a:lnTo>
                    <a:lnTo>
                      <a:pt x="1397" y="559"/>
                    </a:lnTo>
                    <a:lnTo>
                      <a:pt x="1394" y="561"/>
                    </a:lnTo>
                    <a:lnTo>
                      <a:pt x="1398" y="560"/>
                    </a:lnTo>
                    <a:lnTo>
                      <a:pt x="1396" y="562"/>
                    </a:lnTo>
                    <a:lnTo>
                      <a:pt x="1394" y="566"/>
                    </a:lnTo>
                    <a:lnTo>
                      <a:pt x="1394" y="571"/>
                    </a:lnTo>
                    <a:lnTo>
                      <a:pt x="1397" y="573"/>
                    </a:lnTo>
                    <a:lnTo>
                      <a:pt x="1397" y="571"/>
                    </a:lnTo>
                    <a:lnTo>
                      <a:pt x="1402" y="576"/>
                    </a:lnTo>
                    <a:lnTo>
                      <a:pt x="1405" y="576"/>
                    </a:lnTo>
                    <a:lnTo>
                      <a:pt x="1406" y="573"/>
                    </a:lnTo>
                    <a:lnTo>
                      <a:pt x="1409" y="573"/>
                    </a:lnTo>
                    <a:lnTo>
                      <a:pt x="1410" y="573"/>
                    </a:lnTo>
                    <a:lnTo>
                      <a:pt x="1411" y="570"/>
                    </a:lnTo>
                    <a:lnTo>
                      <a:pt x="1415" y="569"/>
                    </a:lnTo>
                    <a:lnTo>
                      <a:pt x="1416" y="567"/>
                    </a:lnTo>
                    <a:lnTo>
                      <a:pt x="1418" y="564"/>
                    </a:lnTo>
                    <a:lnTo>
                      <a:pt x="1420" y="562"/>
                    </a:lnTo>
                    <a:lnTo>
                      <a:pt x="1420" y="562"/>
                    </a:lnTo>
                    <a:lnTo>
                      <a:pt x="1422" y="559"/>
                    </a:lnTo>
                    <a:lnTo>
                      <a:pt x="1424" y="560"/>
                    </a:lnTo>
                    <a:lnTo>
                      <a:pt x="1426" y="556"/>
                    </a:lnTo>
                    <a:lnTo>
                      <a:pt x="1425" y="560"/>
                    </a:lnTo>
                    <a:lnTo>
                      <a:pt x="1428" y="561"/>
                    </a:lnTo>
                    <a:lnTo>
                      <a:pt x="1431" y="559"/>
                    </a:lnTo>
                    <a:lnTo>
                      <a:pt x="1430" y="556"/>
                    </a:lnTo>
                    <a:lnTo>
                      <a:pt x="1432" y="558"/>
                    </a:lnTo>
                    <a:lnTo>
                      <a:pt x="1434" y="558"/>
                    </a:lnTo>
                    <a:lnTo>
                      <a:pt x="1435" y="556"/>
                    </a:lnTo>
                    <a:lnTo>
                      <a:pt x="1439" y="556"/>
                    </a:lnTo>
                    <a:lnTo>
                      <a:pt x="1447" y="553"/>
                    </a:lnTo>
                    <a:lnTo>
                      <a:pt x="1451" y="552"/>
                    </a:lnTo>
                    <a:lnTo>
                      <a:pt x="1457" y="549"/>
                    </a:lnTo>
                    <a:lnTo>
                      <a:pt x="1459" y="550"/>
                    </a:lnTo>
                    <a:lnTo>
                      <a:pt x="1465" y="545"/>
                    </a:lnTo>
                    <a:lnTo>
                      <a:pt x="1461" y="546"/>
                    </a:lnTo>
                    <a:lnTo>
                      <a:pt x="1459" y="545"/>
                    </a:lnTo>
                    <a:lnTo>
                      <a:pt x="1462" y="544"/>
                    </a:lnTo>
                    <a:lnTo>
                      <a:pt x="1460" y="542"/>
                    </a:lnTo>
                    <a:lnTo>
                      <a:pt x="1460" y="541"/>
                    </a:lnTo>
                    <a:lnTo>
                      <a:pt x="1459" y="539"/>
                    </a:lnTo>
                    <a:lnTo>
                      <a:pt x="1456" y="541"/>
                    </a:lnTo>
                    <a:lnTo>
                      <a:pt x="1453" y="539"/>
                    </a:lnTo>
                    <a:lnTo>
                      <a:pt x="1452" y="536"/>
                    </a:lnTo>
                    <a:lnTo>
                      <a:pt x="1450" y="538"/>
                    </a:lnTo>
                    <a:lnTo>
                      <a:pt x="1447" y="541"/>
                    </a:lnTo>
                    <a:lnTo>
                      <a:pt x="1444" y="541"/>
                    </a:lnTo>
                    <a:lnTo>
                      <a:pt x="1441" y="541"/>
                    </a:lnTo>
                    <a:lnTo>
                      <a:pt x="1443" y="539"/>
                    </a:lnTo>
                    <a:lnTo>
                      <a:pt x="1440" y="538"/>
                    </a:lnTo>
                    <a:lnTo>
                      <a:pt x="1434" y="537"/>
                    </a:lnTo>
                    <a:lnTo>
                      <a:pt x="1432" y="536"/>
                    </a:lnTo>
                    <a:lnTo>
                      <a:pt x="1430" y="537"/>
                    </a:lnTo>
                    <a:lnTo>
                      <a:pt x="1426" y="536"/>
                    </a:lnTo>
                    <a:lnTo>
                      <a:pt x="1424" y="535"/>
                    </a:lnTo>
                    <a:lnTo>
                      <a:pt x="1424" y="534"/>
                    </a:lnTo>
                    <a:lnTo>
                      <a:pt x="1427" y="532"/>
                    </a:lnTo>
                    <a:lnTo>
                      <a:pt x="1425" y="532"/>
                    </a:lnTo>
                    <a:lnTo>
                      <a:pt x="1419" y="530"/>
                    </a:lnTo>
                    <a:lnTo>
                      <a:pt x="1416" y="529"/>
                    </a:lnTo>
                    <a:lnTo>
                      <a:pt x="1415" y="524"/>
                    </a:lnTo>
                    <a:lnTo>
                      <a:pt x="1413" y="521"/>
                    </a:lnTo>
                    <a:lnTo>
                      <a:pt x="1413" y="519"/>
                    </a:lnTo>
                    <a:lnTo>
                      <a:pt x="1413" y="516"/>
                    </a:lnTo>
                    <a:lnTo>
                      <a:pt x="1410" y="516"/>
                    </a:lnTo>
                    <a:lnTo>
                      <a:pt x="1408" y="517"/>
                    </a:lnTo>
                    <a:lnTo>
                      <a:pt x="1406" y="516"/>
                    </a:lnTo>
                    <a:lnTo>
                      <a:pt x="1409" y="515"/>
                    </a:lnTo>
                    <a:lnTo>
                      <a:pt x="1411" y="511"/>
                    </a:lnTo>
                    <a:lnTo>
                      <a:pt x="1414" y="506"/>
                    </a:lnTo>
                    <a:lnTo>
                      <a:pt x="1413" y="503"/>
                    </a:lnTo>
                    <a:lnTo>
                      <a:pt x="1410" y="502"/>
                    </a:lnTo>
                    <a:lnTo>
                      <a:pt x="1408" y="503"/>
                    </a:lnTo>
                    <a:lnTo>
                      <a:pt x="1402" y="507"/>
                    </a:lnTo>
                    <a:lnTo>
                      <a:pt x="1401" y="504"/>
                    </a:lnTo>
                    <a:lnTo>
                      <a:pt x="1399" y="501"/>
                    </a:lnTo>
                    <a:lnTo>
                      <a:pt x="1397" y="501"/>
                    </a:lnTo>
                    <a:lnTo>
                      <a:pt x="1391" y="499"/>
                    </a:lnTo>
                    <a:lnTo>
                      <a:pt x="1388" y="500"/>
                    </a:lnTo>
                    <a:lnTo>
                      <a:pt x="1386" y="500"/>
                    </a:lnTo>
                    <a:lnTo>
                      <a:pt x="1385" y="500"/>
                    </a:lnTo>
                    <a:lnTo>
                      <a:pt x="1391" y="498"/>
                    </a:lnTo>
                    <a:lnTo>
                      <a:pt x="1393" y="498"/>
                    </a:lnTo>
                    <a:lnTo>
                      <a:pt x="1399" y="498"/>
                    </a:lnTo>
                    <a:lnTo>
                      <a:pt x="1401" y="499"/>
                    </a:lnTo>
                    <a:lnTo>
                      <a:pt x="1407" y="500"/>
                    </a:lnTo>
                    <a:lnTo>
                      <a:pt x="1413" y="496"/>
                    </a:lnTo>
                    <a:lnTo>
                      <a:pt x="1415" y="494"/>
                    </a:lnTo>
                    <a:lnTo>
                      <a:pt x="1418" y="493"/>
                    </a:lnTo>
                    <a:lnTo>
                      <a:pt x="1422" y="491"/>
                    </a:lnTo>
                    <a:lnTo>
                      <a:pt x="1422" y="489"/>
                    </a:lnTo>
                    <a:lnTo>
                      <a:pt x="1419" y="486"/>
                    </a:lnTo>
                    <a:lnTo>
                      <a:pt x="1418" y="486"/>
                    </a:lnTo>
                    <a:lnTo>
                      <a:pt x="1419" y="486"/>
                    </a:lnTo>
                    <a:lnTo>
                      <a:pt x="1417" y="485"/>
                    </a:lnTo>
                    <a:lnTo>
                      <a:pt x="1418" y="485"/>
                    </a:lnTo>
                    <a:lnTo>
                      <a:pt x="1422" y="484"/>
                    </a:lnTo>
                    <a:lnTo>
                      <a:pt x="1418" y="482"/>
                    </a:lnTo>
                    <a:lnTo>
                      <a:pt x="1413" y="479"/>
                    </a:lnTo>
                    <a:lnTo>
                      <a:pt x="1408" y="478"/>
                    </a:lnTo>
                    <a:lnTo>
                      <a:pt x="1405" y="477"/>
                    </a:lnTo>
                    <a:lnTo>
                      <a:pt x="1394" y="478"/>
                    </a:lnTo>
                    <a:lnTo>
                      <a:pt x="1386" y="481"/>
                    </a:lnTo>
                    <a:lnTo>
                      <a:pt x="1382" y="483"/>
                    </a:lnTo>
                    <a:lnTo>
                      <a:pt x="1373" y="486"/>
                    </a:lnTo>
                    <a:lnTo>
                      <a:pt x="1367" y="489"/>
                    </a:lnTo>
                    <a:lnTo>
                      <a:pt x="1363" y="492"/>
                    </a:lnTo>
                    <a:lnTo>
                      <a:pt x="1357" y="494"/>
                    </a:lnTo>
                    <a:lnTo>
                      <a:pt x="1349" y="501"/>
                    </a:lnTo>
                    <a:lnTo>
                      <a:pt x="1347" y="504"/>
                    </a:lnTo>
                    <a:lnTo>
                      <a:pt x="1345" y="507"/>
                    </a:lnTo>
                    <a:lnTo>
                      <a:pt x="1341" y="509"/>
                    </a:lnTo>
                    <a:lnTo>
                      <a:pt x="1338" y="515"/>
                    </a:lnTo>
                    <a:lnTo>
                      <a:pt x="1335" y="517"/>
                    </a:lnTo>
                    <a:lnTo>
                      <a:pt x="1329" y="519"/>
                    </a:lnTo>
                    <a:lnTo>
                      <a:pt x="1326" y="520"/>
                    </a:lnTo>
                    <a:lnTo>
                      <a:pt x="1324" y="521"/>
                    </a:lnTo>
                    <a:lnTo>
                      <a:pt x="1328" y="519"/>
                    </a:lnTo>
                    <a:lnTo>
                      <a:pt x="1330" y="517"/>
                    </a:lnTo>
                    <a:lnTo>
                      <a:pt x="1333" y="515"/>
                    </a:lnTo>
                    <a:lnTo>
                      <a:pt x="1334" y="512"/>
                    </a:lnTo>
                    <a:lnTo>
                      <a:pt x="1337" y="510"/>
                    </a:lnTo>
                    <a:lnTo>
                      <a:pt x="1339" y="507"/>
                    </a:lnTo>
                    <a:lnTo>
                      <a:pt x="1342" y="506"/>
                    </a:lnTo>
                    <a:lnTo>
                      <a:pt x="1343" y="503"/>
                    </a:lnTo>
                    <a:lnTo>
                      <a:pt x="1345" y="500"/>
                    </a:lnTo>
                    <a:lnTo>
                      <a:pt x="1345" y="498"/>
                    </a:lnTo>
                    <a:lnTo>
                      <a:pt x="1342" y="495"/>
                    </a:lnTo>
                    <a:lnTo>
                      <a:pt x="1341" y="495"/>
                    </a:lnTo>
                    <a:lnTo>
                      <a:pt x="1335" y="494"/>
                    </a:lnTo>
                    <a:lnTo>
                      <a:pt x="1333" y="494"/>
                    </a:lnTo>
                    <a:lnTo>
                      <a:pt x="1330" y="493"/>
                    </a:lnTo>
                    <a:lnTo>
                      <a:pt x="1328" y="492"/>
                    </a:lnTo>
                    <a:lnTo>
                      <a:pt x="1329" y="492"/>
                    </a:lnTo>
                    <a:lnTo>
                      <a:pt x="1337" y="493"/>
                    </a:lnTo>
                    <a:lnTo>
                      <a:pt x="1339" y="494"/>
                    </a:lnTo>
                    <a:lnTo>
                      <a:pt x="1342" y="495"/>
                    </a:lnTo>
                    <a:lnTo>
                      <a:pt x="1347" y="498"/>
                    </a:lnTo>
                    <a:lnTo>
                      <a:pt x="1349" y="495"/>
                    </a:lnTo>
                    <a:lnTo>
                      <a:pt x="1354" y="490"/>
                    </a:lnTo>
                    <a:lnTo>
                      <a:pt x="1355" y="487"/>
                    </a:lnTo>
                    <a:lnTo>
                      <a:pt x="1358" y="484"/>
                    </a:lnTo>
                    <a:lnTo>
                      <a:pt x="1364" y="479"/>
                    </a:lnTo>
                    <a:lnTo>
                      <a:pt x="1365" y="479"/>
                    </a:lnTo>
                    <a:lnTo>
                      <a:pt x="1368" y="477"/>
                    </a:lnTo>
                    <a:lnTo>
                      <a:pt x="1376" y="476"/>
                    </a:lnTo>
                    <a:lnTo>
                      <a:pt x="1379" y="475"/>
                    </a:lnTo>
                    <a:lnTo>
                      <a:pt x="1381" y="470"/>
                    </a:lnTo>
                    <a:lnTo>
                      <a:pt x="1383" y="467"/>
                    </a:lnTo>
                    <a:lnTo>
                      <a:pt x="1384" y="465"/>
                    </a:lnTo>
                    <a:lnTo>
                      <a:pt x="1386" y="464"/>
                    </a:lnTo>
                    <a:lnTo>
                      <a:pt x="1388" y="461"/>
                    </a:lnTo>
                    <a:lnTo>
                      <a:pt x="1390" y="461"/>
                    </a:lnTo>
                    <a:lnTo>
                      <a:pt x="1394" y="461"/>
                    </a:lnTo>
                    <a:lnTo>
                      <a:pt x="1398" y="459"/>
                    </a:lnTo>
                    <a:lnTo>
                      <a:pt x="1400" y="460"/>
                    </a:lnTo>
                    <a:lnTo>
                      <a:pt x="1406" y="459"/>
                    </a:lnTo>
                    <a:lnTo>
                      <a:pt x="1413" y="460"/>
                    </a:lnTo>
                    <a:lnTo>
                      <a:pt x="1418" y="459"/>
                    </a:lnTo>
                    <a:lnTo>
                      <a:pt x="1422" y="460"/>
                    </a:lnTo>
                    <a:lnTo>
                      <a:pt x="1426" y="459"/>
                    </a:lnTo>
                    <a:lnTo>
                      <a:pt x="1432" y="460"/>
                    </a:lnTo>
                    <a:lnTo>
                      <a:pt x="1433" y="460"/>
                    </a:lnTo>
                    <a:lnTo>
                      <a:pt x="1435" y="460"/>
                    </a:lnTo>
                    <a:lnTo>
                      <a:pt x="1437" y="459"/>
                    </a:lnTo>
                    <a:lnTo>
                      <a:pt x="1453" y="461"/>
                    </a:lnTo>
                    <a:lnTo>
                      <a:pt x="1454" y="462"/>
                    </a:lnTo>
                    <a:lnTo>
                      <a:pt x="1458" y="461"/>
                    </a:lnTo>
                    <a:lnTo>
                      <a:pt x="1458" y="461"/>
                    </a:lnTo>
                    <a:lnTo>
                      <a:pt x="1454" y="462"/>
                    </a:lnTo>
                    <a:lnTo>
                      <a:pt x="1460" y="461"/>
                    </a:lnTo>
                    <a:lnTo>
                      <a:pt x="1466" y="461"/>
                    </a:lnTo>
                    <a:lnTo>
                      <a:pt x="1471" y="461"/>
                    </a:lnTo>
                    <a:lnTo>
                      <a:pt x="1476" y="460"/>
                    </a:lnTo>
                    <a:lnTo>
                      <a:pt x="1479" y="460"/>
                    </a:lnTo>
                    <a:lnTo>
                      <a:pt x="1480" y="459"/>
                    </a:lnTo>
                    <a:lnTo>
                      <a:pt x="1482" y="457"/>
                    </a:lnTo>
                    <a:lnTo>
                      <a:pt x="1485" y="456"/>
                    </a:lnTo>
                    <a:lnTo>
                      <a:pt x="1487" y="452"/>
                    </a:lnTo>
                    <a:lnTo>
                      <a:pt x="1490" y="451"/>
                    </a:lnTo>
                    <a:lnTo>
                      <a:pt x="1492" y="451"/>
                    </a:lnTo>
                    <a:lnTo>
                      <a:pt x="1494" y="447"/>
                    </a:lnTo>
                    <a:lnTo>
                      <a:pt x="1496" y="444"/>
                    </a:lnTo>
                    <a:lnTo>
                      <a:pt x="1497" y="442"/>
                    </a:lnTo>
                    <a:lnTo>
                      <a:pt x="1503" y="441"/>
                    </a:lnTo>
                    <a:lnTo>
                      <a:pt x="1505" y="441"/>
                    </a:lnTo>
                    <a:lnTo>
                      <a:pt x="1511" y="439"/>
                    </a:lnTo>
                    <a:lnTo>
                      <a:pt x="1513" y="439"/>
                    </a:lnTo>
                    <a:lnTo>
                      <a:pt x="1516" y="438"/>
                    </a:lnTo>
                    <a:lnTo>
                      <a:pt x="1519" y="439"/>
                    </a:lnTo>
                    <a:lnTo>
                      <a:pt x="1521" y="438"/>
                    </a:lnTo>
                    <a:lnTo>
                      <a:pt x="1527" y="434"/>
                    </a:lnTo>
                    <a:lnTo>
                      <a:pt x="1533" y="431"/>
                    </a:lnTo>
                    <a:lnTo>
                      <a:pt x="1538" y="426"/>
                    </a:lnTo>
                    <a:lnTo>
                      <a:pt x="1537" y="423"/>
                    </a:lnTo>
                    <a:lnTo>
                      <a:pt x="1531" y="421"/>
                    </a:lnTo>
                    <a:close/>
                    <a:moveTo>
                      <a:pt x="688" y="144"/>
                    </a:moveTo>
                    <a:lnTo>
                      <a:pt x="685" y="143"/>
                    </a:lnTo>
                    <a:lnTo>
                      <a:pt x="682" y="147"/>
                    </a:lnTo>
                    <a:lnTo>
                      <a:pt x="682" y="149"/>
                    </a:lnTo>
                    <a:lnTo>
                      <a:pt x="685" y="149"/>
                    </a:lnTo>
                    <a:lnTo>
                      <a:pt x="688" y="148"/>
                    </a:lnTo>
                    <a:lnTo>
                      <a:pt x="685" y="150"/>
                    </a:lnTo>
                    <a:lnTo>
                      <a:pt x="688" y="151"/>
                    </a:lnTo>
                    <a:lnTo>
                      <a:pt x="685" y="151"/>
                    </a:lnTo>
                    <a:lnTo>
                      <a:pt x="683" y="152"/>
                    </a:lnTo>
                    <a:lnTo>
                      <a:pt x="681" y="152"/>
                    </a:lnTo>
                    <a:lnTo>
                      <a:pt x="677" y="152"/>
                    </a:lnTo>
                    <a:lnTo>
                      <a:pt x="675" y="152"/>
                    </a:lnTo>
                    <a:lnTo>
                      <a:pt x="673" y="150"/>
                    </a:lnTo>
                    <a:lnTo>
                      <a:pt x="669" y="149"/>
                    </a:lnTo>
                    <a:lnTo>
                      <a:pt x="667" y="150"/>
                    </a:lnTo>
                    <a:lnTo>
                      <a:pt x="664" y="150"/>
                    </a:lnTo>
                    <a:lnTo>
                      <a:pt x="662" y="149"/>
                    </a:lnTo>
                    <a:lnTo>
                      <a:pt x="660" y="152"/>
                    </a:lnTo>
                    <a:lnTo>
                      <a:pt x="657" y="153"/>
                    </a:lnTo>
                    <a:lnTo>
                      <a:pt x="657" y="154"/>
                    </a:lnTo>
                    <a:lnTo>
                      <a:pt x="660" y="157"/>
                    </a:lnTo>
                    <a:lnTo>
                      <a:pt x="663" y="157"/>
                    </a:lnTo>
                    <a:lnTo>
                      <a:pt x="665" y="160"/>
                    </a:lnTo>
                    <a:lnTo>
                      <a:pt x="662" y="160"/>
                    </a:lnTo>
                    <a:lnTo>
                      <a:pt x="659" y="160"/>
                    </a:lnTo>
                    <a:lnTo>
                      <a:pt x="657" y="161"/>
                    </a:lnTo>
                    <a:lnTo>
                      <a:pt x="655" y="164"/>
                    </a:lnTo>
                    <a:lnTo>
                      <a:pt x="651" y="165"/>
                    </a:lnTo>
                    <a:lnTo>
                      <a:pt x="649" y="167"/>
                    </a:lnTo>
                    <a:lnTo>
                      <a:pt x="647" y="168"/>
                    </a:lnTo>
                    <a:lnTo>
                      <a:pt x="643" y="169"/>
                    </a:lnTo>
                    <a:lnTo>
                      <a:pt x="641" y="171"/>
                    </a:lnTo>
                    <a:lnTo>
                      <a:pt x="639" y="171"/>
                    </a:lnTo>
                    <a:lnTo>
                      <a:pt x="637" y="169"/>
                    </a:lnTo>
                    <a:lnTo>
                      <a:pt x="640" y="168"/>
                    </a:lnTo>
                    <a:lnTo>
                      <a:pt x="642" y="168"/>
                    </a:lnTo>
                    <a:lnTo>
                      <a:pt x="643" y="165"/>
                    </a:lnTo>
                    <a:lnTo>
                      <a:pt x="647" y="164"/>
                    </a:lnTo>
                    <a:lnTo>
                      <a:pt x="649" y="161"/>
                    </a:lnTo>
                    <a:lnTo>
                      <a:pt x="651" y="159"/>
                    </a:lnTo>
                    <a:lnTo>
                      <a:pt x="652" y="157"/>
                    </a:lnTo>
                    <a:lnTo>
                      <a:pt x="650" y="153"/>
                    </a:lnTo>
                    <a:lnTo>
                      <a:pt x="647" y="153"/>
                    </a:lnTo>
                    <a:lnTo>
                      <a:pt x="645" y="154"/>
                    </a:lnTo>
                    <a:lnTo>
                      <a:pt x="641" y="156"/>
                    </a:lnTo>
                    <a:lnTo>
                      <a:pt x="639" y="158"/>
                    </a:lnTo>
                    <a:lnTo>
                      <a:pt x="637" y="159"/>
                    </a:lnTo>
                    <a:lnTo>
                      <a:pt x="635" y="161"/>
                    </a:lnTo>
                    <a:lnTo>
                      <a:pt x="635" y="164"/>
                    </a:lnTo>
                    <a:lnTo>
                      <a:pt x="633" y="167"/>
                    </a:lnTo>
                    <a:lnTo>
                      <a:pt x="630" y="168"/>
                    </a:lnTo>
                    <a:lnTo>
                      <a:pt x="628" y="168"/>
                    </a:lnTo>
                    <a:lnTo>
                      <a:pt x="624" y="167"/>
                    </a:lnTo>
                    <a:lnTo>
                      <a:pt x="620" y="166"/>
                    </a:lnTo>
                    <a:lnTo>
                      <a:pt x="616" y="166"/>
                    </a:lnTo>
                    <a:lnTo>
                      <a:pt x="614" y="166"/>
                    </a:lnTo>
                    <a:lnTo>
                      <a:pt x="611" y="165"/>
                    </a:lnTo>
                    <a:lnTo>
                      <a:pt x="609" y="164"/>
                    </a:lnTo>
                    <a:lnTo>
                      <a:pt x="613" y="162"/>
                    </a:lnTo>
                    <a:lnTo>
                      <a:pt x="615" y="162"/>
                    </a:lnTo>
                    <a:lnTo>
                      <a:pt x="618" y="161"/>
                    </a:lnTo>
                    <a:lnTo>
                      <a:pt x="620" y="159"/>
                    </a:lnTo>
                    <a:lnTo>
                      <a:pt x="620" y="156"/>
                    </a:lnTo>
                    <a:lnTo>
                      <a:pt x="622" y="154"/>
                    </a:lnTo>
                    <a:lnTo>
                      <a:pt x="624" y="153"/>
                    </a:lnTo>
                    <a:lnTo>
                      <a:pt x="628" y="151"/>
                    </a:lnTo>
                    <a:lnTo>
                      <a:pt x="626" y="148"/>
                    </a:lnTo>
                    <a:lnTo>
                      <a:pt x="624" y="148"/>
                    </a:lnTo>
                    <a:lnTo>
                      <a:pt x="621" y="145"/>
                    </a:lnTo>
                    <a:lnTo>
                      <a:pt x="624" y="144"/>
                    </a:lnTo>
                    <a:lnTo>
                      <a:pt x="626" y="144"/>
                    </a:lnTo>
                    <a:lnTo>
                      <a:pt x="629" y="145"/>
                    </a:lnTo>
                    <a:lnTo>
                      <a:pt x="632" y="147"/>
                    </a:lnTo>
                    <a:lnTo>
                      <a:pt x="638" y="147"/>
                    </a:lnTo>
                    <a:lnTo>
                      <a:pt x="640" y="144"/>
                    </a:lnTo>
                    <a:lnTo>
                      <a:pt x="638" y="142"/>
                    </a:lnTo>
                    <a:lnTo>
                      <a:pt x="634" y="141"/>
                    </a:lnTo>
                    <a:lnTo>
                      <a:pt x="632" y="140"/>
                    </a:lnTo>
                    <a:lnTo>
                      <a:pt x="629" y="139"/>
                    </a:lnTo>
                    <a:lnTo>
                      <a:pt x="617" y="139"/>
                    </a:lnTo>
                    <a:lnTo>
                      <a:pt x="616" y="142"/>
                    </a:lnTo>
                    <a:lnTo>
                      <a:pt x="614" y="142"/>
                    </a:lnTo>
                    <a:lnTo>
                      <a:pt x="611" y="141"/>
                    </a:lnTo>
                    <a:lnTo>
                      <a:pt x="608" y="142"/>
                    </a:lnTo>
                    <a:lnTo>
                      <a:pt x="605" y="142"/>
                    </a:lnTo>
                    <a:lnTo>
                      <a:pt x="603" y="142"/>
                    </a:lnTo>
                    <a:lnTo>
                      <a:pt x="599" y="141"/>
                    </a:lnTo>
                    <a:lnTo>
                      <a:pt x="597" y="141"/>
                    </a:lnTo>
                    <a:lnTo>
                      <a:pt x="595" y="141"/>
                    </a:lnTo>
                    <a:lnTo>
                      <a:pt x="595" y="144"/>
                    </a:lnTo>
                    <a:lnTo>
                      <a:pt x="592" y="144"/>
                    </a:lnTo>
                    <a:lnTo>
                      <a:pt x="591" y="147"/>
                    </a:lnTo>
                    <a:lnTo>
                      <a:pt x="589" y="144"/>
                    </a:lnTo>
                    <a:lnTo>
                      <a:pt x="587" y="142"/>
                    </a:lnTo>
                    <a:lnTo>
                      <a:pt x="588" y="139"/>
                    </a:lnTo>
                    <a:lnTo>
                      <a:pt x="590" y="139"/>
                    </a:lnTo>
                    <a:lnTo>
                      <a:pt x="594" y="139"/>
                    </a:lnTo>
                    <a:lnTo>
                      <a:pt x="596" y="140"/>
                    </a:lnTo>
                    <a:lnTo>
                      <a:pt x="598" y="136"/>
                    </a:lnTo>
                    <a:lnTo>
                      <a:pt x="601" y="137"/>
                    </a:lnTo>
                    <a:lnTo>
                      <a:pt x="604" y="137"/>
                    </a:lnTo>
                    <a:lnTo>
                      <a:pt x="609" y="135"/>
                    </a:lnTo>
                    <a:lnTo>
                      <a:pt x="612" y="134"/>
                    </a:lnTo>
                    <a:lnTo>
                      <a:pt x="615" y="134"/>
                    </a:lnTo>
                    <a:lnTo>
                      <a:pt x="617" y="132"/>
                    </a:lnTo>
                    <a:lnTo>
                      <a:pt x="623" y="132"/>
                    </a:lnTo>
                    <a:lnTo>
                      <a:pt x="625" y="132"/>
                    </a:lnTo>
                    <a:lnTo>
                      <a:pt x="631" y="131"/>
                    </a:lnTo>
                    <a:lnTo>
                      <a:pt x="634" y="128"/>
                    </a:lnTo>
                    <a:lnTo>
                      <a:pt x="637" y="128"/>
                    </a:lnTo>
                    <a:lnTo>
                      <a:pt x="639" y="127"/>
                    </a:lnTo>
                    <a:lnTo>
                      <a:pt x="642" y="125"/>
                    </a:lnTo>
                    <a:lnTo>
                      <a:pt x="645" y="125"/>
                    </a:lnTo>
                    <a:lnTo>
                      <a:pt x="648" y="124"/>
                    </a:lnTo>
                    <a:lnTo>
                      <a:pt x="650" y="123"/>
                    </a:lnTo>
                    <a:lnTo>
                      <a:pt x="654" y="123"/>
                    </a:lnTo>
                    <a:lnTo>
                      <a:pt x="657" y="122"/>
                    </a:lnTo>
                    <a:lnTo>
                      <a:pt x="660" y="120"/>
                    </a:lnTo>
                    <a:lnTo>
                      <a:pt x="663" y="123"/>
                    </a:lnTo>
                    <a:lnTo>
                      <a:pt x="666" y="124"/>
                    </a:lnTo>
                    <a:lnTo>
                      <a:pt x="668" y="124"/>
                    </a:lnTo>
                    <a:lnTo>
                      <a:pt x="672" y="124"/>
                    </a:lnTo>
                    <a:lnTo>
                      <a:pt x="668" y="126"/>
                    </a:lnTo>
                    <a:lnTo>
                      <a:pt x="666" y="127"/>
                    </a:lnTo>
                    <a:lnTo>
                      <a:pt x="660" y="130"/>
                    </a:lnTo>
                    <a:lnTo>
                      <a:pt x="658" y="130"/>
                    </a:lnTo>
                    <a:lnTo>
                      <a:pt x="657" y="130"/>
                    </a:lnTo>
                    <a:lnTo>
                      <a:pt x="655" y="132"/>
                    </a:lnTo>
                    <a:lnTo>
                      <a:pt x="651" y="134"/>
                    </a:lnTo>
                    <a:lnTo>
                      <a:pt x="655" y="136"/>
                    </a:lnTo>
                    <a:lnTo>
                      <a:pt x="657" y="136"/>
                    </a:lnTo>
                    <a:lnTo>
                      <a:pt x="657" y="136"/>
                    </a:lnTo>
                    <a:lnTo>
                      <a:pt x="660" y="137"/>
                    </a:lnTo>
                    <a:lnTo>
                      <a:pt x="663" y="137"/>
                    </a:lnTo>
                    <a:lnTo>
                      <a:pt x="666" y="137"/>
                    </a:lnTo>
                    <a:lnTo>
                      <a:pt x="668" y="137"/>
                    </a:lnTo>
                    <a:lnTo>
                      <a:pt x="674" y="137"/>
                    </a:lnTo>
                    <a:lnTo>
                      <a:pt x="676" y="137"/>
                    </a:lnTo>
                    <a:lnTo>
                      <a:pt x="680" y="136"/>
                    </a:lnTo>
                    <a:lnTo>
                      <a:pt x="682" y="135"/>
                    </a:lnTo>
                    <a:lnTo>
                      <a:pt x="683" y="132"/>
                    </a:lnTo>
                    <a:lnTo>
                      <a:pt x="686" y="131"/>
                    </a:lnTo>
                    <a:lnTo>
                      <a:pt x="689" y="130"/>
                    </a:lnTo>
                    <a:lnTo>
                      <a:pt x="689" y="132"/>
                    </a:lnTo>
                    <a:lnTo>
                      <a:pt x="686" y="135"/>
                    </a:lnTo>
                    <a:lnTo>
                      <a:pt x="689" y="135"/>
                    </a:lnTo>
                    <a:lnTo>
                      <a:pt x="692" y="134"/>
                    </a:lnTo>
                    <a:lnTo>
                      <a:pt x="690" y="137"/>
                    </a:lnTo>
                    <a:lnTo>
                      <a:pt x="689" y="140"/>
                    </a:lnTo>
                    <a:lnTo>
                      <a:pt x="685" y="141"/>
                    </a:lnTo>
                    <a:lnTo>
                      <a:pt x="688" y="144"/>
                    </a:lnTo>
                    <a:close/>
                    <a:moveTo>
                      <a:pt x="805" y="218"/>
                    </a:moveTo>
                    <a:lnTo>
                      <a:pt x="803" y="217"/>
                    </a:lnTo>
                    <a:lnTo>
                      <a:pt x="800" y="217"/>
                    </a:lnTo>
                    <a:lnTo>
                      <a:pt x="797" y="216"/>
                    </a:lnTo>
                    <a:lnTo>
                      <a:pt x="793" y="214"/>
                    </a:lnTo>
                    <a:lnTo>
                      <a:pt x="787" y="214"/>
                    </a:lnTo>
                    <a:lnTo>
                      <a:pt x="785" y="216"/>
                    </a:lnTo>
                    <a:lnTo>
                      <a:pt x="782" y="217"/>
                    </a:lnTo>
                    <a:lnTo>
                      <a:pt x="777" y="218"/>
                    </a:lnTo>
                    <a:lnTo>
                      <a:pt x="774" y="220"/>
                    </a:lnTo>
                    <a:lnTo>
                      <a:pt x="773" y="224"/>
                    </a:lnTo>
                    <a:lnTo>
                      <a:pt x="778" y="219"/>
                    </a:lnTo>
                    <a:lnTo>
                      <a:pt x="780" y="219"/>
                    </a:lnTo>
                    <a:lnTo>
                      <a:pt x="784" y="218"/>
                    </a:lnTo>
                    <a:lnTo>
                      <a:pt x="786" y="218"/>
                    </a:lnTo>
                    <a:lnTo>
                      <a:pt x="790" y="216"/>
                    </a:lnTo>
                    <a:lnTo>
                      <a:pt x="794" y="216"/>
                    </a:lnTo>
                    <a:lnTo>
                      <a:pt x="797" y="217"/>
                    </a:lnTo>
                    <a:lnTo>
                      <a:pt x="792" y="217"/>
                    </a:lnTo>
                    <a:lnTo>
                      <a:pt x="788" y="218"/>
                    </a:lnTo>
                    <a:lnTo>
                      <a:pt x="794" y="218"/>
                    </a:lnTo>
                    <a:lnTo>
                      <a:pt x="797" y="219"/>
                    </a:lnTo>
                    <a:lnTo>
                      <a:pt x="794" y="220"/>
                    </a:lnTo>
                    <a:lnTo>
                      <a:pt x="788" y="220"/>
                    </a:lnTo>
                    <a:lnTo>
                      <a:pt x="786" y="221"/>
                    </a:lnTo>
                    <a:lnTo>
                      <a:pt x="788" y="221"/>
                    </a:lnTo>
                    <a:lnTo>
                      <a:pt x="786" y="222"/>
                    </a:lnTo>
                    <a:lnTo>
                      <a:pt x="790" y="221"/>
                    </a:lnTo>
                    <a:lnTo>
                      <a:pt x="792" y="222"/>
                    </a:lnTo>
                    <a:lnTo>
                      <a:pt x="794" y="221"/>
                    </a:lnTo>
                    <a:lnTo>
                      <a:pt x="794" y="221"/>
                    </a:lnTo>
                    <a:lnTo>
                      <a:pt x="790" y="225"/>
                    </a:lnTo>
                    <a:lnTo>
                      <a:pt x="786" y="225"/>
                    </a:lnTo>
                    <a:lnTo>
                      <a:pt x="782" y="224"/>
                    </a:lnTo>
                    <a:lnTo>
                      <a:pt x="776" y="228"/>
                    </a:lnTo>
                    <a:lnTo>
                      <a:pt x="773" y="229"/>
                    </a:lnTo>
                    <a:lnTo>
                      <a:pt x="773" y="231"/>
                    </a:lnTo>
                    <a:lnTo>
                      <a:pt x="765" y="238"/>
                    </a:lnTo>
                    <a:lnTo>
                      <a:pt x="762" y="241"/>
                    </a:lnTo>
                    <a:lnTo>
                      <a:pt x="760" y="243"/>
                    </a:lnTo>
                    <a:lnTo>
                      <a:pt x="757" y="244"/>
                    </a:lnTo>
                    <a:lnTo>
                      <a:pt x="753" y="245"/>
                    </a:lnTo>
                    <a:lnTo>
                      <a:pt x="753" y="244"/>
                    </a:lnTo>
                    <a:lnTo>
                      <a:pt x="750" y="244"/>
                    </a:lnTo>
                    <a:lnTo>
                      <a:pt x="745" y="246"/>
                    </a:lnTo>
                    <a:lnTo>
                      <a:pt x="744" y="247"/>
                    </a:lnTo>
                    <a:lnTo>
                      <a:pt x="743" y="248"/>
                    </a:lnTo>
                    <a:lnTo>
                      <a:pt x="744" y="251"/>
                    </a:lnTo>
                    <a:lnTo>
                      <a:pt x="742" y="253"/>
                    </a:lnTo>
                    <a:lnTo>
                      <a:pt x="740" y="254"/>
                    </a:lnTo>
                    <a:lnTo>
                      <a:pt x="736" y="253"/>
                    </a:lnTo>
                    <a:lnTo>
                      <a:pt x="731" y="255"/>
                    </a:lnTo>
                    <a:lnTo>
                      <a:pt x="728" y="255"/>
                    </a:lnTo>
                    <a:lnTo>
                      <a:pt x="720" y="256"/>
                    </a:lnTo>
                    <a:lnTo>
                      <a:pt x="715" y="256"/>
                    </a:lnTo>
                    <a:lnTo>
                      <a:pt x="712" y="256"/>
                    </a:lnTo>
                    <a:lnTo>
                      <a:pt x="707" y="254"/>
                    </a:lnTo>
                    <a:lnTo>
                      <a:pt x="705" y="253"/>
                    </a:lnTo>
                    <a:lnTo>
                      <a:pt x="697" y="252"/>
                    </a:lnTo>
                    <a:lnTo>
                      <a:pt x="694" y="251"/>
                    </a:lnTo>
                    <a:lnTo>
                      <a:pt x="692" y="248"/>
                    </a:lnTo>
                    <a:lnTo>
                      <a:pt x="689" y="247"/>
                    </a:lnTo>
                    <a:lnTo>
                      <a:pt x="692" y="247"/>
                    </a:lnTo>
                    <a:lnTo>
                      <a:pt x="695" y="250"/>
                    </a:lnTo>
                    <a:lnTo>
                      <a:pt x="698" y="250"/>
                    </a:lnTo>
                    <a:lnTo>
                      <a:pt x="701" y="248"/>
                    </a:lnTo>
                    <a:lnTo>
                      <a:pt x="703" y="246"/>
                    </a:lnTo>
                    <a:lnTo>
                      <a:pt x="706" y="247"/>
                    </a:lnTo>
                    <a:lnTo>
                      <a:pt x="709" y="247"/>
                    </a:lnTo>
                    <a:lnTo>
                      <a:pt x="711" y="248"/>
                    </a:lnTo>
                    <a:lnTo>
                      <a:pt x="715" y="247"/>
                    </a:lnTo>
                    <a:lnTo>
                      <a:pt x="714" y="244"/>
                    </a:lnTo>
                    <a:lnTo>
                      <a:pt x="716" y="243"/>
                    </a:lnTo>
                    <a:lnTo>
                      <a:pt x="717" y="241"/>
                    </a:lnTo>
                    <a:lnTo>
                      <a:pt x="719" y="237"/>
                    </a:lnTo>
                    <a:lnTo>
                      <a:pt x="722" y="237"/>
                    </a:lnTo>
                    <a:lnTo>
                      <a:pt x="725" y="238"/>
                    </a:lnTo>
                    <a:lnTo>
                      <a:pt x="727" y="237"/>
                    </a:lnTo>
                    <a:lnTo>
                      <a:pt x="731" y="235"/>
                    </a:lnTo>
                    <a:lnTo>
                      <a:pt x="728" y="231"/>
                    </a:lnTo>
                    <a:lnTo>
                      <a:pt x="726" y="230"/>
                    </a:lnTo>
                    <a:lnTo>
                      <a:pt x="724" y="228"/>
                    </a:lnTo>
                    <a:lnTo>
                      <a:pt x="722" y="227"/>
                    </a:lnTo>
                    <a:lnTo>
                      <a:pt x="722" y="225"/>
                    </a:lnTo>
                    <a:lnTo>
                      <a:pt x="722" y="222"/>
                    </a:lnTo>
                    <a:lnTo>
                      <a:pt x="718" y="222"/>
                    </a:lnTo>
                    <a:lnTo>
                      <a:pt x="712" y="219"/>
                    </a:lnTo>
                    <a:lnTo>
                      <a:pt x="712" y="216"/>
                    </a:lnTo>
                    <a:lnTo>
                      <a:pt x="714" y="216"/>
                    </a:lnTo>
                    <a:lnTo>
                      <a:pt x="716" y="218"/>
                    </a:lnTo>
                    <a:lnTo>
                      <a:pt x="722" y="219"/>
                    </a:lnTo>
                    <a:lnTo>
                      <a:pt x="724" y="221"/>
                    </a:lnTo>
                    <a:lnTo>
                      <a:pt x="727" y="222"/>
                    </a:lnTo>
                    <a:lnTo>
                      <a:pt x="729" y="225"/>
                    </a:lnTo>
                    <a:lnTo>
                      <a:pt x="733" y="225"/>
                    </a:lnTo>
                    <a:lnTo>
                      <a:pt x="735" y="224"/>
                    </a:lnTo>
                    <a:lnTo>
                      <a:pt x="736" y="224"/>
                    </a:lnTo>
                    <a:lnTo>
                      <a:pt x="737" y="227"/>
                    </a:lnTo>
                    <a:lnTo>
                      <a:pt x="741" y="228"/>
                    </a:lnTo>
                    <a:lnTo>
                      <a:pt x="743" y="230"/>
                    </a:lnTo>
                    <a:lnTo>
                      <a:pt x="745" y="231"/>
                    </a:lnTo>
                    <a:lnTo>
                      <a:pt x="749" y="233"/>
                    </a:lnTo>
                    <a:lnTo>
                      <a:pt x="751" y="231"/>
                    </a:lnTo>
                    <a:lnTo>
                      <a:pt x="752" y="231"/>
                    </a:lnTo>
                    <a:lnTo>
                      <a:pt x="760" y="231"/>
                    </a:lnTo>
                    <a:lnTo>
                      <a:pt x="762" y="229"/>
                    </a:lnTo>
                    <a:lnTo>
                      <a:pt x="768" y="226"/>
                    </a:lnTo>
                    <a:lnTo>
                      <a:pt x="770" y="225"/>
                    </a:lnTo>
                    <a:lnTo>
                      <a:pt x="776" y="217"/>
                    </a:lnTo>
                    <a:lnTo>
                      <a:pt x="778" y="214"/>
                    </a:lnTo>
                    <a:lnTo>
                      <a:pt x="784" y="212"/>
                    </a:lnTo>
                    <a:lnTo>
                      <a:pt x="787" y="212"/>
                    </a:lnTo>
                    <a:lnTo>
                      <a:pt x="794" y="212"/>
                    </a:lnTo>
                    <a:lnTo>
                      <a:pt x="800" y="213"/>
                    </a:lnTo>
                    <a:lnTo>
                      <a:pt x="808" y="214"/>
                    </a:lnTo>
                    <a:lnTo>
                      <a:pt x="808" y="218"/>
                    </a:lnTo>
                    <a:lnTo>
                      <a:pt x="805" y="218"/>
                    </a:lnTo>
                    <a:close/>
                    <a:moveTo>
                      <a:pt x="981" y="448"/>
                    </a:moveTo>
                    <a:lnTo>
                      <a:pt x="981" y="451"/>
                    </a:lnTo>
                    <a:lnTo>
                      <a:pt x="982" y="453"/>
                    </a:lnTo>
                    <a:lnTo>
                      <a:pt x="981" y="453"/>
                    </a:lnTo>
                    <a:lnTo>
                      <a:pt x="979" y="451"/>
                    </a:lnTo>
                    <a:lnTo>
                      <a:pt x="978" y="455"/>
                    </a:lnTo>
                    <a:lnTo>
                      <a:pt x="978" y="457"/>
                    </a:lnTo>
                    <a:lnTo>
                      <a:pt x="975" y="458"/>
                    </a:lnTo>
                    <a:lnTo>
                      <a:pt x="973" y="456"/>
                    </a:lnTo>
                    <a:lnTo>
                      <a:pt x="973" y="453"/>
                    </a:lnTo>
                    <a:lnTo>
                      <a:pt x="973" y="451"/>
                    </a:lnTo>
                    <a:lnTo>
                      <a:pt x="973" y="448"/>
                    </a:lnTo>
                    <a:lnTo>
                      <a:pt x="973" y="445"/>
                    </a:lnTo>
                    <a:lnTo>
                      <a:pt x="975" y="442"/>
                    </a:lnTo>
                    <a:lnTo>
                      <a:pt x="976" y="440"/>
                    </a:lnTo>
                    <a:lnTo>
                      <a:pt x="973" y="441"/>
                    </a:lnTo>
                    <a:lnTo>
                      <a:pt x="975" y="439"/>
                    </a:lnTo>
                    <a:lnTo>
                      <a:pt x="976" y="435"/>
                    </a:lnTo>
                    <a:lnTo>
                      <a:pt x="973" y="434"/>
                    </a:lnTo>
                    <a:lnTo>
                      <a:pt x="971" y="436"/>
                    </a:lnTo>
                    <a:lnTo>
                      <a:pt x="968" y="439"/>
                    </a:lnTo>
                    <a:lnTo>
                      <a:pt x="968" y="436"/>
                    </a:lnTo>
                    <a:lnTo>
                      <a:pt x="968" y="433"/>
                    </a:lnTo>
                    <a:lnTo>
                      <a:pt x="968" y="431"/>
                    </a:lnTo>
                    <a:lnTo>
                      <a:pt x="966" y="427"/>
                    </a:lnTo>
                    <a:lnTo>
                      <a:pt x="964" y="429"/>
                    </a:lnTo>
                    <a:lnTo>
                      <a:pt x="965" y="426"/>
                    </a:lnTo>
                    <a:lnTo>
                      <a:pt x="962" y="427"/>
                    </a:lnTo>
                    <a:lnTo>
                      <a:pt x="961" y="431"/>
                    </a:lnTo>
                    <a:lnTo>
                      <a:pt x="958" y="430"/>
                    </a:lnTo>
                    <a:lnTo>
                      <a:pt x="958" y="429"/>
                    </a:lnTo>
                    <a:lnTo>
                      <a:pt x="957" y="425"/>
                    </a:lnTo>
                    <a:lnTo>
                      <a:pt x="955" y="423"/>
                    </a:lnTo>
                    <a:lnTo>
                      <a:pt x="953" y="421"/>
                    </a:lnTo>
                    <a:lnTo>
                      <a:pt x="950" y="418"/>
                    </a:lnTo>
                    <a:lnTo>
                      <a:pt x="948" y="416"/>
                    </a:lnTo>
                    <a:lnTo>
                      <a:pt x="947" y="413"/>
                    </a:lnTo>
                    <a:lnTo>
                      <a:pt x="949" y="410"/>
                    </a:lnTo>
                    <a:lnTo>
                      <a:pt x="951" y="409"/>
                    </a:lnTo>
                    <a:lnTo>
                      <a:pt x="950" y="409"/>
                    </a:lnTo>
                    <a:lnTo>
                      <a:pt x="947" y="409"/>
                    </a:lnTo>
                    <a:lnTo>
                      <a:pt x="945" y="409"/>
                    </a:lnTo>
                    <a:lnTo>
                      <a:pt x="941" y="407"/>
                    </a:lnTo>
                    <a:lnTo>
                      <a:pt x="942" y="405"/>
                    </a:lnTo>
                    <a:lnTo>
                      <a:pt x="944" y="401"/>
                    </a:lnTo>
                    <a:lnTo>
                      <a:pt x="945" y="399"/>
                    </a:lnTo>
                    <a:lnTo>
                      <a:pt x="945" y="397"/>
                    </a:lnTo>
                    <a:lnTo>
                      <a:pt x="946" y="393"/>
                    </a:lnTo>
                    <a:lnTo>
                      <a:pt x="947" y="393"/>
                    </a:lnTo>
                    <a:lnTo>
                      <a:pt x="950" y="395"/>
                    </a:lnTo>
                    <a:lnTo>
                      <a:pt x="953" y="393"/>
                    </a:lnTo>
                    <a:lnTo>
                      <a:pt x="955" y="395"/>
                    </a:lnTo>
                    <a:lnTo>
                      <a:pt x="958" y="396"/>
                    </a:lnTo>
                    <a:lnTo>
                      <a:pt x="959" y="396"/>
                    </a:lnTo>
                    <a:lnTo>
                      <a:pt x="957" y="395"/>
                    </a:lnTo>
                    <a:lnTo>
                      <a:pt x="955" y="392"/>
                    </a:lnTo>
                    <a:lnTo>
                      <a:pt x="956" y="389"/>
                    </a:lnTo>
                    <a:lnTo>
                      <a:pt x="957" y="387"/>
                    </a:lnTo>
                    <a:lnTo>
                      <a:pt x="958" y="383"/>
                    </a:lnTo>
                    <a:lnTo>
                      <a:pt x="959" y="384"/>
                    </a:lnTo>
                    <a:lnTo>
                      <a:pt x="959" y="387"/>
                    </a:lnTo>
                    <a:lnTo>
                      <a:pt x="956" y="389"/>
                    </a:lnTo>
                    <a:lnTo>
                      <a:pt x="957" y="392"/>
                    </a:lnTo>
                    <a:lnTo>
                      <a:pt x="959" y="391"/>
                    </a:lnTo>
                    <a:lnTo>
                      <a:pt x="963" y="390"/>
                    </a:lnTo>
                    <a:lnTo>
                      <a:pt x="962" y="391"/>
                    </a:lnTo>
                    <a:lnTo>
                      <a:pt x="959" y="392"/>
                    </a:lnTo>
                    <a:lnTo>
                      <a:pt x="959" y="393"/>
                    </a:lnTo>
                    <a:lnTo>
                      <a:pt x="961" y="396"/>
                    </a:lnTo>
                    <a:lnTo>
                      <a:pt x="961" y="397"/>
                    </a:lnTo>
                    <a:lnTo>
                      <a:pt x="962" y="399"/>
                    </a:lnTo>
                    <a:lnTo>
                      <a:pt x="963" y="401"/>
                    </a:lnTo>
                    <a:lnTo>
                      <a:pt x="964" y="405"/>
                    </a:lnTo>
                    <a:lnTo>
                      <a:pt x="966" y="407"/>
                    </a:lnTo>
                    <a:lnTo>
                      <a:pt x="968" y="410"/>
                    </a:lnTo>
                    <a:lnTo>
                      <a:pt x="966" y="410"/>
                    </a:lnTo>
                    <a:lnTo>
                      <a:pt x="967" y="414"/>
                    </a:lnTo>
                    <a:lnTo>
                      <a:pt x="970" y="416"/>
                    </a:lnTo>
                    <a:lnTo>
                      <a:pt x="971" y="419"/>
                    </a:lnTo>
                    <a:lnTo>
                      <a:pt x="972" y="422"/>
                    </a:lnTo>
                    <a:lnTo>
                      <a:pt x="972" y="424"/>
                    </a:lnTo>
                    <a:lnTo>
                      <a:pt x="973" y="427"/>
                    </a:lnTo>
                    <a:lnTo>
                      <a:pt x="974" y="430"/>
                    </a:lnTo>
                    <a:lnTo>
                      <a:pt x="976" y="432"/>
                    </a:lnTo>
                    <a:lnTo>
                      <a:pt x="976" y="434"/>
                    </a:lnTo>
                    <a:lnTo>
                      <a:pt x="979" y="438"/>
                    </a:lnTo>
                    <a:lnTo>
                      <a:pt x="980" y="440"/>
                    </a:lnTo>
                    <a:lnTo>
                      <a:pt x="982" y="442"/>
                    </a:lnTo>
                    <a:lnTo>
                      <a:pt x="981" y="445"/>
                    </a:lnTo>
                    <a:lnTo>
                      <a:pt x="981" y="448"/>
                    </a:lnTo>
                    <a:close/>
                    <a:moveTo>
                      <a:pt x="1152" y="575"/>
                    </a:moveTo>
                    <a:lnTo>
                      <a:pt x="1152" y="573"/>
                    </a:lnTo>
                    <a:lnTo>
                      <a:pt x="1151" y="571"/>
                    </a:lnTo>
                    <a:lnTo>
                      <a:pt x="1153" y="569"/>
                    </a:lnTo>
                    <a:lnTo>
                      <a:pt x="1157" y="567"/>
                    </a:lnTo>
                    <a:lnTo>
                      <a:pt x="1158" y="564"/>
                    </a:lnTo>
                    <a:lnTo>
                      <a:pt x="1160" y="561"/>
                    </a:lnTo>
                    <a:lnTo>
                      <a:pt x="1160" y="560"/>
                    </a:lnTo>
                    <a:lnTo>
                      <a:pt x="1160" y="556"/>
                    </a:lnTo>
                    <a:lnTo>
                      <a:pt x="1160" y="554"/>
                    </a:lnTo>
                    <a:lnTo>
                      <a:pt x="1158" y="552"/>
                    </a:lnTo>
                    <a:lnTo>
                      <a:pt x="1160" y="551"/>
                    </a:lnTo>
                    <a:lnTo>
                      <a:pt x="1159" y="549"/>
                    </a:lnTo>
                    <a:lnTo>
                      <a:pt x="1157" y="545"/>
                    </a:lnTo>
                    <a:lnTo>
                      <a:pt x="1154" y="544"/>
                    </a:lnTo>
                    <a:lnTo>
                      <a:pt x="1151" y="543"/>
                    </a:lnTo>
                    <a:lnTo>
                      <a:pt x="1149" y="542"/>
                    </a:lnTo>
                    <a:lnTo>
                      <a:pt x="1146" y="541"/>
                    </a:lnTo>
                    <a:lnTo>
                      <a:pt x="1145" y="541"/>
                    </a:lnTo>
                    <a:lnTo>
                      <a:pt x="1142" y="539"/>
                    </a:lnTo>
                    <a:lnTo>
                      <a:pt x="1140" y="538"/>
                    </a:lnTo>
                    <a:lnTo>
                      <a:pt x="1137" y="541"/>
                    </a:lnTo>
                    <a:lnTo>
                      <a:pt x="1135" y="542"/>
                    </a:lnTo>
                    <a:lnTo>
                      <a:pt x="1137" y="544"/>
                    </a:lnTo>
                    <a:lnTo>
                      <a:pt x="1137" y="545"/>
                    </a:lnTo>
                    <a:lnTo>
                      <a:pt x="1135" y="545"/>
                    </a:lnTo>
                    <a:lnTo>
                      <a:pt x="1133" y="546"/>
                    </a:lnTo>
                    <a:lnTo>
                      <a:pt x="1132" y="549"/>
                    </a:lnTo>
                    <a:lnTo>
                      <a:pt x="1132" y="552"/>
                    </a:lnTo>
                    <a:lnTo>
                      <a:pt x="1129" y="554"/>
                    </a:lnTo>
                    <a:lnTo>
                      <a:pt x="1129" y="552"/>
                    </a:lnTo>
                    <a:lnTo>
                      <a:pt x="1128" y="554"/>
                    </a:lnTo>
                    <a:lnTo>
                      <a:pt x="1128" y="552"/>
                    </a:lnTo>
                    <a:lnTo>
                      <a:pt x="1128" y="549"/>
                    </a:lnTo>
                    <a:lnTo>
                      <a:pt x="1126" y="552"/>
                    </a:lnTo>
                    <a:lnTo>
                      <a:pt x="1125" y="552"/>
                    </a:lnTo>
                    <a:lnTo>
                      <a:pt x="1121" y="554"/>
                    </a:lnTo>
                    <a:lnTo>
                      <a:pt x="1119" y="556"/>
                    </a:lnTo>
                    <a:lnTo>
                      <a:pt x="1120" y="559"/>
                    </a:lnTo>
                    <a:lnTo>
                      <a:pt x="1119" y="562"/>
                    </a:lnTo>
                    <a:lnTo>
                      <a:pt x="1118" y="564"/>
                    </a:lnTo>
                    <a:lnTo>
                      <a:pt x="1116" y="567"/>
                    </a:lnTo>
                    <a:lnTo>
                      <a:pt x="1117" y="570"/>
                    </a:lnTo>
                    <a:lnTo>
                      <a:pt x="1116" y="572"/>
                    </a:lnTo>
                    <a:lnTo>
                      <a:pt x="1116" y="576"/>
                    </a:lnTo>
                    <a:lnTo>
                      <a:pt x="1117" y="578"/>
                    </a:lnTo>
                    <a:lnTo>
                      <a:pt x="1119" y="580"/>
                    </a:lnTo>
                    <a:lnTo>
                      <a:pt x="1119" y="581"/>
                    </a:lnTo>
                    <a:lnTo>
                      <a:pt x="1119" y="584"/>
                    </a:lnTo>
                    <a:lnTo>
                      <a:pt x="1120" y="585"/>
                    </a:lnTo>
                    <a:lnTo>
                      <a:pt x="1120" y="588"/>
                    </a:lnTo>
                    <a:lnTo>
                      <a:pt x="1120" y="590"/>
                    </a:lnTo>
                    <a:lnTo>
                      <a:pt x="1119" y="593"/>
                    </a:lnTo>
                    <a:lnTo>
                      <a:pt x="1118" y="596"/>
                    </a:lnTo>
                    <a:lnTo>
                      <a:pt x="1117" y="598"/>
                    </a:lnTo>
                    <a:lnTo>
                      <a:pt x="1116" y="602"/>
                    </a:lnTo>
                    <a:lnTo>
                      <a:pt x="1113" y="604"/>
                    </a:lnTo>
                    <a:lnTo>
                      <a:pt x="1111" y="605"/>
                    </a:lnTo>
                    <a:lnTo>
                      <a:pt x="1109" y="606"/>
                    </a:lnTo>
                    <a:lnTo>
                      <a:pt x="1107" y="607"/>
                    </a:lnTo>
                    <a:lnTo>
                      <a:pt x="1103" y="607"/>
                    </a:lnTo>
                    <a:lnTo>
                      <a:pt x="1102" y="606"/>
                    </a:lnTo>
                    <a:lnTo>
                      <a:pt x="1102" y="606"/>
                    </a:lnTo>
                    <a:lnTo>
                      <a:pt x="1101" y="603"/>
                    </a:lnTo>
                    <a:lnTo>
                      <a:pt x="1100" y="602"/>
                    </a:lnTo>
                    <a:lnTo>
                      <a:pt x="1099" y="598"/>
                    </a:lnTo>
                    <a:lnTo>
                      <a:pt x="1098" y="596"/>
                    </a:lnTo>
                    <a:lnTo>
                      <a:pt x="1099" y="594"/>
                    </a:lnTo>
                    <a:lnTo>
                      <a:pt x="1099" y="592"/>
                    </a:lnTo>
                    <a:lnTo>
                      <a:pt x="1099" y="589"/>
                    </a:lnTo>
                    <a:lnTo>
                      <a:pt x="1098" y="586"/>
                    </a:lnTo>
                    <a:lnTo>
                      <a:pt x="1096" y="581"/>
                    </a:lnTo>
                    <a:lnTo>
                      <a:pt x="1098" y="578"/>
                    </a:lnTo>
                    <a:lnTo>
                      <a:pt x="1099" y="576"/>
                    </a:lnTo>
                    <a:lnTo>
                      <a:pt x="1100" y="572"/>
                    </a:lnTo>
                    <a:lnTo>
                      <a:pt x="1099" y="570"/>
                    </a:lnTo>
                    <a:lnTo>
                      <a:pt x="1100" y="567"/>
                    </a:lnTo>
                    <a:lnTo>
                      <a:pt x="1102" y="564"/>
                    </a:lnTo>
                    <a:lnTo>
                      <a:pt x="1102" y="562"/>
                    </a:lnTo>
                    <a:lnTo>
                      <a:pt x="1103" y="559"/>
                    </a:lnTo>
                    <a:lnTo>
                      <a:pt x="1104" y="556"/>
                    </a:lnTo>
                    <a:lnTo>
                      <a:pt x="1103" y="554"/>
                    </a:lnTo>
                    <a:lnTo>
                      <a:pt x="1100" y="555"/>
                    </a:lnTo>
                    <a:lnTo>
                      <a:pt x="1098" y="558"/>
                    </a:lnTo>
                    <a:lnTo>
                      <a:pt x="1095" y="558"/>
                    </a:lnTo>
                    <a:lnTo>
                      <a:pt x="1096" y="555"/>
                    </a:lnTo>
                    <a:lnTo>
                      <a:pt x="1098" y="552"/>
                    </a:lnTo>
                    <a:lnTo>
                      <a:pt x="1101" y="552"/>
                    </a:lnTo>
                    <a:lnTo>
                      <a:pt x="1101" y="550"/>
                    </a:lnTo>
                    <a:lnTo>
                      <a:pt x="1102" y="547"/>
                    </a:lnTo>
                    <a:lnTo>
                      <a:pt x="1104" y="545"/>
                    </a:lnTo>
                    <a:lnTo>
                      <a:pt x="1106" y="542"/>
                    </a:lnTo>
                    <a:lnTo>
                      <a:pt x="1108" y="539"/>
                    </a:lnTo>
                    <a:lnTo>
                      <a:pt x="1110" y="536"/>
                    </a:lnTo>
                    <a:lnTo>
                      <a:pt x="1110" y="539"/>
                    </a:lnTo>
                    <a:lnTo>
                      <a:pt x="1112" y="537"/>
                    </a:lnTo>
                    <a:lnTo>
                      <a:pt x="1116" y="536"/>
                    </a:lnTo>
                    <a:lnTo>
                      <a:pt x="1116" y="539"/>
                    </a:lnTo>
                    <a:lnTo>
                      <a:pt x="1118" y="537"/>
                    </a:lnTo>
                    <a:lnTo>
                      <a:pt x="1120" y="535"/>
                    </a:lnTo>
                    <a:lnTo>
                      <a:pt x="1123" y="535"/>
                    </a:lnTo>
                    <a:lnTo>
                      <a:pt x="1126" y="535"/>
                    </a:lnTo>
                    <a:lnTo>
                      <a:pt x="1128" y="534"/>
                    </a:lnTo>
                    <a:lnTo>
                      <a:pt x="1132" y="533"/>
                    </a:lnTo>
                    <a:lnTo>
                      <a:pt x="1134" y="533"/>
                    </a:lnTo>
                    <a:lnTo>
                      <a:pt x="1137" y="534"/>
                    </a:lnTo>
                    <a:lnTo>
                      <a:pt x="1138" y="536"/>
                    </a:lnTo>
                    <a:lnTo>
                      <a:pt x="1141" y="535"/>
                    </a:lnTo>
                    <a:lnTo>
                      <a:pt x="1144" y="535"/>
                    </a:lnTo>
                    <a:lnTo>
                      <a:pt x="1146" y="535"/>
                    </a:lnTo>
                    <a:lnTo>
                      <a:pt x="1149" y="535"/>
                    </a:lnTo>
                    <a:lnTo>
                      <a:pt x="1152" y="535"/>
                    </a:lnTo>
                    <a:lnTo>
                      <a:pt x="1150" y="532"/>
                    </a:lnTo>
                    <a:lnTo>
                      <a:pt x="1147" y="532"/>
                    </a:lnTo>
                    <a:lnTo>
                      <a:pt x="1147" y="528"/>
                    </a:lnTo>
                    <a:lnTo>
                      <a:pt x="1145" y="526"/>
                    </a:lnTo>
                    <a:lnTo>
                      <a:pt x="1145" y="526"/>
                    </a:lnTo>
                    <a:lnTo>
                      <a:pt x="1145" y="526"/>
                    </a:lnTo>
                    <a:lnTo>
                      <a:pt x="1140" y="527"/>
                    </a:lnTo>
                    <a:lnTo>
                      <a:pt x="1137" y="526"/>
                    </a:lnTo>
                    <a:lnTo>
                      <a:pt x="1136" y="525"/>
                    </a:lnTo>
                    <a:lnTo>
                      <a:pt x="1137" y="521"/>
                    </a:lnTo>
                    <a:lnTo>
                      <a:pt x="1137" y="521"/>
                    </a:lnTo>
                    <a:lnTo>
                      <a:pt x="1134" y="521"/>
                    </a:lnTo>
                    <a:lnTo>
                      <a:pt x="1130" y="522"/>
                    </a:lnTo>
                    <a:lnTo>
                      <a:pt x="1128" y="522"/>
                    </a:lnTo>
                    <a:lnTo>
                      <a:pt x="1126" y="522"/>
                    </a:lnTo>
                    <a:lnTo>
                      <a:pt x="1120" y="522"/>
                    </a:lnTo>
                    <a:lnTo>
                      <a:pt x="1118" y="525"/>
                    </a:lnTo>
                    <a:lnTo>
                      <a:pt x="1115" y="527"/>
                    </a:lnTo>
                    <a:lnTo>
                      <a:pt x="1112" y="526"/>
                    </a:lnTo>
                    <a:lnTo>
                      <a:pt x="1109" y="525"/>
                    </a:lnTo>
                    <a:lnTo>
                      <a:pt x="1107" y="526"/>
                    </a:lnTo>
                    <a:lnTo>
                      <a:pt x="1104" y="526"/>
                    </a:lnTo>
                    <a:lnTo>
                      <a:pt x="1102" y="522"/>
                    </a:lnTo>
                    <a:lnTo>
                      <a:pt x="1100" y="520"/>
                    </a:lnTo>
                    <a:lnTo>
                      <a:pt x="1098" y="519"/>
                    </a:lnTo>
                    <a:lnTo>
                      <a:pt x="1094" y="519"/>
                    </a:lnTo>
                    <a:lnTo>
                      <a:pt x="1092" y="519"/>
                    </a:lnTo>
                    <a:lnTo>
                      <a:pt x="1090" y="519"/>
                    </a:lnTo>
                    <a:lnTo>
                      <a:pt x="1089" y="516"/>
                    </a:lnTo>
                    <a:lnTo>
                      <a:pt x="1087" y="513"/>
                    </a:lnTo>
                    <a:lnTo>
                      <a:pt x="1084" y="515"/>
                    </a:lnTo>
                    <a:lnTo>
                      <a:pt x="1082" y="517"/>
                    </a:lnTo>
                    <a:lnTo>
                      <a:pt x="1079" y="518"/>
                    </a:lnTo>
                    <a:lnTo>
                      <a:pt x="1076" y="520"/>
                    </a:lnTo>
                    <a:lnTo>
                      <a:pt x="1074" y="520"/>
                    </a:lnTo>
                    <a:lnTo>
                      <a:pt x="1070" y="520"/>
                    </a:lnTo>
                    <a:lnTo>
                      <a:pt x="1068" y="522"/>
                    </a:lnTo>
                    <a:lnTo>
                      <a:pt x="1068" y="522"/>
                    </a:lnTo>
                    <a:lnTo>
                      <a:pt x="1065" y="524"/>
                    </a:lnTo>
                    <a:lnTo>
                      <a:pt x="1063" y="525"/>
                    </a:lnTo>
                    <a:lnTo>
                      <a:pt x="1060" y="524"/>
                    </a:lnTo>
                    <a:lnTo>
                      <a:pt x="1058" y="522"/>
                    </a:lnTo>
                    <a:lnTo>
                      <a:pt x="1056" y="524"/>
                    </a:lnTo>
                    <a:lnTo>
                      <a:pt x="1057" y="521"/>
                    </a:lnTo>
                    <a:lnTo>
                      <a:pt x="1056" y="518"/>
                    </a:lnTo>
                    <a:lnTo>
                      <a:pt x="1052" y="519"/>
                    </a:lnTo>
                    <a:lnTo>
                      <a:pt x="1050" y="520"/>
                    </a:lnTo>
                    <a:lnTo>
                      <a:pt x="1048" y="521"/>
                    </a:lnTo>
                    <a:lnTo>
                      <a:pt x="1042" y="522"/>
                    </a:lnTo>
                    <a:lnTo>
                      <a:pt x="1039" y="521"/>
                    </a:lnTo>
                    <a:lnTo>
                      <a:pt x="1041" y="519"/>
                    </a:lnTo>
                    <a:lnTo>
                      <a:pt x="1044" y="518"/>
                    </a:lnTo>
                    <a:lnTo>
                      <a:pt x="1047" y="516"/>
                    </a:lnTo>
                    <a:lnTo>
                      <a:pt x="1050" y="513"/>
                    </a:lnTo>
                    <a:lnTo>
                      <a:pt x="1052" y="511"/>
                    </a:lnTo>
                    <a:lnTo>
                      <a:pt x="1055" y="509"/>
                    </a:lnTo>
                    <a:lnTo>
                      <a:pt x="1057" y="507"/>
                    </a:lnTo>
                    <a:lnTo>
                      <a:pt x="1060" y="506"/>
                    </a:lnTo>
                    <a:lnTo>
                      <a:pt x="1063" y="504"/>
                    </a:lnTo>
                    <a:lnTo>
                      <a:pt x="1068" y="503"/>
                    </a:lnTo>
                    <a:lnTo>
                      <a:pt x="1068" y="502"/>
                    </a:lnTo>
                    <a:lnTo>
                      <a:pt x="1072" y="501"/>
                    </a:lnTo>
                    <a:lnTo>
                      <a:pt x="1074" y="500"/>
                    </a:lnTo>
                    <a:lnTo>
                      <a:pt x="1076" y="498"/>
                    </a:lnTo>
                    <a:lnTo>
                      <a:pt x="1078" y="495"/>
                    </a:lnTo>
                    <a:lnTo>
                      <a:pt x="1078" y="493"/>
                    </a:lnTo>
                    <a:lnTo>
                      <a:pt x="1082" y="491"/>
                    </a:lnTo>
                    <a:lnTo>
                      <a:pt x="1084" y="492"/>
                    </a:lnTo>
                    <a:lnTo>
                      <a:pt x="1084" y="494"/>
                    </a:lnTo>
                    <a:lnTo>
                      <a:pt x="1086" y="492"/>
                    </a:lnTo>
                    <a:lnTo>
                      <a:pt x="1089" y="489"/>
                    </a:lnTo>
                    <a:lnTo>
                      <a:pt x="1089" y="486"/>
                    </a:lnTo>
                    <a:lnTo>
                      <a:pt x="1091" y="486"/>
                    </a:lnTo>
                    <a:lnTo>
                      <a:pt x="1090" y="489"/>
                    </a:lnTo>
                    <a:lnTo>
                      <a:pt x="1089" y="491"/>
                    </a:lnTo>
                    <a:lnTo>
                      <a:pt x="1091" y="489"/>
                    </a:lnTo>
                    <a:lnTo>
                      <a:pt x="1094" y="487"/>
                    </a:lnTo>
                    <a:lnTo>
                      <a:pt x="1093" y="485"/>
                    </a:lnTo>
                    <a:lnTo>
                      <a:pt x="1092" y="483"/>
                    </a:lnTo>
                    <a:lnTo>
                      <a:pt x="1093" y="483"/>
                    </a:lnTo>
                    <a:lnTo>
                      <a:pt x="1096" y="483"/>
                    </a:lnTo>
                    <a:lnTo>
                      <a:pt x="1099" y="484"/>
                    </a:lnTo>
                    <a:lnTo>
                      <a:pt x="1102" y="485"/>
                    </a:lnTo>
                    <a:lnTo>
                      <a:pt x="1104" y="486"/>
                    </a:lnTo>
                    <a:lnTo>
                      <a:pt x="1107" y="486"/>
                    </a:lnTo>
                    <a:lnTo>
                      <a:pt x="1110" y="485"/>
                    </a:lnTo>
                    <a:lnTo>
                      <a:pt x="1112" y="486"/>
                    </a:lnTo>
                    <a:lnTo>
                      <a:pt x="1116" y="487"/>
                    </a:lnTo>
                    <a:lnTo>
                      <a:pt x="1118" y="487"/>
                    </a:lnTo>
                    <a:lnTo>
                      <a:pt x="1119" y="491"/>
                    </a:lnTo>
                    <a:lnTo>
                      <a:pt x="1120" y="493"/>
                    </a:lnTo>
                    <a:lnTo>
                      <a:pt x="1121" y="495"/>
                    </a:lnTo>
                    <a:lnTo>
                      <a:pt x="1124" y="499"/>
                    </a:lnTo>
                    <a:lnTo>
                      <a:pt x="1126" y="501"/>
                    </a:lnTo>
                    <a:lnTo>
                      <a:pt x="1132" y="501"/>
                    </a:lnTo>
                    <a:lnTo>
                      <a:pt x="1134" y="501"/>
                    </a:lnTo>
                    <a:lnTo>
                      <a:pt x="1137" y="501"/>
                    </a:lnTo>
                    <a:lnTo>
                      <a:pt x="1137" y="503"/>
                    </a:lnTo>
                    <a:lnTo>
                      <a:pt x="1137" y="506"/>
                    </a:lnTo>
                    <a:lnTo>
                      <a:pt x="1137" y="507"/>
                    </a:lnTo>
                    <a:lnTo>
                      <a:pt x="1140" y="509"/>
                    </a:lnTo>
                    <a:lnTo>
                      <a:pt x="1142" y="511"/>
                    </a:lnTo>
                    <a:lnTo>
                      <a:pt x="1141" y="515"/>
                    </a:lnTo>
                    <a:lnTo>
                      <a:pt x="1140" y="517"/>
                    </a:lnTo>
                    <a:lnTo>
                      <a:pt x="1142" y="518"/>
                    </a:lnTo>
                    <a:lnTo>
                      <a:pt x="1145" y="519"/>
                    </a:lnTo>
                    <a:lnTo>
                      <a:pt x="1143" y="521"/>
                    </a:lnTo>
                    <a:lnTo>
                      <a:pt x="1143" y="525"/>
                    </a:lnTo>
                    <a:lnTo>
                      <a:pt x="1145" y="526"/>
                    </a:lnTo>
                    <a:lnTo>
                      <a:pt x="1145" y="526"/>
                    </a:lnTo>
                    <a:lnTo>
                      <a:pt x="1149" y="525"/>
                    </a:lnTo>
                    <a:lnTo>
                      <a:pt x="1149" y="528"/>
                    </a:lnTo>
                    <a:lnTo>
                      <a:pt x="1154" y="529"/>
                    </a:lnTo>
                    <a:lnTo>
                      <a:pt x="1155" y="529"/>
                    </a:lnTo>
                    <a:lnTo>
                      <a:pt x="1159" y="530"/>
                    </a:lnTo>
                    <a:lnTo>
                      <a:pt x="1161" y="532"/>
                    </a:lnTo>
                    <a:lnTo>
                      <a:pt x="1164" y="532"/>
                    </a:lnTo>
                    <a:lnTo>
                      <a:pt x="1167" y="532"/>
                    </a:lnTo>
                    <a:lnTo>
                      <a:pt x="1169" y="532"/>
                    </a:lnTo>
                    <a:lnTo>
                      <a:pt x="1172" y="532"/>
                    </a:lnTo>
                    <a:lnTo>
                      <a:pt x="1175" y="532"/>
                    </a:lnTo>
                    <a:lnTo>
                      <a:pt x="1180" y="533"/>
                    </a:lnTo>
                    <a:lnTo>
                      <a:pt x="1183" y="533"/>
                    </a:lnTo>
                    <a:lnTo>
                      <a:pt x="1184" y="535"/>
                    </a:lnTo>
                    <a:lnTo>
                      <a:pt x="1186" y="535"/>
                    </a:lnTo>
                    <a:lnTo>
                      <a:pt x="1189" y="535"/>
                    </a:lnTo>
                    <a:lnTo>
                      <a:pt x="1192" y="535"/>
                    </a:lnTo>
                    <a:lnTo>
                      <a:pt x="1195" y="536"/>
                    </a:lnTo>
                    <a:lnTo>
                      <a:pt x="1196" y="538"/>
                    </a:lnTo>
                    <a:lnTo>
                      <a:pt x="1198" y="541"/>
                    </a:lnTo>
                    <a:lnTo>
                      <a:pt x="1200" y="544"/>
                    </a:lnTo>
                    <a:lnTo>
                      <a:pt x="1203" y="545"/>
                    </a:lnTo>
                    <a:lnTo>
                      <a:pt x="1203" y="545"/>
                    </a:lnTo>
                    <a:lnTo>
                      <a:pt x="1205" y="549"/>
                    </a:lnTo>
                    <a:lnTo>
                      <a:pt x="1205" y="549"/>
                    </a:lnTo>
                    <a:lnTo>
                      <a:pt x="1205" y="551"/>
                    </a:lnTo>
                    <a:lnTo>
                      <a:pt x="1206" y="552"/>
                    </a:lnTo>
                    <a:lnTo>
                      <a:pt x="1209" y="554"/>
                    </a:lnTo>
                    <a:lnTo>
                      <a:pt x="1210" y="554"/>
                    </a:lnTo>
                    <a:lnTo>
                      <a:pt x="1209" y="554"/>
                    </a:lnTo>
                    <a:lnTo>
                      <a:pt x="1209" y="554"/>
                    </a:lnTo>
                    <a:lnTo>
                      <a:pt x="1206" y="554"/>
                    </a:lnTo>
                    <a:lnTo>
                      <a:pt x="1205" y="554"/>
                    </a:lnTo>
                    <a:lnTo>
                      <a:pt x="1205" y="559"/>
                    </a:lnTo>
                    <a:lnTo>
                      <a:pt x="1203" y="560"/>
                    </a:lnTo>
                    <a:lnTo>
                      <a:pt x="1200" y="559"/>
                    </a:lnTo>
                    <a:lnTo>
                      <a:pt x="1197" y="558"/>
                    </a:lnTo>
                    <a:lnTo>
                      <a:pt x="1195" y="556"/>
                    </a:lnTo>
                    <a:lnTo>
                      <a:pt x="1192" y="554"/>
                    </a:lnTo>
                    <a:lnTo>
                      <a:pt x="1192" y="552"/>
                    </a:lnTo>
                    <a:lnTo>
                      <a:pt x="1189" y="552"/>
                    </a:lnTo>
                    <a:lnTo>
                      <a:pt x="1189" y="552"/>
                    </a:lnTo>
                    <a:lnTo>
                      <a:pt x="1188" y="552"/>
                    </a:lnTo>
                    <a:lnTo>
                      <a:pt x="1187" y="549"/>
                    </a:lnTo>
                    <a:lnTo>
                      <a:pt x="1184" y="547"/>
                    </a:lnTo>
                    <a:lnTo>
                      <a:pt x="1181" y="547"/>
                    </a:lnTo>
                    <a:lnTo>
                      <a:pt x="1185" y="550"/>
                    </a:lnTo>
                    <a:lnTo>
                      <a:pt x="1186" y="552"/>
                    </a:lnTo>
                    <a:lnTo>
                      <a:pt x="1186" y="553"/>
                    </a:lnTo>
                    <a:lnTo>
                      <a:pt x="1187" y="555"/>
                    </a:lnTo>
                    <a:lnTo>
                      <a:pt x="1187" y="559"/>
                    </a:lnTo>
                    <a:lnTo>
                      <a:pt x="1185" y="561"/>
                    </a:lnTo>
                    <a:lnTo>
                      <a:pt x="1184" y="563"/>
                    </a:lnTo>
                    <a:lnTo>
                      <a:pt x="1181" y="567"/>
                    </a:lnTo>
                    <a:lnTo>
                      <a:pt x="1181" y="569"/>
                    </a:lnTo>
                    <a:lnTo>
                      <a:pt x="1181" y="577"/>
                    </a:lnTo>
                    <a:lnTo>
                      <a:pt x="1180" y="580"/>
                    </a:lnTo>
                    <a:lnTo>
                      <a:pt x="1177" y="581"/>
                    </a:lnTo>
                    <a:lnTo>
                      <a:pt x="1175" y="584"/>
                    </a:lnTo>
                    <a:lnTo>
                      <a:pt x="1172" y="585"/>
                    </a:lnTo>
                    <a:lnTo>
                      <a:pt x="1171" y="584"/>
                    </a:lnTo>
                    <a:lnTo>
                      <a:pt x="1171" y="581"/>
                    </a:lnTo>
                    <a:lnTo>
                      <a:pt x="1170" y="579"/>
                    </a:lnTo>
                    <a:lnTo>
                      <a:pt x="1169" y="573"/>
                    </a:lnTo>
                    <a:lnTo>
                      <a:pt x="1169" y="571"/>
                    </a:lnTo>
                    <a:lnTo>
                      <a:pt x="1167" y="568"/>
                    </a:lnTo>
                    <a:lnTo>
                      <a:pt x="1164" y="568"/>
                    </a:lnTo>
                    <a:lnTo>
                      <a:pt x="1161" y="569"/>
                    </a:lnTo>
                    <a:lnTo>
                      <a:pt x="1159" y="570"/>
                    </a:lnTo>
                    <a:lnTo>
                      <a:pt x="1158" y="572"/>
                    </a:lnTo>
                    <a:lnTo>
                      <a:pt x="1155" y="575"/>
                    </a:lnTo>
                    <a:lnTo>
                      <a:pt x="1152" y="575"/>
                    </a:lnTo>
                    <a:close/>
                    <a:moveTo>
                      <a:pt x="1218" y="589"/>
                    </a:moveTo>
                    <a:lnTo>
                      <a:pt x="1215" y="593"/>
                    </a:lnTo>
                    <a:lnTo>
                      <a:pt x="1213" y="594"/>
                    </a:lnTo>
                    <a:lnTo>
                      <a:pt x="1210" y="596"/>
                    </a:lnTo>
                    <a:lnTo>
                      <a:pt x="1209" y="597"/>
                    </a:lnTo>
                    <a:lnTo>
                      <a:pt x="1205" y="598"/>
                    </a:lnTo>
                    <a:lnTo>
                      <a:pt x="1205" y="598"/>
                    </a:lnTo>
                    <a:lnTo>
                      <a:pt x="1204" y="600"/>
                    </a:lnTo>
                    <a:lnTo>
                      <a:pt x="1201" y="601"/>
                    </a:lnTo>
                    <a:lnTo>
                      <a:pt x="1198" y="602"/>
                    </a:lnTo>
                    <a:lnTo>
                      <a:pt x="1198" y="602"/>
                    </a:lnTo>
                    <a:lnTo>
                      <a:pt x="1193" y="604"/>
                    </a:lnTo>
                    <a:lnTo>
                      <a:pt x="1191" y="605"/>
                    </a:lnTo>
                    <a:lnTo>
                      <a:pt x="1187" y="606"/>
                    </a:lnTo>
                    <a:lnTo>
                      <a:pt x="1185" y="607"/>
                    </a:lnTo>
                    <a:lnTo>
                      <a:pt x="1181" y="610"/>
                    </a:lnTo>
                    <a:lnTo>
                      <a:pt x="1177" y="610"/>
                    </a:lnTo>
                    <a:lnTo>
                      <a:pt x="1174" y="611"/>
                    </a:lnTo>
                    <a:lnTo>
                      <a:pt x="1171" y="611"/>
                    </a:lnTo>
                    <a:lnTo>
                      <a:pt x="1168" y="610"/>
                    </a:lnTo>
                    <a:lnTo>
                      <a:pt x="1166" y="611"/>
                    </a:lnTo>
                    <a:lnTo>
                      <a:pt x="1168" y="610"/>
                    </a:lnTo>
                    <a:lnTo>
                      <a:pt x="1166" y="610"/>
                    </a:lnTo>
                    <a:lnTo>
                      <a:pt x="1160" y="606"/>
                    </a:lnTo>
                    <a:lnTo>
                      <a:pt x="1158" y="606"/>
                    </a:lnTo>
                    <a:lnTo>
                      <a:pt x="1158" y="606"/>
                    </a:lnTo>
                    <a:lnTo>
                      <a:pt x="1160" y="603"/>
                    </a:lnTo>
                    <a:lnTo>
                      <a:pt x="1161" y="601"/>
                    </a:lnTo>
                    <a:lnTo>
                      <a:pt x="1162" y="597"/>
                    </a:lnTo>
                    <a:lnTo>
                      <a:pt x="1163" y="596"/>
                    </a:lnTo>
                    <a:lnTo>
                      <a:pt x="1166" y="594"/>
                    </a:lnTo>
                    <a:lnTo>
                      <a:pt x="1167" y="592"/>
                    </a:lnTo>
                    <a:lnTo>
                      <a:pt x="1169" y="592"/>
                    </a:lnTo>
                    <a:lnTo>
                      <a:pt x="1169" y="593"/>
                    </a:lnTo>
                    <a:lnTo>
                      <a:pt x="1170" y="593"/>
                    </a:lnTo>
                    <a:lnTo>
                      <a:pt x="1172" y="596"/>
                    </a:lnTo>
                    <a:lnTo>
                      <a:pt x="1169" y="596"/>
                    </a:lnTo>
                    <a:lnTo>
                      <a:pt x="1167" y="596"/>
                    </a:lnTo>
                    <a:lnTo>
                      <a:pt x="1163" y="596"/>
                    </a:lnTo>
                    <a:lnTo>
                      <a:pt x="1163" y="596"/>
                    </a:lnTo>
                    <a:lnTo>
                      <a:pt x="1162" y="600"/>
                    </a:lnTo>
                    <a:lnTo>
                      <a:pt x="1166" y="602"/>
                    </a:lnTo>
                    <a:lnTo>
                      <a:pt x="1168" y="601"/>
                    </a:lnTo>
                    <a:lnTo>
                      <a:pt x="1170" y="602"/>
                    </a:lnTo>
                    <a:lnTo>
                      <a:pt x="1172" y="600"/>
                    </a:lnTo>
                    <a:lnTo>
                      <a:pt x="1175" y="598"/>
                    </a:lnTo>
                    <a:lnTo>
                      <a:pt x="1178" y="597"/>
                    </a:lnTo>
                    <a:lnTo>
                      <a:pt x="1180" y="595"/>
                    </a:lnTo>
                    <a:lnTo>
                      <a:pt x="1183" y="593"/>
                    </a:lnTo>
                    <a:lnTo>
                      <a:pt x="1186" y="592"/>
                    </a:lnTo>
                    <a:lnTo>
                      <a:pt x="1188" y="590"/>
                    </a:lnTo>
                    <a:lnTo>
                      <a:pt x="1191" y="590"/>
                    </a:lnTo>
                    <a:lnTo>
                      <a:pt x="1194" y="590"/>
                    </a:lnTo>
                    <a:lnTo>
                      <a:pt x="1196" y="592"/>
                    </a:lnTo>
                    <a:lnTo>
                      <a:pt x="1200" y="592"/>
                    </a:lnTo>
                    <a:lnTo>
                      <a:pt x="1202" y="593"/>
                    </a:lnTo>
                    <a:lnTo>
                      <a:pt x="1200" y="592"/>
                    </a:lnTo>
                    <a:lnTo>
                      <a:pt x="1202" y="589"/>
                    </a:lnTo>
                    <a:lnTo>
                      <a:pt x="1204" y="588"/>
                    </a:lnTo>
                    <a:lnTo>
                      <a:pt x="1205" y="588"/>
                    </a:lnTo>
                    <a:lnTo>
                      <a:pt x="1207" y="588"/>
                    </a:lnTo>
                    <a:lnTo>
                      <a:pt x="1211" y="587"/>
                    </a:lnTo>
                    <a:lnTo>
                      <a:pt x="1211" y="587"/>
                    </a:lnTo>
                    <a:lnTo>
                      <a:pt x="1213" y="587"/>
                    </a:lnTo>
                    <a:lnTo>
                      <a:pt x="1215" y="587"/>
                    </a:lnTo>
                    <a:lnTo>
                      <a:pt x="1218" y="587"/>
                    </a:lnTo>
                    <a:lnTo>
                      <a:pt x="1220" y="586"/>
                    </a:lnTo>
                    <a:lnTo>
                      <a:pt x="1218" y="584"/>
                    </a:lnTo>
                    <a:lnTo>
                      <a:pt x="1218" y="584"/>
                    </a:lnTo>
                    <a:lnTo>
                      <a:pt x="1220" y="585"/>
                    </a:lnTo>
                    <a:lnTo>
                      <a:pt x="1220" y="587"/>
                    </a:lnTo>
                    <a:lnTo>
                      <a:pt x="1218" y="589"/>
                    </a:lnTo>
                    <a:close/>
                    <a:moveTo>
                      <a:pt x="1261" y="563"/>
                    </a:moveTo>
                    <a:lnTo>
                      <a:pt x="1255" y="567"/>
                    </a:lnTo>
                    <a:lnTo>
                      <a:pt x="1256" y="569"/>
                    </a:lnTo>
                    <a:lnTo>
                      <a:pt x="1258" y="568"/>
                    </a:lnTo>
                    <a:lnTo>
                      <a:pt x="1260" y="568"/>
                    </a:lnTo>
                    <a:lnTo>
                      <a:pt x="1256" y="570"/>
                    </a:lnTo>
                    <a:lnTo>
                      <a:pt x="1257" y="573"/>
                    </a:lnTo>
                    <a:lnTo>
                      <a:pt x="1256" y="576"/>
                    </a:lnTo>
                    <a:lnTo>
                      <a:pt x="1254" y="576"/>
                    </a:lnTo>
                    <a:lnTo>
                      <a:pt x="1253" y="577"/>
                    </a:lnTo>
                    <a:lnTo>
                      <a:pt x="1251" y="579"/>
                    </a:lnTo>
                    <a:lnTo>
                      <a:pt x="1247" y="580"/>
                    </a:lnTo>
                    <a:lnTo>
                      <a:pt x="1245" y="580"/>
                    </a:lnTo>
                    <a:lnTo>
                      <a:pt x="1243" y="580"/>
                    </a:lnTo>
                    <a:lnTo>
                      <a:pt x="1239" y="580"/>
                    </a:lnTo>
                    <a:lnTo>
                      <a:pt x="1237" y="580"/>
                    </a:lnTo>
                    <a:lnTo>
                      <a:pt x="1231" y="579"/>
                    </a:lnTo>
                    <a:lnTo>
                      <a:pt x="1226" y="579"/>
                    </a:lnTo>
                    <a:lnTo>
                      <a:pt x="1223" y="579"/>
                    </a:lnTo>
                    <a:lnTo>
                      <a:pt x="1220" y="580"/>
                    </a:lnTo>
                    <a:lnTo>
                      <a:pt x="1218" y="580"/>
                    </a:lnTo>
                    <a:lnTo>
                      <a:pt x="1215" y="581"/>
                    </a:lnTo>
                    <a:lnTo>
                      <a:pt x="1212" y="581"/>
                    </a:lnTo>
                    <a:lnTo>
                      <a:pt x="1210" y="581"/>
                    </a:lnTo>
                    <a:lnTo>
                      <a:pt x="1210" y="578"/>
                    </a:lnTo>
                    <a:lnTo>
                      <a:pt x="1211" y="576"/>
                    </a:lnTo>
                    <a:lnTo>
                      <a:pt x="1219" y="571"/>
                    </a:lnTo>
                    <a:lnTo>
                      <a:pt x="1221" y="570"/>
                    </a:lnTo>
                    <a:lnTo>
                      <a:pt x="1224" y="570"/>
                    </a:lnTo>
                    <a:lnTo>
                      <a:pt x="1227" y="570"/>
                    </a:lnTo>
                    <a:lnTo>
                      <a:pt x="1229" y="569"/>
                    </a:lnTo>
                    <a:lnTo>
                      <a:pt x="1232" y="569"/>
                    </a:lnTo>
                    <a:lnTo>
                      <a:pt x="1235" y="568"/>
                    </a:lnTo>
                    <a:lnTo>
                      <a:pt x="1238" y="568"/>
                    </a:lnTo>
                    <a:lnTo>
                      <a:pt x="1240" y="569"/>
                    </a:lnTo>
                    <a:lnTo>
                      <a:pt x="1243" y="570"/>
                    </a:lnTo>
                    <a:lnTo>
                      <a:pt x="1246" y="570"/>
                    </a:lnTo>
                    <a:lnTo>
                      <a:pt x="1247" y="568"/>
                    </a:lnTo>
                    <a:lnTo>
                      <a:pt x="1245" y="568"/>
                    </a:lnTo>
                    <a:lnTo>
                      <a:pt x="1243" y="567"/>
                    </a:lnTo>
                    <a:lnTo>
                      <a:pt x="1238" y="567"/>
                    </a:lnTo>
                    <a:lnTo>
                      <a:pt x="1241" y="566"/>
                    </a:lnTo>
                    <a:lnTo>
                      <a:pt x="1246" y="566"/>
                    </a:lnTo>
                    <a:lnTo>
                      <a:pt x="1249" y="566"/>
                    </a:lnTo>
                    <a:lnTo>
                      <a:pt x="1252" y="564"/>
                    </a:lnTo>
                    <a:lnTo>
                      <a:pt x="1255" y="563"/>
                    </a:lnTo>
                    <a:lnTo>
                      <a:pt x="1257" y="563"/>
                    </a:lnTo>
                    <a:lnTo>
                      <a:pt x="1260" y="562"/>
                    </a:lnTo>
                    <a:lnTo>
                      <a:pt x="1263" y="560"/>
                    </a:lnTo>
                    <a:lnTo>
                      <a:pt x="1263" y="560"/>
                    </a:lnTo>
                    <a:lnTo>
                      <a:pt x="1261" y="5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4" name="Freeform 220">
                <a:extLst>
                  <a:ext uri="{FF2B5EF4-FFF2-40B4-BE49-F238E27FC236}">
                    <a16:creationId xmlns:a16="http://schemas.microsoft.com/office/drawing/2014/main" id="{60F7C5E6-24BE-59FE-392A-85A8B383AB8A}"/>
                  </a:ext>
                </a:extLst>
              </p:cNvPr>
              <p:cNvSpPr>
                <a:spLocks noEditPoints="1"/>
              </p:cNvSpPr>
              <p:nvPr/>
            </p:nvSpPr>
            <p:spPr bwMode="auto">
              <a:xfrm>
                <a:off x="3746500" y="2101850"/>
                <a:ext cx="4141787" cy="160338"/>
              </a:xfrm>
              <a:custGeom>
                <a:avLst/>
                <a:gdLst>
                  <a:gd name="T0" fmla="*/ 103 w 2609"/>
                  <a:gd name="T1" fmla="*/ 28 h 101"/>
                  <a:gd name="T2" fmla="*/ 111 w 2609"/>
                  <a:gd name="T3" fmla="*/ 41 h 101"/>
                  <a:gd name="T4" fmla="*/ 110 w 2609"/>
                  <a:gd name="T5" fmla="*/ 32 h 101"/>
                  <a:gd name="T6" fmla="*/ 125 w 2609"/>
                  <a:gd name="T7" fmla="*/ 36 h 101"/>
                  <a:gd name="T8" fmla="*/ 128 w 2609"/>
                  <a:gd name="T9" fmla="*/ 42 h 101"/>
                  <a:gd name="T10" fmla="*/ 134 w 2609"/>
                  <a:gd name="T11" fmla="*/ 49 h 101"/>
                  <a:gd name="T12" fmla="*/ 133 w 2609"/>
                  <a:gd name="T13" fmla="*/ 57 h 101"/>
                  <a:gd name="T14" fmla="*/ 147 w 2609"/>
                  <a:gd name="T15" fmla="*/ 61 h 101"/>
                  <a:gd name="T16" fmla="*/ 160 w 2609"/>
                  <a:gd name="T17" fmla="*/ 64 h 101"/>
                  <a:gd name="T18" fmla="*/ 143 w 2609"/>
                  <a:gd name="T19" fmla="*/ 72 h 101"/>
                  <a:gd name="T20" fmla="*/ 132 w 2609"/>
                  <a:gd name="T21" fmla="*/ 79 h 101"/>
                  <a:gd name="T22" fmla="*/ 120 w 2609"/>
                  <a:gd name="T23" fmla="*/ 78 h 101"/>
                  <a:gd name="T24" fmla="*/ 117 w 2609"/>
                  <a:gd name="T25" fmla="*/ 83 h 101"/>
                  <a:gd name="T26" fmla="*/ 113 w 2609"/>
                  <a:gd name="T27" fmla="*/ 87 h 101"/>
                  <a:gd name="T28" fmla="*/ 105 w 2609"/>
                  <a:gd name="T29" fmla="*/ 100 h 101"/>
                  <a:gd name="T30" fmla="*/ 93 w 2609"/>
                  <a:gd name="T31" fmla="*/ 93 h 101"/>
                  <a:gd name="T32" fmla="*/ 88 w 2609"/>
                  <a:gd name="T33" fmla="*/ 95 h 101"/>
                  <a:gd name="T34" fmla="*/ 85 w 2609"/>
                  <a:gd name="T35" fmla="*/ 101 h 101"/>
                  <a:gd name="T36" fmla="*/ 66 w 2609"/>
                  <a:gd name="T37" fmla="*/ 98 h 101"/>
                  <a:gd name="T38" fmla="*/ 53 w 2609"/>
                  <a:gd name="T39" fmla="*/ 91 h 101"/>
                  <a:gd name="T40" fmla="*/ 70 w 2609"/>
                  <a:gd name="T41" fmla="*/ 88 h 101"/>
                  <a:gd name="T42" fmla="*/ 53 w 2609"/>
                  <a:gd name="T43" fmla="*/ 86 h 101"/>
                  <a:gd name="T44" fmla="*/ 45 w 2609"/>
                  <a:gd name="T45" fmla="*/ 83 h 101"/>
                  <a:gd name="T46" fmla="*/ 39 w 2609"/>
                  <a:gd name="T47" fmla="*/ 80 h 101"/>
                  <a:gd name="T48" fmla="*/ 46 w 2609"/>
                  <a:gd name="T49" fmla="*/ 70 h 101"/>
                  <a:gd name="T50" fmla="*/ 63 w 2609"/>
                  <a:gd name="T51" fmla="*/ 70 h 101"/>
                  <a:gd name="T52" fmla="*/ 79 w 2609"/>
                  <a:gd name="T53" fmla="*/ 69 h 101"/>
                  <a:gd name="T54" fmla="*/ 71 w 2609"/>
                  <a:gd name="T55" fmla="*/ 68 h 101"/>
                  <a:gd name="T56" fmla="*/ 59 w 2609"/>
                  <a:gd name="T57" fmla="*/ 66 h 101"/>
                  <a:gd name="T58" fmla="*/ 76 w 2609"/>
                  <a:gd name="T59" fmla="*/ 63 h 101"/>
                  <a:gd name="T60" fmla="*/ 58 w 2609"/>
                  <a:gd name="T61" fmla="*/ 62 h 101"/>
                  <a:gd name="T62" fmla="*/ 49 w 2609"/>
                  <a:gd name="T63" fmla="*/ 64 h 101"/>
                  <a:gd name="T64" fmla="*/ 36 w 2609"/>
                  <a:gd name="T65" fmla="*/ 66 h 101"/>
                  <a:gd name="T66" fmla="*/ 23 w 2609"/>
                  <a:gd name="T67" fmla="*/ 67 h 101"/>
                  <a:gd name="T68" fmla="*/ 17 w 2609"/>
                  <a:gd name="T69" fmla="*/ 58 h 101"/>
                  <a:gd name="T70" fmla="*/ 30 w 2609"/>
                  <a:gd name="T71" fmla="*/ 52 h 101"/>
                  <a:gd name="T72" fmla="*/ 13 w 2609"/>
                  <a:gd name="T73" fmla="*/ 55 h 101"/>
                  <a:gd name="T74" fmla="*/ 4 w 2609"/>
                  <a:gd name="T75" fmla="*/ 46 h 101"/>
                  <a:gd name="T76" fmla="*/ 6 w 2609"/>
                  <a:gd name="T77" fmla="*/ 41 h 101"/>
                  <a:gd name="T78" fmla="*/ 23 w 2609"/>
                  <a:gd name="T79" fmla="*/ 43 h 101"/>
                  <a:gd name="T80" fmla="*/ 29 w 2609"/>
                  <a:gd name="T81" fmla="*/ 40 h 101"/>
                  <a:gd name="T82" fmla="*/ 23 w 2609"/>
                  <a:gd name="T83" fmla="*/ 40 h 101"/>
                  <a:gd name="T84" fmla="*/ 17 w 2609"/>
                  <a:gd name="T85" fmla="*/ 37 h 101"/>
                  <a:gd name="T86" fmla="*/ 0 w 2609"/>
                  <a:gd name="T87" fmla="*/ 34 h 101"/>
                  <a:gd name="T88" fmla="*/ 17 w 2609"/>
                  <a:gd name="T89" fmla="*/ 33 h 101"/>
                  <a:gd name="T90" fmla="*/ 19 w 2609"/>
                  <a:gd name="T91" fmla="*/ 26 h 101"/>
                  <a:gd name="T92" fmla="*/ 38 w 2609"/>
                  <a:gd name="T93" fmla="*/ 26 h 101"/>
                  <a:gd name="T94" fmla="*/ 37 w 2609"/>
                  <a:gd name="T95" fmla="*/ 21 h 101"/>
                  <a:gd name="T96" fmla="*/ 21 w 2609"/>
                  <a:gd name="T97" fmla="*/ 19 h 101"/>
                  <a:gd name="T98" fmla="*/ 31 w 2609"/>
                  <a:gd name="T99" fmla="*/ 14 h 101"/>
                  <a:gd name="T100" fmla="*/ 41 w 2609"/>
                  <a:gd name="T101" fmla="*/ 9 h 101"/>
                  <a:gd name="T102" fmla="*/ 43 w 2609"/>
                  <a:gd name="T103" fmla="*/ 6 h 101"/>
                  <a:gd name="T104" fmla="*/ 36 w 2609"/>
                  <a:gd name="T105" fmla="*/ 1 h 101"/>
                  <a:gd name="T106" fmla="*/ 56 w 2609"/>
                  <a:gd name="T107" fmla="*/ 3 h 101"/>
                  <a:gd name="T108" fmla="*/ 71 w 2609"/>
                  <a:gd name="T109" fmla="*/ 14 h 101"/>
                  <a:gd name="T110" fmla="*/ 83 w 2609"/>
                  <a:gd name="T111" fmla="*/ 26 h 101"/>
                  <a:gd name="T112" fmla="*/ 2573 w 2609"/>
                  <a:gd name="T113" fmla="*/ 43 h 101"/>
                  <a:gd name="T114" fmla="*/ 2584 w 2609"/>
                  <a:gd name="T115" fmla="*/ 43 h 101"/>
                  <a:gd name="T116" fmla="*/ 2601 w 2609"/>
                  <a:gd name="T117" fmla="*/ 44 h 101"/>
                  <a:gd name="T118" fmla="*/ 2601 w 2609"/>
                  <a:gd name="T119" fmla="*/ 52 h 101"/>
                  <a:gd name="T120" fmla="*/ 2583 w 2609"/>
                  <a:gd name="T121" fmla="*/ 53 h 101"/>
                  <a:gd name="T122" fmla="*/ 2577 w 2609"/>
                  <a:gd name="T123"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09" h="101">
                    <a:moveTo>
                      <a:pt x="92" y="27"/>
                    </a:moveTo>
                    <a:lnTo>
                      <a:pt x="92" y="27"/>
                    </a:lnTo>
                    <a:lnTo>
                      <a:pt x="96" y="27"/>
                    </a:lnTo>
                    <a:lnTo>
                      <a:pt x="98" y="27"/>
                    </a:lnTo>
                    <a:lnTo>
                      <a:pt x="101" y="27"/>
                    </a:lnTo>
                    <a:lnTo>
                      <a:pt x="103" y="28"/>
                    </a:lnTo>
                    <a:lnTo>
                      <a:pt x="102" y="32"/>
                    </a:lnTo>
                    <a:lnTo>
                      <a:pt x="103" y="34"/>
                    </a:lnTo>
                    <a:lnTo>
                      <a:pt x="103" y="37"/>
                    </a:lnTo>
                    <a:lnTo>
                      <a:pt x="106" y="38"/>
                    </a:lnTo>
                    <a:lnTo>
                      <a:pt x="109" y="40"/>
                    </a:lnTo>
                    <a:lnTo>
                      <a:pt x="111" y="41"/>
                    </a:lnTo>
                    <a:lnTo>
                      <a:pt x="115" y="40"/>
                    </a:lnTo>
                    <a:lnTo>
                      <a:pt x="117" y="41"/>
                    </a:lnTo>
                    <a:lnTo>
                      <a:pt x="116" y="38"/>
                    </a:lnTo>
                    <a:lnTo>
                      <a:pt x="113" y="37"/>
                    </a:lnTo>
                    <a:lnTo>
                      <a:pt x="110" y="35"/>
                    </a:lnTo>
                    <a:lnTo>
                      <a:pt x="110" y="32"/>
                    </a:lnTo>
                    <a:lnTo>
                      <a:pt x="114" y="31"/>
                    </a:lnTo>
                    <a:lnTo>
                      <a:pt x="116" y="31"/>
                    </a:lnTo>
                    <a:lnTo>
                      <a:pt x="119" y="31"/>
                    </a:lnTo>
                    <a:lnTo>
                      <a:pt x="122" y="32"/>
                    </a:lnTo>
                    <a:lnTo>
                      <a:pt x="125" y="33"/>
                    </a:lnTo>
                    <a:lnTo>
                      <a:pt x="125" y="36"/>
                    </a:lnTo>
                    <a:lnTo>
                      <a:pt x="125" y="38"/>
                    </a:lnTo>
                    <a:lnTo>
                      <a:pt x="123" y="40"/>
                    </a:lnTo>
                    <a:lnTo>
                      <a:pt x="119" y="41"/>
                    </a:lnTo>
                    <a:lnTo>
                      <a:pt x="123" y="42"/>
                    </a:lnTo>
                    <a:lnTo>
                      <a:pt x="125" y="42"/>
                    </a:lnTo>
                    <a:lnTo>
                      <a:pt x="128" y="42"/>
                    </a:lnTo>
                    <a:lnTo>
                      <a:pt x="131" y="44"/>
                    </a:lnTo>
                    <a:lnTo>
                      <a:pt x="133" y="46"/>
                    </a:lnTo>
                    <a:lnTo>
                      <a:pt x="131" y="46"/>
                    </a:lnTo>
                    <a:lnTo>
                      <a:pt x="127" y="50"/>
                    </a:lnTo>
                    <a:lnTo>
                      <a:pt x="131" y="49"/>
                    </a:lnTo>
                    <a:lnTo>
                      <a:pt x="134" y="49"/>
                    </a:lnTo>
                    <a:lnTo>
                      <a:pt x="132" y="51"/>
                    </a:lnTo>
                    <a:lnTo>
                      <a:pt x="132" y="53"/>
                    </a:lnTo>
                    <a:lnTo>
                      <a:pt x="130" y="57"/>
                    </a:lnTo>
                    <a:lnTo>
                      <a:pt x="127" y="59"/>
                    </a:lnTo>
                    <a:lnTo>
                      <a:pt x="131" y="59"/>
                    </a:lnTo>
                    <a:lnTo>
                      <a:pt x="133" y="57"/>
                    </a:lnTo>
                    <a:lnTo>
                      <a:pt x="136" y="57"/>
                    </a:lnTo>
                    <a:lnTo>
                      <a:pt x="139" y="55"/>
                    </a:lnTo>
                    <a:lnTo>
                      <a:pt x="142" y="55"/>
                    </a:lnTo>
                    <a:lnTo>
                      <a:pt x="144" y="57"/>
                    </a:lnTo>
                    <a:lnTo>
                      <a:pt x="145" y="59"/>
                    </a:lnTo>
                    <a:lnTo>
                      <a:pt x="147" y="61"/>
                    </a:lnTo>
                    <a:lnTo>
                      <a:pt x="149" y="59"/>
                    </a:lnTo>
                    <a:lnTo>
                      <a:pt x="150" y="57"/>
                    </a:lnTo>
                    <a:lnTo>
                      <a:pt x="153" y="58"/>
                    </a:lnTo>
                    <a:lnTo>
                      <a:pt x="154" y="60"/>
                    </a:lnTo>
                    <a:lnTo>
                      <a:pt x="158" y="63"/>
                    </a:lnTo>
                    <a:lnTo>
                      <a:pt x="160" y="64"/>
                    </a:lnTo>
                    <a:lnTo>
                      <a:pt x="161" y="67"/>
                    </a:lnTo>
                    <a:lnTo>
                      <a:pt x="158" y="68"/>
                    </a:lnTo>
                    <a:lnTo>
                      <a:pt x="156" y="69"/>
                    </a:lnTo>
                    <a:lnTo>
                      <a:pt x="152" y="70"/>
                    </a:lnTo>
                    <a:lnTo>
                      <a:pt x="150" y="71"/>
                    </a:lnTo>
                    <a:lnTo>
                      <a:pt x="143" y="72"/>
                    </a:lnTo>
                    <a:lnTo>
                      <a:pt x="141" y="74"/>
                    </a:lnTo>
                    <a:lnTo>
                      <a:pt x="139" y="76"/>
                    </a:lnTo>
                    <a:lnTo>
                      <a:pt x="136" y="76"/>
                    </a:lnTo>
                    <a:lnTo>
                      <a:pt x="133" y="74"/>
                    </a:lnTo>
                    <a:lnTo>
                      <a:pt x="134" y="77"/>
                    </a:lnTo>
                    <a:lnTo>
                      <a:pt x="132" y="79"/>
                    </a:lnTo>
                    <a:lnTo>
                      <a:pt x="128" y="81"/>
                    </a:lnTo>
                    <a:lnTo>
                      <a:pt x="126" y="84"/>
                    </a:lnTo>
                    <a:lnTo>
                      <a:pt x="124" y="86"/>
                    </a:lnTo>
                    <a:lnTo>
                      <a:pt x="122" y="84"/>
                    </a:lnTo>
                    <a:lnTo>
                      <a:pt x="119" y="81"/>
                    </a:lnTo>
                    <a:lnTo>
                      <a:pt x="120" y="78"/>
                    </a:lnTo>
                    <a:lnTo>
                      <a:pt x="120" y="76"/>
                    </a:lnTo>
                    <a:lnTo>
                      <a:pt x="123" y="74"/>
                    </a:lnTo>
                    <a:lnTo>
                      <a:pt x="119" y="75"/>
                    </a:lnTo>
                    <a:lnTo>
                      <a:pt x="117" y="77"/>
                    </a:lnTo>
                    <a:lnTo>
                      <a:pt x="116" y="80"/>
                    </a:lnTo>
                    <a:lnTo>
                      <a:pt x="117" y="83"/>
                    </a:lnTo>
                    <a:lnTo>
                      <a:pt x="117" y="85"/>
                    </a:lnTo>
                    <a:lnTo>
                      <a:pt x="120" y="86"/>
                    </a:lnTo>
                    <a:lnTo>
                      <a:pt x="120" y="89"/>
                    </a:lnTo>
                    <a:lnTo>
                      <a:pt x="118" y="91"/>
                    </a:lnTo>
                    <a:lnTo>
                      <a:pt x="115" y="91"/>
                    </a:lnTo>
                    <a:lnTo>
                      <a:pt x="113" y="87"/>
                    </a:lnTo>
                    <a:lnTo>
                      <a:pt x="109" y="89"/>
                    </a:lnTo>
                    <a:lnTo>
                      <a:pt x="113" y="92"/>
                    </a:lnTo>
                    <a:lnTo>
                      <a:pt x="111" y="95"/>
                    </a:lnTo>
                    <a:lnTo>
                      <a:pt x="110" y="97"/>
                    </a:lnTo>
                    <a:lnTo>
                      <a:pt x="108" y="101"/>
                    </a:lnTo>
                    <a:lnTo>
                      <a:pt x="105" y="100"/>
                    </a:lnTo>
                    <a:lnTo>
                      <a:pt x="100" y="94"/>
                    </a:lnTo>
                    <a:lnTo>
                      <a:pt x="97" y="92"/>
                    </a:lnTo>
                    <a:lnTo>
                      <a:pt x="92" y="87"/>
                    </a:lnTo>
                    <a:lnTo>
                      <a:pt x="91" y="88"/>
                    </a:lnTo>
                    <a:lnTo>
                      <a:pt x="92" y="91"/>
                    </a:lnTo>
                    <a:lnTo>
                      <a:pt x="93" y="93"/>
                    </a:lnTo>
                    <a:lnTo>
                      <a:pt x="97" y="95"/>
                    </a:lnTo>
                    <a:lnTo>
                      <a:pt x="98" y="97"/>
                    </a:lnTo>
                    <a:lnTo>
                      <a:pt x="98" y="101"/>
                    </a:lnTo>
                    <a:lnTo>
                      <a:pt x="92" y="96"/>
                    </a:lnTo>
                    <a:lnTo>
                      <a:pt x="90" y="95"/>
                    </a:lnTo>
                    <a:lnTo>
                      <a:pt x="88" y="95"/>
                    </a:lnTo>
                    <a:lnTo>
                      <a:pt x="84" y="95"/>
                    </a:lnTo>
                    <a:lnTo>
                      <a:pt x="82" y="95"/>
                    </a:lnTo>
                    <a:lnTo>
                      <a:pt x="84" y="96"/>
                    </a:lnTo>
                    <a:lnTo>
                      <a:pt x="88" y="97"/>
                    </a:lnTo>
                    <a:lnTo>
                      <a:pt x="89" y="100"/>
                    </a:lnTo>
                    <a:lnTo>
                      <a:pt x="85" y="101"/>
                    </a:lnTo>
                    <a:lnTo>
                      <a:pt x="80" y="101"/>
                    </a:lnTo>
                    <a:lnTo>
                      <a:pt x="77" y="100"/>
                    </a:lnTo>
                    <a:lnTo>
                      <a:pt x="74" y="100"/>
                    </a:lnTo>
                    <a:lnTo>
                      <a:pt x="72" y="100"/>
                    </a:lnTo>
                    <a:lnTo>
                      <a:pt x="68" y="98"/>
                    </a:lnTo>
                    <a:lnTo>
                      <a:pt x="66" y="98"/>
                    </a:lnTo>
                    <a:lnTo>
                      <a:pt x="63" y="98"/>
                    </a:lnTo>
                    <a:lnTo>
                      <a:pt x="62" y="95"/>
                    </a:lnTo>
                    <a:lnTo>
                      <a:pt x="59" y="96"/>
                    </a:lnTo>
                    <a:lnTo>
                      <a:pt x="56" y="94"/>
                    </a:lnTo>
                    <a:lnTo>
                      <a:pt x="54" y="93"/>
                    </a:lnTo>
                    <a:lnTo>
                      <a:pt x="53" y="91"/>
                    </a:lnTo>
                    <a:lnTo>
                      <a:pt x="55" y="91"/>
                    </a:lnTo>
                    <a:lnTo>
                      <a:pt x="58" y="89"/>
                    </a:lnTo>
                    <a:lnTo>
                      <a:pt x="62" y="89"/>
                    </a:lnTo>
                    <a:lnTo>
                      <a:pt x="64" y="89"/>
                    </a:lnTo>
                    <a:lnTo>
                      <a:pt x="67" y="88"/>
                    </a:lnTo>
                    <a:lnTo>
                      <a:pt x="70" y="88"/>
                    </a:lnTo>
                    <a:lnTo>
                      <a:pt x="67" y="88"/>
                    </a:lnTo>
                    <a:lnTo>
                      <a:pt x="64" y="87"/>
                    </a:lnTo>
                    <a:lnTo>
                      <a:pt x="62" y="87"/>
                    </a:lnTo>
                    <a:lnTo>
                      <a:pt x="58" y="87"/>
                    </a:lnTo>
                    <a:lnTo>
                      <a:pt x="56" y="87"/>
                    </a:lnTo>
                    <a:lnTo>
                      <a:pt x="53" y="86"/>
                    </a:lnTo>
                    <a:lnTo>
                      <a:pt x="50" y="87"/>
                    </a:lnTo>
                    <a:lnTo>
                      <a:pt x="47" y="87"/>
                    </a:lnTo>
                    <a:lnTo>
                      <a:pt x="46" y="85"/>
                    </a:lnTo>
                    <a:lnTo>
                      <a:pt x="43" y="85"/>
                    </a:lnTo>
                    <a:lnTo>
                      <a:pt x="41" y="81"/>
                    </a:lnTo>
                    <a:lnTo>
                      <a:pt x="45" y="83"/>
                    </a:lnTo>
                    <a:lnTo>
                      <a:pt x="48" y="83"/>
                    </a:lnTo>
                    <a:lnTo>
                      <a:pt x="50" y="83"/>
                    </a:lnTo>
                    <a:lnTo>
                      <a:pt x="48" y="81"/>
                    </a:lnTo>
                    <a:lnTo>
                      <a:pt x="45" y="80"/>
                    </a:lnTo>
                    <a:lnTo>
                      <a:pt x="42" y="80"/>
                    </a:lnTo>
                    <a:lnTo>
                      <a:pt x="39" y="80"/>
                    </a:lnTo>
                    <a:lnTo>
                      <a:pt x="37" y="78"/>
                    </a:lnTo>
                    <a:lnTo>
                      <a:pt x="34" y="75"/>
                    </a:lnTo>
                    <a:lnTo>
                      <a:pt x="37" y="75"/>
                    </a:lnTo>
                    <a:lnTo>
                      <a:pt x="40" y="74"/>
                    </a:lnTo>
                    <a:lnTo>
                      <a:pt x="43" y="74"/>
                    </a:lnTo>
                    <a:lnTo>
                      <a:pt x="46" y="70"/>
                    </a:lnTo>
                    <a:lnTo>
                      <a:pt x="48" y="70"/>
                    </a:lnTo>
                    <a:lnTo>
                      <a:pt x="51" y="70"/>
                    </a:lnTo>
                    <a:lnTo>
                      <a:pt x="54" y="70"/>
                    </a:lnTo>
                    <a:lnTo>
                      <a:pt x="57" y="70"/>
                    </a:lnTo>
                    <a:lnTo>
                      <a:pt x="59" y="70"/>
                    </a:lnTo>
                    <a:lnTo>
                      <a:pt x="63" y="70"/>
                    </a:lnTo>
                    <a:lnTo>
                      <a:pt x="65" y="70"/>
                    </a:lnTo>
                    <a:lnTo>
                      <a:pt x="68" y="70"/>
                    </a:lnTo>
                    <a:lnTo>
                      <a:pt x="71" y="69"/>
                    </a:lnTo>
                    <a:lnTo>
                      <a:pt x="73" y="69"/>
                    </a:lnTo>
                    <a:lnTo>
                      <a:pt x="76" y="69"/>
                    </a:lnTo>
                    <a:lnTo>
                      <a:pt x="79" y="69"/>
                    </a:lnTo>
                    <a:lnTo>
                      <a:pt x="82" y="69"/>
                    </a:lnTo>
                    <a:lnTo>
                      <a:pt x="84" y="68"/>
                    </a:lnTo>
                    <a:lnTo>
                      <a:pt x="82" y="68"/>
                    </a:lnTo>
                    <a:lnTo>
                      <a:pt x="76" y="68"/>
                    </a:lnTo>
                    <a:lnTo>
                      <a:pt x="73" y="68"/>
                    </a:lnTo>
                    <a:lnTo>
                      <a:pt x="71" y="68"/>
                    </a:lnTo>
                    <a:lnTo>
                      <a:pt x="67" y="69"/>
                    </a:lnTo>
                    <a:lnTo>
                      <a:pt x="65" y="69"/>
                    </a:lnTo>
                    <a:lnTo>
                      <a:pt x="62" y="69"/>
                    </a:lnTo>
                    <a:lnTo>
                      <a:pt x="59" y="68"/>
                    </a:lnTo>
                    <a:lnTo>
                      <a:pt x="56" y="66"/>
                    </a:lnTo>
                    <a:lnTo>
                      <a:pt x="59" y="66"/>
                    </a:lnTo>
                    <a:lnTo>
                      <a:pt x="62" y="66"/>
                    </a:lnTo>
                    <a:lnTo>
                      <a:pt x="65" y="66"/>
                    </a:lnTo>
                    <a:lnTo>
                      <a:pt x="67" y="66"/>
                    </a:lnTo>
                    <a:lnTo>
                      <a:pt x="70" y="66"/>
                    </a:lnTo>
                    <a:lnTo>
                      <a:pt x="73" y="64"/>
                    </a:lnTo>
                    <a:lnTo>
                      <a:pt x="76" y="63"/>
                    </a:lnTo>
                    <a:lnTo>
                      <a:pt x="73" y="63"/>
                    </a:lnTo>
                    <a:lnTo>
                      <a:pt x="71" y="63"/>
                    </a:lnTo>
                    <a:lnTo>
                      <a:pt x="67" y="64"/>
                    </a:lnTo>
                    <a:lnTo>
                      <a:pt x="64" y="64"/>
                    </a:lnTo>
                    <a:lnTo>
                      <a:pt x="62" y="64"/>
                    </a:lnTo>
                    <a:lnTo>
                      <a:pt x="58" y="62"/>
                    </a:lnTo>
                    <a:lnTo>
                      <a:pt x="60" y="61"/>
                    </a:lnTo>
                    <a:lnTo>
                      <a:pt x="58" y="61"/>
                    </a:lnTo>
                    <a:lnTo>
                      <a:pt x="55" y="62"/>
                    </a:lnTo>
                    <a:lnTo>
                      <a:pt x="53" y="62"/>
                    </a:lnTo>
                    <a:lnTo>
                      <a:pt x="49" y="61"/>
                    </a:lnTo>
                    <a:lnTo>
                      <a:pt x="49" y="64"/>
                    </a:lnTo>
                    <a:lnTo>
                      <a:pt x="46" y="64"/>
                    </a:lnTo>
                    <a:lnTo>
                      <a:pt x="46" y="61"/>
                    </a:lnTo>
                    <a:lnTo>
                      <a:pt x="45" y="64"/>
                    </a:lnTo>
                    <a:lnTo>
                      <a:pt x="41" y="66"/>
                    </a:lnTo>
                    <a:lnTo>
                      <a:pt x="38" y="67"/>
                    </a:lnTo>
                    <a:lnTo>
                      <a:pt x="36" y="66"/>
                    </a:lnTo>
                    <a:lnTo>
                      <a:pt x="38" y="63"/>
                    </a:lnTo>
                    <a:lnTo>
                      <a:pt x="34" y="63"/>
                    </a:lnTo>
                    <a:lnTo>
                      <a:pt x="32" y="64"/>
                    </a:lnTo>
                    <a:lnTo>
                      <a:pt x="29" y="66"/>
                    </a:lnTo>
                    <a:lnTo>
                      <a:pt x="26" y="66"/>
                    </a:lnTo>
                    <a:lnTo>
                      <a:pt x="23" y="67"/>
                    </a:lnTo>
                    <a:lnTo>
                      <a:pt x="21" y="66"/>
                    </a:lnTo>
                    <a:lnTo>
                      <a:pt x="20" y="62"/>
                    </a:lnTo>
                    <a:lnTo>
                      <a:pt x="17" y="63"/>
                    </a:lnTo>
                    <a:lnTo>
                      <a:pt x="14" y="61"/>
                    </a:lnTo>
                    <a:lnTo>
                      <a:pt x="15" y="58"/>
                    </a:lnTo>
                    <a:lnTo>
                      <a:pt x="17" y="58"/>
                    </a:lnTo>
                    <a:lnTo>
                      <a:pt x="21" y="58"/>
                    </a:lnTo>
                    <a:lnTo>
                      <a:pt x="23" y="57"/>
                    </a:lnTo>
                    <a:lnTo>
                      <a:pt x="26" y="57"/>
                    </a:lnTo>
                    <a:lnTo>
                      <a:pt x="32" y="54"/>
                    </a:lnTo>
                    <a:lnTo>
                      <a:pt x="32" y="52"/>
                    </a:lnTo>
                    <a:lnTo>
                      <a:pt x="30" y="52"/>
                    </a:lnTo>
                    <a:lnTo>
                      <a:pt x="26" y="54"/>
                    </a:lnTo>
                    <a:lnTo>
                      <a:pt x="24" y="54"/>
                    </a:lnTo>
                    <a:lnTo>
                      <a:pt x="21" y="55"/>
                    </a:lnTo>
                    <a:lnTo>
                      <a:pt x="19" y="55"/>
                    </a:lnTo>
                    <a:lnTo>
                      <a:pt x="15" y="55"/>
                    </a:lnTo>
                    <a:lnTo>
                      <a:pt x="13" y="55"/>
                    </a:lnTo>
                    <a:lnTo>
                      <a:pt x="9" y="53"/>
                    </a:lnTo>
                    <a:lnTo>
                      <a:pt x="7" y="52"/>
                    </a:lnTo>
                    <a:lnTo>
                      <a:pt x="5" y="50"/>
                    </a:lnTo>
                    <a:lnTo>
                      <a:pt x="4" y="47"/>
                    </a:lnTo>
                    <a:lnTo>
                      <a:pt x="7" y="46"/>
                    </a:lnTo>
                    <a:lnTo>
                      <a:pt x="4" y="46"/>
                    </a:lnTo>
                    <a:lnTo>
                      <a:pt x="2" y="44"/>
                    </a:lnTo>
                    <a:lnTo>
                      <a:pt x="3" y="43"/>
                    </a:lnTo>
                    <a:lnTo>
                      <a:pt x="0" y="43"/>
                    </a:lnTo>
                    <a:lnTo>
                      <a:pt x="0" y="40"/>
                    </a:lnTo>
                    <a:lnTo>
                      <a:pt x="4" y="40"/>
                    </a:lnTo>
                    <a:lnTo>
                      <a:pt x="6" y="41"/>
                    </a:lnTo>
                    <a:lnTo>
                      <a:pt x="9" y="42"/>
                    </a:lnTo>
                    <a:lnTo>
                      <a:pt x="12" y="43"/>
                    </a:lnTo>
                    <a:lnTo>
                      <a:pt x="15" y="43"/>
                    </a:lnTo>
                    <a:lnTo>
                      <a:pt x="17" y="43"/>
                    </a:lnTo>
                    <a:lnTo>
                      <a:pt x="21" y="43"/>
                    </a:lnTo>
                    <a:lnTo>
                      <a:pt x="23" y="43"/>
                    </a:lnTo>
                    <a:lnTo>
                      <a:pt x="26" y="43"/>
                    </a:lnTo>
                    <a:lnTo>
                      <a:pt x="30" y="44"/>
                    </a:lnTo>
                    <a:lnTo>
                      <a:pt x="31" y="44"/>
                    </a:lnTo>
                    <a:lnTo>
                      <a:pt x="31" y="44"/>
                    </a:lnTo>
                    <a:lnTo>
                      <a:pt x="29" y="43"/>
                    </a:lnTo>
                    <a:lnTo>
                      <a:pt x="29" y="40"/>
                    </a:lnTo>
                    <a:lnTo>
                      <a:pt x="32" y="38"/>
                    </a:lnTo>
                    <a:lnTo>
                      <a:pt x="34" y="38"/>
                    </a:lnTo>
                    <a:lnTo>
                      <a:pt x="31" y="38"/>
                    </a:lnTo>
                    <a:lnTo>
                      <a:pt x="29" y="37"/>
                    </a:lnTo>
                    <a:lnTo>
                      <a:pt x="26" y="40"/>
                    </a:lnTo>
                    <a:lnTo>
                      <a:pt x="23" y="40"/>
                    </a:lnTo>
                    <a:lnTo>
                      <a:pt x="21" y="41"/>
                    </a:lnTo>
                    <a:lnTo>
                      <a:pt x="17" y="41"/>
                    </a:lnTo>
                    <a:lnTo>
                      <a:pt x="15" y="38"/>
                    </a:lnTo>
                    <a:lnTo>
                      <a:pt x="17" y="38"/>
                    </a:lnTo>
                    <a:lnTo>
                      <a:pt x="21" y="36"/>
                    </a:lnTo>
                    <a:lnTo>
                      <a:pt x="17" y="37"/>
                    </a:lnTo>
                    <a:lnTo>
                      <a:pt x="15" y="36"/>
                    </a:lnTo>
                    <a:lnTo>
                      <a:pt x="12" y="38"/>
                    </a:lnTo>
                    <a:lnTo>
                      <a:pt x="9" y="37"/>
                    </a:lnTo>
                    <a:lnTo>
                      <a:pt x="6" y="36"/>
                    </a:lnTo>
                    <a:lnTo>
                      <a:pt x="4" y="34"/>
                    </a:lnTo>
                    <a:lnTo>
                      <a:pt x="0" y="34"/>
                    </a:lnTo>
                    <a:lnTo>
                      <a:pt x="4" y="34"/>
                    </a:lnTo>
                    <a:lnTo>
                      <a:pt x="6" y="33"/>
                    </a:lnTo>
                    <a:lnTo>
                      <a:pt x="9" y="32"/>
                    </a:lnTo>
                    <a:lnTo>
                      <a:pt x="12" y="33"/>
                    </a:lnTo>
                    <a:lnTo>
                      <a:pt x="14" y="33"/>
                    </a:lnTo>
                    <a:lnTo>
                      <a:pt x="17" y="33"/>
                    </a:lnTo>
                    <a:lnTo>
                      <a:pt x="15" y="32"/>
                    </a:lnTo>
                    <a:lnTo>
                      <a:pt x="12" y="31"/>
                    </a:lnTo>
                    <a:lnTo>
                      <a:pt x="9" y="28"/>
                    </a:lnTo>
                    <a:lnTo>
                      <a:pt x="12" y="26"/>
                    </a:lnTo>
                    <a:lnTo>
                      <a:pt x="15" y="26"/>
                    </a:lnTo>
                    <a:lnTo>
                      <a:pt x="19" y="26"/>
                    </a:lnTo>
                    <a:lnTo>
                      <a:pt x="21" y="26"/>
                    </a:lnTo>
                    <a:lnTo>
                      <a:pt x="24" y="25"/>
                    </a:lnTo>
                    <a:lnTo>
                      <a:pt x="26" y="26"/>
                    </a:lnTo>
                    <a:lnTo>
                      <a:pt x="30" y="27"/>
                    </a:lnTo>
                    <a:lnTo>
                      <a:pt x="36" y="27"/>
                    </a:lnTo>
                    <a:lnTo>
                      <a:pt x="38" y="26"/>
                    </a:lnTo>
                    <a:lnTo>
                      <a:pt x="36" y="26"/>
                    </a:lnTo>
                    <a:lnTo>
                      <a:pt x="32" y="25"/>
                    </a:lnTo>
                    <a:lnTo>
                      <a:pt x="30" y="25"/>
                    </a:lnTo>
                    <a:lnTo>
                      <a:pt x="31" y="23"/>
                    </a:lnTo>
                    <a:lnTo>
                      <a:pt x="33" y="23"/>
                    </a:lnTo>
                    <a:lnTo>
                      <a:pt x="37" y="21"/>
                    </a:lnTo>
                    <a:lnTo>
                      <a:pt x="33" y="21"/>
                    </a:lnTo>
                    <a:lnTo>
                      <a:pt x="31" y="21"/>
                    </a:lnTo>
                    <a:lnTo>
                      <a:pt x="30" y="21"/>
                    </a:lnTo>
                    <a:lnTo>
                      <a:pt x="26" y="21"/>
                    </a:lnTo>
                    <a:lnTo>
                      <a:pt x="24" y="18"/>
                    </a:lnTo>
                    <a:lnTo>
                      <a:pt x="21" y="19"/>
                    </a:lnTo>
                    <a:lnTo>
                      <a:pt x="19" y="17"/>
                    </a:lnTo>
                    <a:lnTo>
                      <a:pt x="20" y="15"/>
                    </a:lnTo>
                    <a:lnTo>
                      <a:pt x="22" y="11"/>
                    </a:lnTo>
                    <a:lnTo>
                      <a:pt x="25" y="11"/>
                    </a:lnTo>
                    <a:lnTo>
                      <a:pt x="28" y="11"/>
                    </a:lnTo>
                    <a:lnTo>
                      <a:pt x="31" y="14"/>
                    </a:lnTo>
                    <a:lnTo>
                      <a:pt x="33" y="12"/>
                    </a:lnTo>
                    <a:lnTo>
                      <a:pt x="39" y="11"/>
                    </a:lnTo>
                    <a:lnTo>
                      <a:pt x="36" y="11"/>
                    </a:lnTo>
                    <a:lnTo>
                      <a:pt x="32" y="9"/>
                    </a:lnTo>
                    <a:lnTo>
                      <a:pt x="36" y="9"/>
                    </a:lnTo>
                    <a:lnTo>
                      <a:pt x="41" y="9"/>
                    </a:lnTo>
                    <a:lnTo>
                      <a:pt x="43" y="10"/>
                    </a:lnTo>
                    <a:lnTo>
                      <a:pt x="46" y="10"/>
                    </a:lnTo>
                    <a:lnTo>
                      <a:pt x="49" y="9"/>
                    </a:lnTo>
                    <a:lnTo>
                      <a:pt x="49" y="7"/>
                    </a:lnTo>
                    <a:lnTo>
                      <a:pt x="47" y="6"/>
                    </a:lnTo>
                    <a:lnTo>
                      <a:pt x="43" y="6"/>
                    </a:lnTo>
                    <a:lnTo>
                      <a:pt x="40" y="6"/>
                    </a:lnTo>
                    <a:lnTo>
                      <a:pt x="38" y="6"/>
                    </a:lnTo>
                    <a:lnTo>
                      <a:pt x="36" y="6"/>
                    </a:lnTo>
                    <a:lnTo>
                      <a:pt x="32" y="4"/>
                    </a:lnTo>
                    <a:lnTo>
                      <a:pt x="33" y="1"/>
                    </a:lnTo>
                    <a:lnTo>
                      <a:pt x="36" y="1"/>
                    </a:lnTo>
                    <a:lnTo>
                      <a:pt x="39" y="1"/>
                    </a:lnTo>
                    <a:lnTo>
                      <a:pt x="41" y="1"/>
                    </a:lnTo>
                    <a:lnTo>
                      <a:pt x="45" y="0"/>
                    </a:lnTo>
                    <a:lnTo>
                      <a:pt x="50" y="1"/>
                    </a:lnTo>
                    <a:lnTo>
                      <a:pt x="54" y="2"/>
                    </a:lnTo>
                    <a:lnTo>
                      <a:pt x="56" y="3"/>
                    </a:lnTo>
                    <a:lnTo>
                      <a:pt x="58" y="3"/>
                    </a:lnTo>
                    <a:lnTo>
                      <a:pt x="62" y="4"/>
                    </a:lnTo>
                    <a:lnTo>
                      <a:pt x="64" y="6"/>
                    </a:lnTo>
                    <a:lnTo>
                      <a:pt x="67" y="8"/>
                    </a:lnTo>
                    <a:lnTo>
                      <a:pt x="68" y="11"/>
                    </a:lnTo>
                    <a:lnTo>
                      <a:pt x="71" y="14"/>
                    </a:lnTo>
                    <a:lnTo>
                      <a:pt x="74" y="16"/>
                    </a:lnTo>
                    <a:lnTo>
                      <a:pt x="76" y="18"/>
                    </a:lnTo>
                    <a:lnTo>
                      <a:pt x="79" y="21"/>
                    </a:lnTo>
                    <a:lnTo>
                      <a:pt x="81" y="21"/>
                    </a:lnTo>
                    <a:lnTo>
                      <a:pt x="84" y="24"/>
                    </a:lnTo>
                    <a:lnTo>
                      <a:pt x="83" y="26"/>
                    </a:lnTo>
                    <a:lnTo>
                      <a:pt x="87" y="27"/>
                    </a:lnTo>
                    <a:lnTo>
                      <a:pt x="90" y="27"/>
                    </a:lnTo>
                    <a:lnTo>
                      <a:pt x="92" y="27"/>
                    </a:lnTo>
                    <a:lnTo>
                      <a:pt x="92" y="27"/>
                    </a:lnTo>
                    <a:close/>
                    <a:moveTo>
                      <a:pt x="2573" y="44"/>
                    </a:moveTo>
                    <a:lnTo>
                      <a:pt x="2573" y="43"/>
                    </a:lnTo>
                    <a:lnTo>
                      <a:pt x="2571" y="42"/>
                    </a:lnTo>
                    <a:lnTo>
                      <a:pt x="2573" y="43"/>
                    </a:lnTo>
                    <a:lnTo>
                      <a:pt x="2576" y="43"/>
                    </a:lnTo>
                    <a:lnTo>
                      <a:pt x="2579" y="43"/>
                    </a:lnTo>
                    <a:lnTo>
                      <a:pt x="2582" y="43"/>
                    </a:lnTo>
                    <a:lnTo>
                      <a:pt x="2584" y="43"/>
                    </a:lnTo>
                    <a:lnTo>
                      <a:pt x="2588" y="43"/>
                    </a:lnTo>
                    <a:lnTo>
                      <a:pt x="2591" y="43"/>
                    </a:lnTo>
                    <a:lnTo>
                      <a:pt x="2593" y="44"/>
                    </a:lnTo>
                    <a:lnTo>
                      <a:pt x="2597" y="43"/>
                    </a:lnTo>
                    <a:lnTo>
                      <a:pt x="2599" y="44"/>
                    </a:lnTo>
                    <a:lnTo>
                      <a:pt x="2601" y="44"/>
                    </a:lnTo>
                    <a:lnTo>
                      <a:pt x="2603" y="45"/>
                    </a:lnTo>
                    <a:lnTo>
                      <a:pt x="2607" y="46"/>
                    </a:lnTo>
                    <a:lnTo>
                      <a:pt x="2609" y="47"/>
                    </a:lnTo>
                    <a:lnTo>
                      <a:pt x="2607" y="50"/>
                    </a:lnTo>
                    <a:lnTo>
                      <a:pt x="2603" y="51"/>
                    </a:lnTo>
                    <a:lnTo>
                      <a:pt x="2601" y="52"/>
                    </a:lnTo>
                    <a:lnTo>
                      <a:pt x="2598" y="53"/>
                    </a:lnTo>
                    <a:lnTo>
                      <a:pt x="2596" y="54"/>
                    </a:lnTo>
                    <a:lnTo>
                      <a:pt x="2592" y="54"/>
                    </a:lnTo>
                    <a:lnTo>
                      <a:pt x="2590" y="55"/>
                    </a:lnTo>
                    <a:lnTo>
                      <a:pt x="2586" y="54"/>
                    </a:lnTo>
                    <a:lnTo>
                      <a:pt x="2583" y="53"/>
                    </a:lnTo>
                    <a:lnTo>
                      <a:pt x="2586" y="52"/>
                    </a:lnTo>
                    <a:lnTo>
                      <a:pt x="2589" y="52"/>
                    </a:lnTo>
                    <a:lnTo>
                      <a:pt x="2586" y="51"/>
                    </a:lnTo>
                    <a:lnTo>
                      <a:pt x="2583" y="51"/>
                    </a:lnTo>
                    <a:lnTo>
                      <a:pt x="2581" y="50"/>
                    </a:lnTo>
                    <a:lnTo>
                      <a:pt x="2577" y="50"/>
                    </a:lnTo>
                    <a:lnTo>
                      <a:pt x="2575" y="50"/>
                    </a:lnTo>
                    <a:lnTo>
                      <a:pt x="2572" y="47"/>
                    </a:lnTo>
                    <a:lnTo>
                      <a:pt x="2575" y="47"/>
                    </a:lnTo>
                    <a:lnTo>
                      <a:pt x="2573" y="44"/>
                    </a:lnTo>
                    <a:lnTo>
                      <a:pt x="257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5" name="Freeform 221">
                <a:extLst>
                  <a:ext uri="{FF2B5EF4-FFF2-40B4-BE49-F238E27FC236}">
                    <a16:creationId xmlns:a16="http://schemas.microsoft.com/office/drawing/2014/main" id="{FEB0BBC3-C38B-04B6-0EC6-219CBAFDB896}"/>
                  </a:ext>
                </a:extLst>
              </p:cNvPr>
              <p:cNvSpPr>
                <a:spLocks/>
              </p:cNvSpPr>
              <p:nvPr/>
            </p:nvSpPr>
            <p:spPr bwMode="auto">
              <a:xfrm>
                <a:off x="8994775" y="5389563"/>
                <a:ext cx="79375" cy="77788"/>
              </a:xfrm>
              <a:custGeom>
                <a:avLst/>
                <a:gdLst>
                  <a:gd name="T0" fmla="*/ 26 w 50"/>
                  <a:gd name="T1" fmla="*/ 8 h 49"/>
                  <a:gd name="T2" fmla="*/ 31 w 50"/>
                  <a:gd name="T3" fmla="*/ 8 h 49"/>
                  <a:gd name="T4" fmla="*/ 33 w 50"/>
                  <a:gd name="T5" fmla="*/ 6 h 49"/>
                  <a:gd name="T6" fmla="*/ 38 w 50"/>
                  <a:gd name="T7" fmla="*/ 5 h 49"/>
                  <a:gd name="T8" fmla="*/ 44 w 50"/>
                  <a:gd name="T9" fmla="*/ 4 h 49"/>
                  <a:gd name="T10" fmla="*/ 50 w 50"/>
                  <a:gd name="T11" fmla="*/ 4 h 49"/>
                  <a:gd name="T12" fmla="*/ 50 w 50"/>
                  <a:gd name="T13" fmla="*/ 9 h 49"/>
                  <a:gd name="T14" fmla="*/ 50 w 50"/>
                  <a:gd name="T15" fmla="*/ 15 h 49"/>
                  <a:gd name="T16" fmla="*/ 50 w 50"/>
                  <a:gd name="T17" fmla="*/ 21 h 49"/>
                  <a:gd name="T18" fmla="*/ 50 w 50"/>
                  <a:gd name="T19" fmla="*/ 25 h 49"/>
                  <a:gd name="T20" fmla="*/ 46 w 50"/>
                  <a:gd name="T21" fmla="*/ 25 h 49"/>
                  <a:gd name="T22" fmla="*/ 44 w 50"/>
                  <a:gd name="T23" fmla="*/ 31 h 49"/>
                  <a:gd name="T24" fmla="*/ 45 w 50"/>
                  <a:gd name="T25" fmla="*/ 36 h 49"/>
                  <a:gd name="T26" fmla="*/ 45 w 50"/>
                  <a:gd name="T27" fmla="*/ 42 h 49"/>
                  <a:gd name="T28" fmla="*/ 41 w 50"/>
                  <a:gd name="T29" fmla="*/ 38 h 49"/>
                  <a:gd name="T30" fmla="*/ 41 w 50"/>
                  <a:gd name="T31" fmla="*/ 36 h 49"/>
                  <a:gd name="T32" fmla="*/ 36 w 50"/>
                  <a:gd name="T33" fmla="*/ 34 h 49"/>
                  <a:gd name="T34" fmla="*/ 36 w 50"/>
                  <a:gd name="T35" fmla="*/ 38 h 49"/>
                  <a:gd name="T36" fmla="*/ 34 w 50"/>
                  <a:gd name="T37" fmla="*/ 43 h 49"/>
                  <a:gd name="T38" fmla="*/ 31 w 50"/>
                  <a:gd name="T39" fmla="*/ 44 h 49"/>
                  <a:gd name="T40" fmla="*/ 29 w 50"/>
                  <a:gd name="T41" fmla="*/ 49 h 49"/>
                  <a:gd name="T42" fmla="*/ 24 w 50"/>
                  <a:gd name="T43" fmla="*/ 48 h 49"/>
                  <a:gd name="T44" fmla="*/ 19 w 50"/>
                  <a:gd name="T45" fmla="*/ 47 h 49"/>
                  <a:gd name="T46" fmla="*/ 21 w 50"/>
                  <a:gd name="T47" fmla="*/ 43 h 49"/>
                  <a:gd name="T48" fmla="*/ 16 w 50"/>
                  <a:gd name="T49" fmla="*/ 43 h 49"/>
                  <a:gd name="T50" fmla="*/ 11 w 50"/>
                  <a:gd name="T51" fmla="*/ 38 h 49"/>
                  <a:gd name="T52" fmla="*/ 9 w 50"/>
                  <a:gd name="T53" fmla="*/ 32 h 49"/>
                  <a:gd name="T54" fmla="*/ 9 w 50"/>
                  <a:gd name="T55" fmla="*/ 27 h 49"/>
                  <a:gd name="T56" fmla="*/ 10 w 50"/>
                  <a:gd name="T57" fmla="*/ 27 h 49"/>
                  <a:gd name="T58" fmla="*/ 8 w 50"/>
                  <a:gd name="T59" fmla="*/ 23 h 49"/>
                  <a:gd name="T60" fmla="*/ 3 w 50"/>
                  <a:gd name="T61" fmla="*/ 17 h 49"/>
                  <a:gd name="T62" fmla="*/ 1 w 50"/>
                  <a:gd name="T63" fmla="*/ 11 h 49"/>
                  <a:gd name="T64" fmla="*/ 0 w 50"/>
                  <a:gd name="T65" fmla="*/ 6 h 49"/>
                  <a:gd name="T66" fmla="*/ 0 w 50"/>
                  <a:gd name="T67" fmla="*/ 0 h 49"/>
                  <a:gd name="T68" fmla="*/ 5 w 50"/>
                  <a:gd name="T69" fmla="*/ 2 h 49"/>
                  <a:gd name="T70" fmla="*/ 11 w 50"/>
                  <a:gd name="T71" fmla="*/ 4 h 49"/>
                  <a:gd name="T72" fmla="*/ 16 w 50"/>
                  <a:gd name="T73" fmla="*/ 6 h 49"/>
                  <a:gd name="T74" fmla="*/ 21 w 50"/>
                  <a:gd name="T75" fmla="*/ 8 h 49"/>
                  <a:gd name="T76" fmla="*/ 25 w 50"/>
                  <a:gd name="T77"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49">
                    <a:moveTo>
                      <a:pt x="25" y="8"/>
                    </a:moveTo>
                    <a:lnTo>
                      <a:pt x="26" y="8"/>
                    </a:lnTo>
                    <a:lnTo>
                      <a:pt x="28" y="7"/>
                    </a:lnTo>
                    <a:lnTo>
                      <a:pt x="31" y="8"/>
                    </a:lnTo>
                    <a:lnTo>
                      <a:pt x="30" y="6"/>
                    </a:lnTo>
                    <a:lnTo>
                      <a:pt x="33" y="6"/>
                    </a:lnTo>
                    <a:lnTo>
                      <a:pt x="36" y="5"/>
                    </a:lnTo>
                    <a:lnTo>
                      <a:pt x="38" y="5"/>
                    </a:lnTo>
                    <a:lnTo>
                      <a:pt x="42" y="4"/>
                    </a:lnTo>
                    <a:lnTo>
                      <a:pt x="44" y="4"/>
                    </a:lnTo>
                    <a:lnTo>
                      <a:pt x="46" y="1"/>
                    </a:lnTo>
                    <a:lnTo>
                      <a:pt x="50" y="4"/>
                    </a:lnTo>
                    <a:lnTo>
                      <a:pt x="50" y="7"/>
                    </a:lnTo>
                    <a:lnTo>
                      <a:pt x="50" y="9"/>
                    </a:lnTo>
                    <a:lnTo>
                      <a:pt x="50" y="13"/>
                    </a:lnTo>
                    <a:lnTo>
                      <a:pt x="50" y="15"/>
                    </a:lnTo>
                    <a:lnTo>
                      <a:pt x="50" y="17"/>
                    </a:lnTo>
                    <a:lnTo>
                      <a:pt x="50" y="21"/>
                    </a:lnTo>
                    <a:lnTo>
                      <a:pt x="50" y="23"/>
                    </a:lnTo>
                    <a:lnTo>
                      <a:pt x="50" y="25"/>
                    </a:lnTo>
                    <a:lnTo>
                      <a:pt x="47" y="23"/>
                    </a:lnTo>
                    <a:lnTo>
                      <a:pt x="46" y="25"/>
                    </a:lnTo>
                    <a:lnTo>
                      <a:pt x="45" y="28"/>
                    </a:lnTo>
                    <a:lnTo>
                      <a:pt x="44" y="31"/>
                    </a:lnTo>
                    <a:lnTo>
                      <a:pt x="45" y="34"/>
                    </a:lnTo>
                    <a:lnTo>
                      <a:pt x="45" y="36"/>
                    </a:lnTo>
                    <a:lnTo>
                      <a:pt x="45" y="39"/>
                    </a:lnTo>
                    <a:lnTo>
                      <a:pt x="45" y="42"/>
                    </a:lnTo>
                    <a:lnTo>
                      <a:pt x="42" y="40"/>
                    </a:lnTo>
                    <a:lnTo>
                      <a:pt x="41" y="38"/>
                    </a:lnTo>
                    <a:lnTo>
                      <a:pt x="44" y="39"/>
                    </a:lnTo>
                    <a:lnTo>
                      <a:pt x="41" y="36"/>
                    </a:lnTo>
                    <a:lnTo>
                      <a:pt x="38" y="36"/>
                    </a:lnTo>
                    <a:lnTo>
                      <a:pt x="36" y="34"/>
                    </a:lnTo>
                    <a:lnTo>
                      <a:pt x="35" y="35"/>
                    </a:lnTo>
                    <a:lnTo>
                      <a:pt x="36" y="38"/>
                    </a:lnTo>
                    <a:lnTo>
                      <a:pt x="35" y="40"/>
                    </a:lnTo>
                    <a:lnTo>
                      <a:pt x="34" y="43"/>
                    </a:lnTo>
                    <a:lnTo>
                      <a:pt x="31" y="41"/>
                    </a:lnTo>
                    <a:lnTo>
                      <a:pt x="31" y="44"/>
                    </a:lnTo>
                    <a:lnTo>
                      <a:pt x="30" y="47"/>
                    </a:lnTo>
                    <a:lnTo>
                      <a:pt x="29" y="49"/>
                    </a:lnTo>
                    <a:lnTo>
                      <a:pt x="27" y="48"/>
                    </a:lnTo>
                    <a:lnTo>
                      <a:pt x="24" y="48"/>
                    </a:lnTo>
                    <a:lnTo>
                      <a:pt x="21" y="47"/>
                    </a:lnTo>
                    <a:lnTo>
                      <a:pt x="19" y="47"/>
                    </a:lnTo>
                    <a:lnTo>
                      <a:pt x="18" y="44"/>
                    </a:lnTo>
                    <a:lnTo>
                      <a:pt x="21" y="43"/>
                    </a:lnTo>
                    <a:lnTo>
                      <a:pt x="18" y="44"/>
                    </a:lnTo>
                    <a:lnTo>
                      <a:pt x="16" y="43"/>
                    </a:lnTo>
                    <a:lnTo>
                      <a:pt x="13" y="40"/>
                    </a:lnTo>
                    <a:lnTo>
                      <a:pt x="11" y="38"/>
                    </a:lnTo>
                    <a:lnTo>
                      <a:pt x="10" y="35"/>
                    </a:lnTo>
                    <a:lnTo>
                      <a:pt x="9" y="32"/>
                    </a:lnTo>
                    <a:lnTo>
                      <a:pt x="8" y="30"/>
                    </a:lnTo>
                    <a:lnTo>
                      <a:pt x="9" y="27"/>
                    </a:lnTo>
                    <a:lnTo>
                      <a:pt x="11" y="30"/>
                    </a:lnTo>
                    <a:lnTo>
                      <a:pt x="10" y="27"/>
                    </a:lnTo>
                    <a:lnTo>
                      <a:pt x="8" y="25"/>
                    </a:lnTo>
                    <a:lnTo>
                      <a:pt x="8" y="23"/>
                    </a:lnTo>
                    <a:lnTo>
                      <a:pt x="5" y="19"/>
                    </a:lnTo>
                    <a:lnTo>
                      <a:pt x="3" y="17"/>
                    </a:lnTo>
                    <a:lnTo>
                      <a:pt x="2" y="14"/>
                    </a:lnTo>
                    <a:lnTo>
                      <a:pt x="1" y="11"/>
                    </a:lnTo>
                    <a:lnTo>
                      <a:pt x="0" y="9"/>
                    </a:lnTo>
                    <a:lnTo>
                      <a:pt x="0" y="6"/>
                    </a:lnTo>
                    <a:lnTo>
                      <a:pt x="0" y="4"/>
                    </a:lnTo>
                    <a:lnTo>
                      <a:pt x="0" y="0"/>
                    </a:lnTo>
                    <a:lnTo>
                      <a:pt x="2" y="1"/>
                    </a:lnTo>
                    <a:lnTo>
                      <a:pt x="5" y="2"/>
                    </a:lnTo>
                    <a:lnTo>
                      <a:pt x="8" y="2"/>
                    </a:lnTo>
                    <a:lnTo>
                      <a:pt x="11" y="4"/>
                    </a:lnTo>
                    <a:lnTo>
                      <a:pt x="13" y="5"/>
                    </a:lnTo>
                    <a:lnTo>
                      <a:pt x="16" y="6"/>
                    </a:lnTo>
                    <a:lnTo>
                      <a:pt x="19" y="7"/>
                    </a:lnTo>
                    <a:lnTo>
                      <a:pt x="21" y="8"/>
                    </a:lnTo>
                    <a:lnTo>
                      <a:pt x="24" y="8"/>
                    </a:lnTo>
                    <a:lnTo>
                      <a:pt x="25" y="8"/>
                    </a:lnTo>
                    <a:lnTo>
                      <a:pt x="2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6" name="Freeform 222">
                <a:extLst>
                  <a:ext uri="{FF2B5EF4-FFF2-40B4-BE49-F238E27FC236}">
                    <a16:creationId xmlns:a16="http://schemas.microsoft.com/office/drawing/2014/main" id="{52112082-2F73-529B-B83E-482BE82997B6}"/>
                  </a:ext>
                </a:extLst>
              </p:cNvPr>
              <p:cNvSpPr>
                <a:spLocks/>
              </p:cNvSpPr>
              <p:nvPr/>
            </p:nvSpPr>
            <p:spPr bwMode="auto">
              <a:xfrm>
                <a:off x="8697913" y="4462463"/>
                <a:ext cx="431800" cy="223838"/>
              </a:xfrm>
              <a:custGeom>
                <a:avLst/>
                <a:gdLst>
                  <a:gd name="T0" fmla="*/ 254 w 272"/>
                  <a:gd name="T1" fmla="*/ 137 h 141"/>
                  <a:gd name="T2" fmla="*/ 234 w 272"/>
                  <a:gd name="T3" fmla="*/ 133 h 141"/>
                  <a:gd name="T4" fmla="*/ 223 w 272"/>
                  <a:gd name="T5" fmla="*/ 126 h 141"/>
                  <a:gd name="T6" fmla="*/ 215 w 272"/>
                  <a:gd name="T7" fmla="*/ 119 h 141"/>
                  <a:gd name="T8" fmla="*/ 207 w 272"/>
                  <a:gd name="T9" fmla="*/ 107 h 141"/>
                  <a:gd name="T10" fmla="*/ 191 w 272"/>
                  <a:gd name="T11" fmla="*/ 102 h 141"/>
                  <a:gd name="T12" fmla="*/ 184 w 272"/>
                  <a:gd name="T13" fmla="*/ 97 h 141"/>
                  <a:gd name="T14" fmla="*/ 180 w 272"/>
                  <a:gd name="T15" fmla="*/ 102 h 141"/>
                  <a:gd name="T16" fmla="*/ 175 w 272"/>
                  <a:gd name="T17" fmla="*/ 102 h 141"/>
                  <a:gd name="T18" fmla="*/ 170 w 272"/>
                  <a:gd name="T19" fmla="*/ 103 h 141"/>
                  <a:gd name="T20" fmla="*/ 163 w 272"/>
                  <a:gd name="T21" fmla="*/ 109 h 141"/>
                  <a:gd name="T22" fmla="*/ 155 w 272"/>
                  <a:gd name="T23" fmla="*/ 107 h 141"/>
                  <a:gd name="T24" fmla="*/ 170 w 272"/>
                  <a:gd name="T25" fmla="*/ 116 h 141"/>
                  <a:gd name="T26" fmla="*/ 156 w 272"/>
                  <a:gd name="T27" fmla="*/ 121 h 141"/>
                  <a:gd name="T28" fmla="*/ 139 w 272"/>
                  <a:gd name="T29" fmla="*/ 121 h 141"/>
                  <a:gd name="T30" fmla="*/ 126 w 272"/>
                  <a:gd name="T31" fmla="*/ 110 h 141"/>
                  <a:gd name="T32" fmla="*/ 120 w 272"/>
                  <a:gd name="T33" fmla="*/ 106 h 141"/>
                  <a:gd name="T34" fmla="*/ 107 w 272"/>
                  <a:gd name="T35" fmla="*/ 104 h 141"/>
                  <a:gd name="T36" fmla="*/ 111 w 272"/>
                  <a:gd name="T37" fmla="*/ 94 h 141"/>
                  <a:gd name="T38" fmla="*/ 110 w 272"/>
                  <a:gd name="T39" fmla="*/ 89 h 141"/>
                  <a:gd name="T40" fmla="*/ 101 w 272"/>
                  <a:gd name="T41" fmla="*/ 80 h 141"/>
                  <a:gd name="T42" fmla="*/ 97 w 272"/>
                  <a:gd name="T43" fmla="*/ 73 h 141"/>
                  <a:gd name="T44" fmla="*/ 88 w 272"/>
                  <a:gd name="T45" fmla="*/ 64 h 141"/>
                  <a:gd name="T46" fmla="*/ 78 w 272"/>
                  <a:gd name="T47" fmla="*/ 62 h 141"/>
                  <a:gd name="T48" fmla="*/ 64 w 272"/>
                  <a:gd name="T49" fmla="*/ 56 h 141"/>
                  <a:gd name="T50" fmla="*/ 52 w 272"/>
                  <a:gd name="T51" fmla="*/ 53 h 141"/>
                  <a:gd name="T52" fmla="*/ 45 w 272"/>
                  <a:gd name="T53" fmla="*/ 50 h 141"/>
                  <a:gd name="T54" fmla="*/ 36 w 272"/>
                  <a:gd name="T55" fmla="*/ 39 h 141"/>
                  <a:gd name="T56" fmla="*/ 33 w 272"/>
                  <a:gd name="T57" fmla="*/ 47 h 141"/>
                  <a:gd name="T58" fmla="*/ 25 w 272"/>
                  <a:gd name="T59" fmla="*/ 42 h 141"/>
                  <a:gd name="T60" fmla="*/ 17 w 272"/>
                  <a:gd name="T61" fmla="*/ 32 h 141"/>
                  <a:gd name="T62" fmla="*/ 33 w 272"/>
                  <a:gd name="T63" fmla="*/ 29 h 141"/>
                  <a:gd name="T64" fmla="*/ 35 w 272"/>
                  <a:gd name="T65" fmla="*/ 25 h 141"/>
                  <a:gd name="T66" fmla="*/ 19 w 272"/>
                  <a:gd name="T67" fmla="*/ 25 h 141"/>
                  <a:gd name="T68" fmla="*/ 11 w 272"/>
                  <a:gd name="T69" fmla="*/ 17 h 141"/>
                  <a:gd name="T70" fmla="*/ 3 w 272"/>
                  <a:gd name="T71" fmla="*/ 10 h 141"/>
                  <a:gd name="T72" fmla="*/ 15 w 272"/>
                  <a:gd name="T73" fmla="*/ 2 h 141"/>
                  <a:gd name="T74" fmla="*/ 29 w 272"/>
                  <a:gd name="T75" fmla="*/ 2 h 141"/>
                  <a:gd name="T76" fmla="*/ 42 w 272"/>
                  <a:gd name="T77" fmla="*/ 8 h 141"/>
                  <a:gd name="T78" fmla="*/ 43 w 272"/>
                  <a:gd name="T79" fmla="*/ 25 h 141"/>
                  <a:gd name="T80" fmla="*/ 51 w 272"/>
                  <a:gd name="T81" fmla="*/ 35 h 141"/>
                  <a:gd name="T82" fmla="*/ 64 w 272"/>
                  <a:gd name="T83" fmla="*/ 38 h 141"/>
                  <a:gd name="T84" fmla="*/ 76 w 272"/>
                  <a:gd name="T85" fmla="*/ 25 h 141"/>
                  <a:gd name="T86" fmla="*/ 87 w 272"/>
                  <a:gd name="T87" fmla="*/ 18 h 141"/>
                  <a:gd name="T88" fmla="*/ 102 w 272"/>
                  <a:gd name="T89" fmla="*/ 19 h 141"/>
                  <a:gd name="T90" fmla="*/ 121 w 272"/>
                  <a:gd name="T91" fmla="*/ 27 h 141"/>
                  <a:gd name="T92" fmla="*/ 136 w 272"/>
                  <a:gd name="T93" fmla="*/ 30 h 141"/>
                  <a:gd name="T94" fmla="*/ 154 w 272"/>
                  <a:gd name="T95" fmla="*/ 37 h 141"/>
                  <a:gd name="T96" fmla="*/ 171 w 272"/>
                  <a:gd name="T97" fmla="*/ 42 h 141"/>
                  <a:gd name="T98" fmla="*/ 186 w 272"/>
                  <a:gd name="T99" fmla="*/ 50 h 141"/>
                  <a:gd name="T100" fmla="*/ 195 w 272"/>
                  <a:gd name="T101" fmla="*/ 54 h 141"/>
                  <a:gd name="T102" fmla="*/ 203 w 272"/>
                  <a:gd name="T103" fmla="*/ 70 h 141"/>
                  <a:gd name="T104" fmla="*/ 217 w 272"/>
                  <a:gd name="T105" fmla="*/ 75 h 141"/>
                  <a:gd name="T106" fmla="*/ 230 w 272"/>
                  <a:gd name="T107" fmla="*/ 85 h 141"/>
                  <a:gd name="T108" fmla="*/ 218 w 272"/>
                  <a:gd name="T109" fmla="*/ 89 h 141"/>
                  <a:gd name="T110" fmla="*/ 230 w 272"/>
                  <a:gd name="T111" fmla="*/ 104 h 141"/>
                  <a:gd name="T112" fmla="*/ 239 w 272"/>
                  <a:gd name="T113" fmla="*/ 114 h 141"/>
                  <a:gd name="T114" fmla="*/ 249 w 272"/>
                  <a:gd name="T115" fmla="*/ 122 h 141"/>
                  <a:gd name="T116" fmla="*/ 259 w 272"/>
                  <a:gd name="T117" fmla="*/ 128 h 141"/>
                  <a:gd name="T118" fmla="*/ 264 w 272"/>
                  <a:gd name="T119" fmla="*/ 135 h 141"/>
                  <a:gd name="T120" fmla="*/ 268 w 272"/>
                  <a:gd name="T121" fmla="*/ 14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2" h="141">
                    <a:moveTo>
                      <a:pt x="259" y="139"/>
                    </a:moveTo>
                    <a:lnTo>
                      <a:pt x="260" y="138"/>
                    </a:lnTo>
                    <a:lnTo>
                      <a:pt x="259" y="138"/>
                    </a:lnTo>
                    <a:lnTo>
                      <a:pt x="258" y="138"/>
                    </a:lnTo>
                    <a:lnTo>
                      <a:pt x="256" y="137"/>
                    </a:lnTo>
                    <a:lnTo>
                      <a:pt x="254" y="137"/>
                    </a:lnTo>
                    <a:lnTo>
                      <a:pt x="248" y="136"/>
                    </a:lnTo>
                    <a:lnTo>
                      <a:pt x="246" y="136"/>
                    </a:lnTo>
                    <a:lnTo>
                      <a:pt x="242" y="133"/>
                    </a:lnTo>
                    <a:lnTo>
                      <a:pt x="240" y="135"/>
                    </a:lnTo>
                    <a:lnTo>
                      <a:pt x="237" y="135"/>
                    </a:lnTo>
                    <a:lnTo>
                      <a:pt x="234" y="133"/>
                    </a:lnTo>
                    <a:lnTo>
                      <a:pt x="232" y="135"/>
                    </a:lnTo>
                    <a:lnTo>
                      <a:pt x="230" y="132"/>
                    </a:lnTo>
                    <a:lnTo>
                      <a:pt x="228" y="132"/>
                    </a:lnTo>
                    <a:lnTo>
                      <a:pt x="226" y="131"/>
                    </a:lnTo>
                    <a:lnTo>
                      <a:pt x="225" y="128"/>
                    </a:lnTo>
                    <a:lnTo>
                      <a:pt x="223" y="126"/>
                    </a:lnTo>
                    <a:lnTo>
                      <a:pt x="220" y="124"/>
                    </a:lnTo>
                    <a:lnTo>
                      <a:pt x="220" y="124"/>
                    </a:lnTo>
                    <a:lnTo>
                      <a:pt x="217" y="122"/>
                    </a:lnTo>
                    <a:lnTo>
                      <a:pt x="218" y="119"/>
                    </a:lnTo>
                    <a:lnTo>
                      <a:pt x="218" y="119"/>
                    </a:lnTo>
                    <a:lnTo>
                      <a:pt x="215" y="119"/>
                    </a:lnTo>
                    <a:lnTo>
                      <a:pt x="213" y="118"/>
                    </a:lnTo>
                    <a:lnTo>
                      <a:pt x="213" y="115"/>
                    </a:lnTo>
                    <a:lnTo>
                      <a:pt x="211" y="113"/>
                    </a:lnTo>
                    <a:lnTo>
                      <a:pt x="211" y="112"/>
                    </a:lnTo>
                    <a:lnTo>
                      <a:pt x="208" y="110"/>
                    </a:lnTo>
                    <a:lnTo>
                      <a:pt x="207" y="107"/>
                    </a:lnTo>
                    <a:lnTo>
                      <a:pt x="205" y="105"/>
                    </a:lnTo>
                    <a:lnTo>
                      <a:pt x="201" y="103"/>
                    </a:lnTo>
                    <a:lnTo>
                      <a:pt x="199" y="104"/>
                    </a:lnTo>
                    <a:lnTo>
                      <a:pt x="196" y="103"/>
                    </a:lnTo>
                    <a:lnTo>
                      <a:pt x="194" y="102"/>
                    </a:lnTo>
                    <a:lnTo>
                      <a:pt x="191" y="102"/>
                    </a:lnTo>
                    <a:lnTo>
                      <a:pt x="189" y="102"/>
                    </a:lnTo>
                    <a:lnTo>
                      <a:pt x="189" y="98"/>
                    </a:lnTo>
                    <a:lnTo>
                      <a:pt x="188" y="99"/>
                    </a:lnTo>
                    <a:lnTo>
                      <a:pt x="187" y="98"/>
                    </a:lnTo>
                    <a:lnTo>
                      <a:pt x="187" y="98"/>
                    </a:lnTo>
                    <a:lnTo>
                      <a:pt x="184" y="97"/>
                    </a:lnTo>
                    <a:lnTo>
                      <a:pt x="183" y="97"/>
                    </a:lnTo>
                    <a:lnTo>
                      <a:pt x="183" y="99"/>
                    </a:lnTo>
                    <a:lnTo>
                      <a:pt x="182" y="99"/>
                    </a:lnTo>
                    <a:lnTo>
                      <a:pt x="181" y="99"/>
                    </a:lnTo>
                    <a:lnTo>
                      <a:pt x="181" y="101"/>
                    </a:lnTo>
                    <a:lnTo>
                      <a:pt x="180" y="102"/>
                    </a:lnTo>
                    <a:lnTo>
                      <a:pt x="179" y="101"/>
                    </a:lnTo>
                    <a:lnTo>
                      <a:pt x="175" y="99"/>
                    </a:lnTo>
                    <a:lnTo>
                      <a:pt x="173" y="97"/>
                    </a:lnTo>
                    <a:lnTo>
                      <a:pt x="173" y="97"/>
                    </a:lnTo>
                    <a:lnTo>
                      <a:pt x="174" y="98"/>
                    </a:lnTo>
                    <a:lnTo>
                      <a:pt x="175" y="102"/>
                    </a:lnTo>
                    <a:lnTo>
                      <a:pt x="177" y="104"/>
                    </a:lnTo>
                    <a:lnTo>
                      <a:pt x="174" y="105"/>
                    </a:lnTo>
                    <a:lnTo>
                      <a:pt x="172" y="104"/>
                    </a:lnTo>
                    <a:lnTo>
                      <a:pt x="169" y="103"/>
                    </a:lnTo>
                    <a:lnTo>
                      <a:pt x="169" y="103"/>
                    </a:lnTo>
                    <a:lnTo>
                      <a:pt x="170" y="103"/>
                    </a:lnTo>
                    <a:lnTo>
                      <a:pt x="170" y="104"/>
                    </a:lnTo>
                    <a:lnTo>
                      <a:pt x="172" y="106"/>
                    </a:lnTo>
                    <a:lnTo>
                      <a:pt x="171" y="107"/>
                    </a:lnTo>
                    <a:lnTo>
                      <a:pt x="169" y="109"/>
                    </a:lnTo>
                    <a:lnTo>
                      <a:pt x="165" y="109"/>
                    </a:lnTo>
                    <a:lnTo>
                      <a:pt x="163" y="109"/>
                    </a:lnTo>
                    <a:lnTo>
                      <a:pt x="161" y="109"/>
                    </a:lnTo>
                    <a:lnTo>
                      <a:pt x="157" y="109"/>
                    </a:lnTo>
                    <a:lnTo>
                      <a:pt x="155" y="106"/>
                    </a:lnTo>
                    <a:lnTo>
                      <a:pt x="152" y="107"/>
                    </a:lnTo>
                    <a:lnTo>
                      <a:pt x="153" y="107"/>
                    </a:lnTo>
                    <a:lnTo>
                      <a:pt x="155" y="107"/>
                    </a:lnTo>
                    <a:lnTo>
                      <a:pt x="157" y="110"/>
                    </a:lnTo>
                    <a:lnTo>
                      <a:pt x="161" y="109"/>
                    </a:lnTo>
                    <a:lnTo>
                      <a:pt x="163" y="111"/>
                    </a:lnTo>
                    <a:lnTo>
                      <a:pt x="165" y="111"/>
                    </a:lnTo>
                    <a:lnTo>
                      <a:pt x="169" y="114"/>
                    </a:lnTo>
                    <a:lnTo>
                      <a:pt x="170" y="116"/>
                    </a:lnTo>
                    <a:lnTo>
                      <a:pt x="167" y="119"/>
                    </a:lnTo>
                    <a:lnTo>
                      <a:pt x="164" y="120"/>
                    </a:lnTo>
                    <a:lnTo>
                      <a:pt x="162" y="121"/>
                    </a:lnTo>
                    <a:lnTo>
                      <a:pt x="158" y="123"/>
                    </a:lnTo>
                    <a:lnTo>
                      <a:pt x="158" y="123"/>
                    </a:lnTo>
                    <a:lnTo>
                      <a:pt x="156" y="121"/>
                    </a:lnTo>
                    <a:lnTo>
                      <a:pt x="153" y="120"/>
                    </a:lnTo>
                    <a:lnTo>
                      <a:pt x="150" y="121"/>
                    </a:lnTo>
                    <a:lnTo>
                      <a:pt x="147" y="121"/>
                    </a:lnTo>
                    <a:lnTo>
                      <a:pt x="145" y="121"/>
                    </a:lnTo>
                    <a:lnTo>
                      <a:pt x="143" y="120"/>
                    </a:lnTo>
                    <a:lnTo>
                      <a:pt x="139" y="121"/>
                    </a:lnTo>
                    <a:lnTo>
                      <a:pt x="137" y="120"/>
                    </a:lnTo>
                    <a:lnTo>
                      <a:pt x="133" y="119"/>
                    </a:lnTo>
                    <a:lnTo>
                      <a:pt x="131" y="115"/>
                    </a:lnTo>
                    <a:lnTo>
                      <a:pt x="129" y="113"/>
                    </a:lnTo>
                    <a:lnTo>
                      <a:pt x="128" y="111"/>
                    </a:lnTo>
                    <a:lnTo>
                      <a:pt x="126" y="110"/>
                    </a:lnTo>
                    <a:lnTo>
                      <a:pt x="123" y="107"/>
                    </a:lnTo>
                    <a:lnTo>
                      <a:pt x="123" y="107"/>
                    </a:lnTo>
                    <a:lnTo>
                      <a:pt x="123" y="106"/>
                    </a:lnTo>
                    <a:lnTo>
                      <a:pt x="124" y="103"/>
                    </a:lnTo>
                    <a:lnTo>
                      <a:pt x="123" y="105"/>
                    </a:lnTo>
                    <a:lnTo>
                      <a:pt x="120" y="106"/>
                    </a:lnTo>
                    <a:lnTo>
                      <a:pt x="118" y="106"/>
                    </a:lnTo>
                    <a:lnTo>
                      <a:pt x="115" y="107"/>
                    </a:lnTo>
                    <a:lnTo>
                      <a:pt x="112" y="104"/>
                    </a:lnTo>
                    <a:lnTo>
                      <a:pt x="110" y="106"/>
                    </a:lnTo>
                    <a:lnTo>
                      <a:pt x="107" y="107"/>
                    </a:lnTo>
                    <a:lnTo>
                      <a:pt x="107" y="104"/>
                    </a:lnTo>
                    <a:lnTo>
                      <a:pt x="110" y="102"/>
                    </a:lnTo>
                    <a:lnTo>
                      <a:pt x="111" y="98"/>
                    </a:lnTo>
                    <a:lnTo>
                      <a:pt x="107" y="96"/>
                    </a:lnTo>
                    <a:lnTo>
                      <a:pt x="105" y="94"/>
                    </a:lnTo>
                    <a:lnTo>
                      <a:pt x="109" y="94"/>
                    </a:lnTo>
                    <a:lnTo>
                      <a:pt x="111" y="94"/>
                    </a:lnTo>
                    <a:lnTo>
                      <a:pt x="112" y="93"/>
                    </a:lnTo>
                    <a:lnTo>
                      <a:pt x="110" y="94"/>
                    </a:lnTo>
                    <a:lnTo>
                      <a:pt x="107" y="93"/>
                    </a:lnTo>
                    <a:lnTo>
                      <a:pt x="104" y="90"/>
                    </a:lnTo>
                    <a:lnTo>
                      <a:pt x="107" y="89"/>
                    </a:lnTo>
                    <a:lnTo>
                      <a:pt x="110" y="89"/>
                    </a:lnTo>
                    <a:lnTo>
                      <a:pt x="112" y="90"/>
                    </a:lnTo>
                    <a:lnTo>
                      <a:pt x="109" y="89"/>
                    </a:lnTo>
                    <a:lnTo>
                      <a:pt x="106" y="88"/>
                    </a:lnTo>
                    <a:lnTo>
                      <a:pt x="105" y="85"/>
                    </a:lnTo>
                    <a:lnTo>
                      <a:pt x="102" y="82"/>
                    </a:lnTo>
                    <a:lnTo>
                      <a:pt x="101" y="80"/>
                    </a:lnTo>
                    <a:lnTo>
                      <a:pt x="100" y="77"/>
                    </a:lnTo>
                    <a:lnTo>
                      <a:pt x="100" y="77"/>
                    </a:lnTo>
                    <a:lnTo>
                      <a:pt x="101" y="75"/>
                    </a:lnTo>
                    <a:lnTo>
                      <a:pt x="98" y="75"/>
                    </a:lnTo>
                    <a:lnTo>
                      <a:pt x="101" y="72"/>
                    </a:lnTo>
                    <a:lnTo>
                      <a:pt x="97" y="73"/>
                    </a:lnTo>
                    <a:lnTo>
                      <a:pt x="97" y="73"/>
                    </a:lnTo>
                    <a:lnTo>
                      <a:pt x="96" y="72"/>
                    </a:lnTo>
                    <a:lnTo>
                      <a:pt x="96" y="69"/>
                    </a:lnTo>
                    <a:lnTo>
                      <a:pt x="94" y="68"/>
                    </a:lnTo>
                    <a:lnTo>
                      <a:pt x="90" y="67"/>
                    </a:lnTo>
                    <a:lnTo>
                      <a:pt x="88" y="64"/>
                    </a:lnTo>
                    <a:lnTo>
                      <a:pt x="88" y="64"/>
                    </a:lnTo>
                    <a:lnTo>
                      <a:pt x="85" y="63"/>
                    </a:lnTo>
                    <a:lnTo>
                      <a:pt x="83" y="62"/>
                    </a:lnTo>
                    <a:lnTo>
                      <a:pt x="80" y="62"/>
                    </a:lnTo>
                    <a:lnTo>
                      <a:pt x="79" y="62"/>
                    </a:lnTo>
                    <a:lnTo>
                      <a:pt x="78" y="62"/>
                    </a:lnTo>
                    <a:lnTo>
                      <a:pt x="78" y="62"/>
                    </a:lnTo>
                    <a:lnTo>
                      <a:pt x="76" y="60"/>
                    </a:lnTo>
                    <a:lnTo>
                      <a:pt x="72" y="59"/>
                    </a:lnTo>
                    <a:lnTo>
                      <a:pt x="70" y="58"/>
                    </a:lnTo>
                    <a:lnTo>
                      <a:pt x="68" y="56"/>
                    </a:lnTo>
                    <a:lnTo>
                      <a:pt x="64" y="56"/>
                    </a:lnTo>
                    <a:lnTo>
                      <a:pt x="63" y="56"/>
                    </a:lnTo>
                    <a:lnTo>
                      <a:pt x="60" y="55"/>
                    </a:lnTo>
                    <a:lnTo>
                      <a:pt x="58" y="55"/>
                    </a:lnTo>
                    <a:lnTo>
                      <a:pt x="54" y="54"/>
                    </a:lnTo>
                    <a:lnTo>
                      <a:pt x="52" y="53"/>
                    </a:lnTo>
                    <a:lnTo>
                      <a:pt x="52" y="53"/>
                    </a:lnTo>
                    <a:lnTo>
                      <a:pt x="51" y="52"/>
                    </a:lnTo>
                    <a:lnTo>
                      <a:pt x="50" y="50"/>
                    </a:lnTo>
                    <a:lnTo>
                      <a:pt x="53" y="48"/>
                    </a:lnTo>
                    <a:lnTo>
                      <a:pt x="50" y="48"/>
                    </a:lnTo>
                    <a:lnTo>
                      <a:pt x="47" y="50"/>
                    </a:lnTo>
                    <a:lnTo>
                      <a:pt x="45" y="50"/>
                    </a:lnTo>
                    <a:lnTo>
                      <a:pt x="43" y="46"/>
                    </a:lnTo>
                    <a:lnTo>
                      <a:pt x="41" y="47"/>
                    </a:lnTo>
                    <a:lnTo>
                      <a:pt x="39" y="46"/>
                    </a:lnTo>
                    <a:lnTo>
                      <a:pt x="37" y="45"/>
                    </a:lnTo>
                    <a:lnTo>
                      <a:pt x="36" y="42"/>
                    </a:lnTo>
                    <a:lnTo>
                      <a:pt x="36" y="39"/>
                    </a:lnTo>
                    <a:lnTo>
                      <a:pt x="38" y="37"/>
                    </a:lnTo>
                    <a:lnTo>
                      <a:pt x="36" y="37"/>
                    </a:lnTo>
                    <a:lnTo>
                      <a:pt x="36" y="41"/>
                    </a:lnTo>
                    <a:lnTo>
                      <a:pt x="35" y="43"/>
                    </a:lnTo>
                    <a:lnTo>
                      <a:pt x="33" y="45"/>
                    </a:lnTo>
                    <a:lnTo>
                      <a:pt x="33" y="47"/>
                    </a:lnTo>
                    <a:lnTo>
                      <a:pt x="30" y="51"/>
                    </a:lnTo>
                    <a:lnTo>
                      <a:pt x="28" y="50"/>
                    </a:lnTo>
                    <a:lnTo>
                      <a:pt x="25" y="50"/>
                    </a:lnTo>
                    <a:lnTo>
                      <a:pt x="24" y="47"/>
                    </a:lnTo>
                    <a:lnTo>
                      <a:pt x="26" y="44"/>
                    </a:lnTo>
                    <a:lnTo>
                      <a:pt x="25" y="42"/>
                    </a:lnTo>
                    <a:lnTo>
                      <a:pt x="22" y="39"/>
                    </a:lnTo>
                    <a:lnTo>
                      <a:pt x="20" y="37"/>
                    </a:lnTo>
                    <a:lnTo>
                      <a:pt x="18" y="35"/>
                    </a:lnTo>
                    <a:lnTo>
                      <a:pt x="15" y="35"/>
                    </a:lnTo>
                    <a:lnTo>
                      <a:pt x="15" y="33"/>
                    </a:lnTo>
                    <a:lnTo>
                      <a:pt x="17" y="32"/>
                    </a:lnTo>
                    <a:lnTo>
                      <a:pt x="20" y="33"/>
                    </a:lnTo>
                    <a:lnTo>
                      <a:pt x="22" y="33"/>
                    </a:lnTo>
                    <a:lnTo>
                      <a:pt x="25" y="33"/>
                    </a:lnTo>
                    <a:lnTo>
                      <a:pt x="27" y="29"/>
                    </a:lnTo>
                    <a:lnTo>
                      <a:pt x="29" y="28"/>
                    </a:lnTo>
                    <a:lnTo>
                      <a:pt x="33" y="29"/>
                    </a:lnTo>
                    <a:lnTo>
                      <a:pt x="37" y="30"/>
                    </a:lnTo>
                    <a:lnTo>
                      <a:pt x="37" y="28"/>
                    </a:lnTo>
                    <a:lnTo>
                      <a:pt x="41" y="28"/>
                    </a:lnTo>
                    <a:lnTo>
                      <a:pt x="41" y="25"/>
                    </a:lnTo>
                    <a:lnTo>
                      <a:pt x="37" y="25"/>
                    </a:lnTo>
                    <a:lnTo>
                      <a:pt x="35" y="25"/>
                    </a:lnTo>
                    <a:lnTo>
                      <a:pt x="29" y="25"/>
                    </a:lnTo>
                    <a:lnTo>
                      <a:pt x="27" y="26"/>
                    </a:lnTo>
                    <a:lnTo>
                      <a:pt x="26" y="26"/>
                    </a:lnTo>
                    <a:lnTo>
                      <a:pt x="24" y="26"/>
                    </a:lnTo>
                    <a:lnTo>
                      <a:pt x="22" y="26"/>
                    </a:lnTo>
                    <a:lnTo>
                      <a:pt x="19" y="25"/>
                    </a:lnTo>
                    <a:lnTo>
                      <a:pt x="17" y="25"/>
                    </a:lnTo>
                    <a:lnTo>
                      <a:pt x="15" y="24"/>
                    </a:lnTo>
                    <a:lnTo>
                      <a:pt x="12" y="20"/>
                    </a:lnTo>
                    <a:lnTo>
                      <a:pt x="13" y="18"/>
                    </a:lnTo>
                    <a:lnTo>
                      <a:pt x="13" y="18"/>
                    </a:lnTo>
                    <a:lnTo>
                      <a:pt x="11" y="17"/>
                    </a:lnTo>
                    <a:lnTo>
                      <a:pt x="8" y="15"/>
                    </a:lnTo>
                    <a:lnTo>
                      <a:pt x="5" y="15"/>
                    </a:lnTo>
                    <a:lnTo>
                      <a:pt x="2" y="16"/>
                    </a:lnTo>
                    <a:lnTo>
                      <a:pt x="0" y="15"/>
                    </a:lnTo>
                    <a:lnTo>
                      <a:pt x="0" y="12"/>
                    </a:lnTo>
                    <a:lnTo>
                      <a:pt x="3" y="10"/>
                    </a:lnTo>
                    <a:lnTo>
                      <a:pt x="3" y="9"/>
                    </a:lnTo>
                    <a:lnTo>
                      <a:pt x="3" y="5"/>
                    </a:lnTo>
                    <a:lnTo>
                      <a:pt x="7" y="4"/>
                    </a:lnTo>
                    <a:lnTo>
                      <a:pt x="9" y="4"/>
                    </a:lnTo>
                    <a:lnTo>
                      <a:pt x="11" y="4"/>
                    </a:lnTo>
                    <a:lnTo>
                      <a:pt x="15" y="2"/>
                    </a:lnTo>
                    <a:lnTo>
                      <a:pt x="17" y="0"/>
                    </a:lnTo>
                    <a:lnTo>
                      <a:pt x="19" y="0"/>
                    </a:lnTo>
                    <a:lnTo>
                      <a:pt x="21" y="0"/>
                    </a:lnTo>
                    <a:lnTo>
                      <a:pt x="24" y="0"/>
                    </a:lnTo>
                    <a:lnTo>
                      <a:pt x="27" y="1"/>
                    </a:lnTo>
                    <a:lnTo>
                      <a:pt x="29" y="2"/>
                    </a:lnTo>
                    <a:lnTo>
                      <a:pt x="33" y="4"/>
                    </a:lnTo>
                    <a:lnTo>
                      <a:pt x="35" y="5"/>
                    </a:lnTo>
                    <a:lnTo>
                      <a:pt x="37" y="4"/>
                    </a:lnTo>
                    <a:lnTo>
                      <a:pt x="38" y="5"/>
                    </a:lnTo>
                    <a:lnTo>
                      <a:pt x="42" y="5"/>
                    </a:lnTo>
                    <a:lnTo>
                      <a:pt x="42" y="8"/>
                    </a:lnTo>
                    <a:lnTo>
                      <a:pt x="43" y="11"/>
                    </a:lnTo>
                    <a:lnTo>
                      <a:pt x="44" y="13"/>
                    </a:lnTo>
                    <a:lnTo>
                      <a:pt x="43" y="16"/>
                    </a:lnTo>
                    <a:lnTo>
                      <a:pt x="42" y="19"/>
                    </a:lnTo>
                    <a:lnTo>
                      <a:pt x="43" y="21"/>
                    </a:lnTo>
                    <a:lnTo>
                      <a:pt x="43" y="25"/>
                    </a:lnTo>
                    <a:lnTo>
                      <a:pt x="43" y="27"/>
                    </a:lnTo>
                    <a:lnTo>
                      <a:pt x="45" y="29"/>
                    </a:lnTo>
                    <a:lnTo>
                      <a:pt x="46" y="33"/>
                    </a:lnTo>
                    <a:lnTo>
                      <a:pt x="47" y="29"/>
                    </a:lnTo>
                    <a:lnTo>
                      <a:pt x="50" y="33"/>
                    </a:lnTo>
                    <a:lnTo>
                      <a:pt x="51" y="35"/>
                    </a:lnTo>
                    <a:lnTo>
                      <a:pt x="52" y="37"/>
                    </a:lnTo>
                    <a:lnTo>
                      <a:pt x="54" y="41"/>
                    </a:lnTo>
                    <a:lnTo>
                      <a:pt x="56" y="41"/>
                    </a:lnTo>
                    <a:lnTo>
                      <a:pt x="59" y="41"/>
                    </a:lnTo>
                    <a:lnTo>
                      <a:pt x="62" y="41"/>
                    </a:lnTo>
                    <a:lnTo>
                      <a:pt x="64" y="38"/>
                    </a:lnTo>
                    <a:lnTo>
                      <a:pt x="67" y="36"/>
                    </a:lnTo>
                    <a:lnTo>
                      <a:pt x="68" y="34"/>
                    </a:lnTo>
                    <a:lnTo>
                      <a:pt x="69" y="32"/>
                    </a:lnTo>
                    <a:lnTo>
                      <a:pt x="71" y="29"/>
                    </a:lnTo>
                    <a:lnTo>
                      <a:pt x="72" y="27"/>
                    </a:lnTo>
                    <a:lnTo>
                      <a:pt x="76" y="25"/>
                    </a:lnTo>
                    <a:lnTo>
                      <a:pt x="78" y="26"/>
                    </a:lnTo>
                    <a:lnTo>
                      <a:pt x="80" y="25"/>
                    </a:lnTo>
                    <a:lnTo>
                      <a:pt x="84" y="24"/>
                    </a:lnTo>
                    <a:lnTo>
                      <a:pt x="85" y="21"/>
                    </a:lnTo>
                    <a:lnTo>
                      <a:pt x="85" y="19"/>
                    </a:lnTo>
                    <a:lnTo>
                      <a:pt x="87" y="18"/>
                    </a:lnTo>
                    <a:lnTo>
                      <a:pt x="90" y="16"/>
                    </a:lnTo>
                    <a:lnTo>
                      <a:pt x="93" y="15"/>
                    </a:lnTo>
                    <a:lnTo>
                      <a:pt x="94" y="15"/>
                    </a:lnTo>
                    <a:lnTo>
                      <a:pt x="97" y="17"/>
                    </a:lnTo>
                    <a:lnTo>
                      <a:pt x="100" y="18"/>
                    </a:lnTo>
                    <a:lnTo>
                      <a:pt x="102" y="19"/>
                    </a:lnTo>
                    <a:lnTo>
                      <a:pt x="105" y="19"/>
                    </a:lnTo>
                    <a:lnTo>
                      <a:pt x="107" y="21"/>
                    </a:lnTo>
                    <a:lnTo>
                      <a:pt x="111" y="22"/>
                    </a:lnTo>
                    <a:lnTo>
                      <a:pt x="113" y="24"/>
                    </a:lnTo>
                    <a:lnTo>
                      <a:pt x="115" y="25"/>
                    </a:lnTo>
                    <a:lnTo>
                      <a:pt x="121" y="27"/>
                    </a:lnTo>
                    <a:lnTo>
                      <a:pt x="123" y="27"/>
                    </a:lnTo>
                    <a:lnTo>
                      <a:pt x="126" y="27"/>
                    </a:lnTo>
                    <a:lnTo>
                      <a:pt x="128" y="28"/>
                    </a:lnTo>
                    <a:lnTo>
                      <a:pt x="131" y="28"/>
                    </a:lnTo>
                    <a:lnTo>
                      <a:pt x="132" y="30"/>
                    </a:lnTo>
                    <a:lnTo>
                      <a:pt x="136" y="30"/>
                    </a:lnTo>
                    <a:lnTo>
                      <a:pt x="137" y="30"/>
                    </a:lnTo>
                    <a:lnTo>
                      <a:pt x="138" y="30"/>
                    </a:lnTo>
                    <a:lnTo>
                      <a:pt x="141" y="32"/>
                    </a:lnTo>
                    <a:lnTo>
                      <a:pt x="144" y="33"/>
                    </a:lnTo>
                    <a:lnTo>
                      <a:pt x="152" y="37"/>
                    </a:lnTo>
                    <a:lnTo>
                      <a:pt x="154" y="37"/>
                    </a:lnTo>
                    <a:lnTo>
                      <a:pt x="157" y="38"/>
                    </a:lnTo>
                    <a:lnTo>
                      <a:pt x="163" y="41"/>
                    </a:lnTo>
                    <a:lnTo>
                      <a:pt x="165" y="41"/>
                    </a:lnTo>
                    <a:lnTo>
                      <a:pt x="167" y="41"/>
                    </a:lnTo>
                    <a:lnTo>
                      <a:pt x="169" y="41"/>
                    </a:lnTo>
                    <a:lnTo>
                      <a:pt x="171" y="42"/>
                    </a:lnTo>
                    <a:lnTo>
                      <a:pt x="173" y="43"/>
                    </a:lnTo>
                    <a:lnTo>
                      <a:pt x="177" y="45"/>
                    </a:lnTo>
                    <a:lnTo>
                      <a:pt x="179" y="46"/>
                    </a:lnTo>
                    <a:lnTo>
                      <a:pt x="182" y="46"/>
                    </a:lnTo>
                    <a:lnTo>
                      <a:pt x="184" y="47"/>
                    </a:lnTo>
                    <a:lnTo>
                      <a:pt x="186" y="50"/>
                    </a:lnTo>
                    <a:lnTo>
                      <a:pt x="187" y="50"/>
                    </a:lnTo>
                    <a:lnTo>
                      <a:pt x="187" y="50"/>
                    </a:lnTo>
                    <a:lnTo>
                      <a:pt x="189" y="51"/>
                    </a:lnTo>
                    <a:lnTo>
                      <a:pt x="191" y="54"/>
                    </a:lnTo>
                    <a:lnTo>
                      <a:pt x="192" y="54"/>
                    </a:lnTo>
                    <a:lnTo>
                      <a:pt x="195" y="54"/>
                    </a:lnTo>
                    <a:lnTo>
                      <a:pt x="198" y="56"/>
                    </a:lnTo>
                    <a:lnTo>
                      <a:pt x="199" y="59"/>
                    </a:lnTo>
                    <a:lnTo>
                      <a:pt x="203" y="62"/>
                    </a:lnTo>
                    <a:lnTo>
                      <a:pt x="203" y="64"/>
                    </a:lnTo>
                    <a:lnTo>
                      <a:pt x="201" y="67"/>
                    </a:lnTo>
                    <a:lnTo>
                      <a:pt x="203" y="70"/>
                    </a:lnTo>
                    <a:lnTo>
                      <a:pt x="205" y="70"/>
                    </a:lnTo>
                    <a:lnTo>
                      <a:pt x="208" y="71"/>
                    </a:lnTo>
                    <a:lnTo>
                      <a:pt x="211" y="71"/>
                    </a:lnTo>
                    <a:lnTo>
                      <a:pt x="213" y="72"/>
                    </a:lnTo>
                    <a:lnTo>
                      <a:pt x="216" y="75"/>
                    </a:lnTo>
                    <a:lnTo>
                      <a:pt x="217" y="75"/>
                    </a:lnTo>
                    <a:lnTo>
                      <a:pt x="220" y="77"/>
                    </a:lnTo>
                    <a:lnTo>
                      <a:pt x="223" y="76"/>
                    </a:lnTo>
                    <a:lnTo>
                      <a:pt x="225" y="77"/>
                    </a:lnTo>
                    <a:lnTo>
                      <a:pt x="228" y="79"/>
                    </a:lnTo>
                    <a:lnTo>
                      <a:pt x="230" y="81"/>
                    </a:lnTo>
                    <a:lnTo>
                      <a:pt x="230" y="85"/>
                    </a:lnTo>
                    <a:lnTo>
                      <a:pt x="229" y="87"/>
                    </a:lnTo>
                    <a:lnTo>
                      <a:pt x="226" y="87"/>
                    </a:lnTo>
                    <a:lnTo>
                      <a:pt x="224" y="87"/>
                    </a:lnTo>
                    <a:lnTo>
                      <a:pt x="221" y="87"/>
                    </a:lnTo>
                    <a:lnTo>
                      <a:pt x="218" y="87"/>
                    </a:lnTo>
                    <a:lnTo>
                      <a:pt x="218" y="89"/>
                    </a:lnTo>
                    <a:lnTo>
                      <a:pt x="220" y="92"/>
                    </a:lnTo>
                    <a:lnTo>
                      <a:pt x="221" y="94"/>
                    </a:lnTo>
                    <a:lnTo>
                      <a:pt x="222" y="97"/>
                    </a:lnTo>
                    <a:lnTo>
                      <a:pt x="224" y="98"/>
                    </a:lnTo>
                    <a:lnTo>
                      <a:pt x="226" y="101"/>
                    </a:lnTo>
                    <a:lnTo>
                      <a:pt x="230" y="104"/>
                    </a:lnTo>
                    <a:lnTo>
                      <a:pt x="232" y="104"/>
                    </a:lnTo>
                    <a:lnTo>
                      <a:pt x="233" y="105"/>
                    </a:lnTo>
                    <a:lnTo>
                      <a:pt x="234" y="106"/>
                    </a:lnTo>
                    <a:lnTo>
                      <a:pt x="234" y="107"/>
                    </a:lnTo>
                    <a:lnTo>
                      <a:pt x="235" y="112"/>
                    </a:lnTo>
                    <a:lnTo>
                      <a:pt x="239" y="114"/>
                    </a:lnTo>
                    <a:lnTo>
                      <a:pt x="240" y="116"/>
                    </a:lnTo>
                    <a:lnTo>
                      <a:pt x="242" y="120"/>
                    </a:lnTo>
                    <a:lnTo>
                      <a:pt x="245" y="119"/>
                    </a:lnTo>
                    <a:lnTo>
                      <a:pt x="248" y="119"/>
                    </a:lnTo>
                    <a:lnTo>
                      <a:pt x="250" y="120"/>
                    </a:lnTo>
                    <a:lnTo>
                      <a:pt x="249" y="122"/>
                    </a:lnTo>
                    <a:lnTo>
                      <a:pt x="250" y="126"/>
                    </a:lnTo>
                    <a:lnTo>
                      <a:pt x="252" y="127"/>
                    </a:lnTo>
                    <a:lnTo>
                      <a:pt x="255" y="127"/>
                    </a:lnTo>
                    <a:lnTo>
                      <a:pt x="257" y="127"/>
                    </a:lnTo>
                    <a:lnTo>
                      <a:pt x="259" y="127"/>
                    </a:lnTo>
                    <a:lnTo>
                      <a:pt x="259" y="128"/>
                    </a:lnTo>
                    <a:lnTo>
                      <a:pt x="259" y="129"/>
                    </a:lnTo>
                    <a:lnTo>
                      <a:pt x="256" y="129"/>
                    </a:lnTo>
                    <a:lnTo>
                      <a:pt x="258" y="132"/>
                    </a:lnTo>
                    <a:lnTo>
                      <a:pt x="259" y="133"/>
                    </a:lnTo>
                    <a:lnTo>
                      <a:pt x="260" y="133"/>
                    </a:lnTo>
                    <a:lnTo>
                      <a:pt x="264" y="135"/>
                    </a:lnTo>
                    <a:lnTo>
                      <a:pt x="266" y="135"/>
                    </a:lnTo>
                    <a:lnTo>
                      <a:pt x="268" y="136"/>
                    </a:lnTo>
                    <a:lnTo>
                      <a:pt x="272" y="136"/>
                    </a:lnTo>
                    <a:lnTo>
                      <a:pt x="268" y="137"/>
                    </a:lnTo>
                    <a:lnTo>
                      <a:pt x="266" y="138"/>
                    </a:lnTo>
                    <a:lnTo>
                      <a:pt x="268" y="140"/>
                    </a:lnTo>
                    <a:lnTo>
                      <a:pt x="265" y="141"/>
                    </a:lnTo>
                    <a:lnTo>
                      <a:pt x="263" y="141"/>
                    </a:lnTo>
                    <a:lnTo>
                      <a:pt x="259" y="140"/>
                    </a:lnTo>
                    <a:lnTo>
                      <a:pt x="259" y="139"/>
                    </a:lnTo>
                    <a:lnTo>
                      <a:pt x="259"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7" name="Freeform 223">
                <a:extLst>
                  <a:ext uri="{FF2B5EF4-FFF2-40B4-BE49-F238E27FC236}">
                    <a16:creationId xmlns:a16="http://schemas.microsoft.com/office/drawing/2014/main" id="{30AEA9F2-E47F-73E0-FB6D-8FEBB7D231CF}"/>
                  </a:ext>
                </a:extLst>
              </p:cNvPr>
              <p:cNvSpPr>
                <a:spLocks/>
              </p:cNvSpPr>
              <p:nvPr/>
            </p:nvSpPr>
            <p:spPr bwMode="auto">
              <a:xfrm>
                <a:off x="8216900" y="4302125"/>
                <a:ext cx="225425" cy="241300"/>
              </a:xfrm>
              <a:custGeom>
                <a:avLst/>
                <a:gdLst>
                  <a:gd name="T0" fmla="*/ 19 w 142"/>
                  <a:gd name="T1" fmla="*/ 135 h 152"/>
                  <a:gd name="T2" fmla="*/ 15 w 142"/>
                  <a:gd name="T3" fmla="*/ 121 h 152"/>
                  <a:gd name="T4" fmla="*/ 14 w 142"/>
                  <a:gd name="T5" fmla="*/ 111 h 152"/>
                  <a:gd name="T6" fmla="*/ 8 w 142"/>
                  <a:gd name="T7" fmla="*/ 105 h 152"/>
                  <a:gd name="T8" fmla="*/ 3 w 142"/>
                  <a:gd name="T9" fmla="*/ 93 h 152"/>
                  <a:gd name="T10" fmla="*/ 0 w 142"/>
                  <a:gd name="T11" fmla="*/ 82 h 152"/>
                  <a:gd name="T12" fmla="*/ 3 w 142"/>
                  <a:gd name="T13" fmla="*/ 76 h 152"/>
                  <a:gd name="T14" fmla="*/ 11 w 142"/>
                  <a:gd name="T15" fmla="*/ 68 h 152"/>
                  <a:gd name="T16" fmla="*/ 22 w 142"/>
                  <a:gd name="T17" fmla="*/ 72 h 152"/>
                  <a:gd name="T18" fmla="*/ 30 w 142"/>
                  <a:gd name="T19" fmla="*/ 77 h 152"/>
                  <a:gd name="T20" fmla="*/ 29 w 142"/>
                  <a:gd name="T21" fmla="*/ 74 h 152"/>
                  <a:gd name="T22" fmla="*/ 34 w 142"/>
                  <a:gd name="T23" fmla="*/ 66 h 152"/>
                  <a:gd name="T24" fmla="*/ 34 w 142"/>
                  <a:gd name="T25" fmla="*/ 61 h 152"/>
                  <a:gd name="T26" fmla="*/ 46 w 142"/>
                  <a:gd name="T27" fmla="*/ 56 h 152"/>
                  <a:gd name="T28" fmla="*/ 57 w 142"/>
                  <a:gd name="T29" fmla="*/ 52 h 152"/>
                  <a:gd name="T30" fmla="*/ 67 w 142"/>
                  <a:gd name="T31" fmla="*/ 40 h 152"/>
                  <a:gd name="T32" fmla="*/ 75 w 142"/>
                  <a:gd name="T33" fmla="*/ 33 h 152"/>
                  <a:gd name="T34" fmla="*/ 84 w 142"/>
                  <a:gd name="T35" fmla="*/ 27 h 152"/>
                  <a:gd name="T36" fmla="*/ 85 w 142"/>
                  <a:gd name="T37" fmla="*/ 28 h 152"/>
                  <a:gd name="T38" fmla="*/ 90 w 142"/>
                  <a:gd name="T39" fmla="*/ 24 h 152"/>
                  <a:gd name="T40" fmla="*/ 96 w 142"/>
                  <a:gd name="T41" fmla="*/ 19 h 152"/>
                  <a:gd name="T42" fmla="*/ 102 w 142"/>
                  <a:gd name="T43" fmla="*/ 8 h 152"/>
                  <a:gd name="T44" fmla="*/ 108 w 142"/>
                  <a:gd name="T45" fmla="*/ 6 h 152"/>
                  <a:gd name="T46" fmla="*/ 118 w 142"/>
                  <a:gd name="T47" fmla="*/ 5 h 152"/>
                  <a:gd name="T48" fmla="*/ 123 w 142"/>
                  <a:gd name="T49" fmla="*/ 15 h 152"/>
                  <a:gd name="T50" fmla="*/ 130 w 142"/>
                  <a:gd name="T51" fmla="*/ 16 h 152"/>
                  <a:gd name="T52" fmla="*/ 140 w 142"/>
                  <a:gd name="T53" fmla="*/ 22 h 152"/>
                  <a:gd name="T54" fmla="*/ 132 w 142"/>
                  <a:gd name="T55" fmla="*/ 28 h 152"/>
                  <a:gd name="T56" fmla="*/ 132 w 142"/>
                  <a:gd name="T57" fmla="*/ 36 h 152"/>
                  <a:gd name="T58" fmla="*/ 119 w 142"/>
                  <a:gd name="T59" fmla="*/ 36 h 152"/>
                  <a:gd name="T60" fmla="*/ 119 w 142"/>
                  <a:gd name="T61" fmla="*/ 46 h 152"/>
                  <a:gd name="T62" fmla="*/ 117 w 142"/>
                  <a:gd name="T63" fmla="*/ 53 h 152"/>
                  <a:gd name="T64" fmla="*/ 119 w 142"/>
                  <a:gd name="T65" fmla="*/ 57 h 152"/>
                  <a:gd name="T66" fmla="*/ 123 w 142"/>
                  <a:gd name="T67" fmla="*/ 68 h 152"/>
                  <a:gd name="T68" fmla="*/ 139 w 142"/>
                  <a:gd name="T69" fmla="*/ 82 h 152"/>
                  <a:gd name="T70" fmla="*/ 130 w 142"/>
                  <a:gd name="T71" fmla="*/ 85 h 152"/>
                  <a:gd name="T72" fmla="*/ 120 w 142"/>
                  <a:gd name="T73" fmla="*/ 87 h 152"/>
                  <a:gd name="T74" fmla="*/ 117 w 142"/>
                  <a:gd name="T75" fmla="*/ 100 h 152"/>
                  <a:gd name="T76" fmla="*/ 116 w 142"/>
                  <a:gd name="T77" fmla="*/ 108 h 152"/>
                  <a:gd name="T78" fmla="*/ 108 w 142"/>
                  <a:gd name="T79" fmla="*/ 112 h 152"/>
                  <a:gd name="T80" fmla="*/ 103 w 142"/>
                  <a:gd name="T81" fmla="*/ 120 h 152"/>
                  <a:gd name="T82" fmla="*/ 105 w 142"/>
                  <a:gd name="T83" fmla="*/ 130 h 152"/>
                  <a:gd name="T84" fmla="*/ 100 w 142"/>
                  <a:gd name="T85" fmla="*/ 139 h 152"/>
                  <a:gd name="T86" fmla="*/ 86 w 142"/>
                  <a:gd name="T87" fmla="*/ 149 h 152"/>
                  <a:gd name="T88" fmla="*/ 79 w 142"/>
                  <a:gd name="T89" fmla="*/ 147 h 152"/>
                  <a:gd name="T90" fmla="*/ 74 w 142"/>
                  <a:gd name="T91" fmla="*/ 143 h 152"/>
                  <a:gd name="T92" fmla="*/ 67 w 142"/>
                  <a:gd name="T93" fmla="*/ 143 h 152"/>
                  <a:gd name="T94" fmla="*/ 57 w 142"/>
                  <a:gd name="T95" fmla="*/ 137 h 152"/>
                  <a:gd name="T96" fmla="*/ 46 w 142"/>
                  <a:gd name="T97" fmla="*/ 142 h 152"/>
                  <a:gd name="T98" fmla="*/ 40 w 142"/>
                  <a:gd name="T99" fmla="*/ 136 h 152"/>
                  <a:gd name="T100" fmla="*/ 30 w 142"/>
                  <a:gd name="T101"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2" h="152">
                    <a:moveTo>
                      <a:pt x="28" y="135"/>
                    </a:moveTo>
                    <a:lnTo>
                      <a:pt x="26" y="136"/>
                    </a:lnTo>
                    <a:lnTo>
                      <a:pt x="23" y="135"/>
                    </a:lnTo>
                    <a:lnTo>
                      <a:pt x="21" y="136"/>
                    </a:lnTo>
                    <a:lnTo>
                      <a:pt x="19" y="135"/>
                    </a:lnTo>
                    <a:lnTo>
                      <a:pt x="19" y="133"/>
                    </a:lnTo>
                    <a:lnTo>
                      <a:pt x="17" y="129"/>
                    </a:lnTo>
                    <a:lnTo>
                      <a:pt x="17" y="127"/>
                    </a:lnTo>
                    <a:lnTo>
                      <a:pt x="16" y="125"/>
                    </a:lnTo>
                    <a:lnTo>
                      <a:pt x="15" y="121"/>
                    </a:lnTo>
                    <a:lnTo>
                      <a:pt x="15" y="119"/>
                    </a:lnTo>
                    <a:lnTo>
                      <a:pt x="15" y="119"/>
                    </a:lnTo>
                    <a:lnTo>
                      <a:pt x="16" y="116"/>
                    </a:lnTo>
                    <a:lnTo>
                      <a:pt x="15" y="113"/>
                    </a:lnTo>
                    <a:lnTo>
                      <a:pt x="14" y="111"/>
                    </a:lnTo>
                    <a:lnTo>
                      <a:pt x="11" y="109"/>
                    </a:lnTo>
                    <a:lnTo>
                      <a:pt x="8" y="108"/>
                    </a:lnTo>
                    <a:lnTo>
                      <a:pt x="6" y="108"/>
                    </a:lnTo>
                    <a:lnTo>
                      <a:pt x="5" y="105"/>
                    </a:lnTo>
                    <a:lnTo>
                      <a:pt x="8" y="105"/>
                    </a:lnTo>
                    <a:lnTo>
                      <a:pt x="3" y="102"/>
                    </a:lnTo>
                    <a:lnTo>
                      <a:pt x="5" y="99"/>
                    </a:lnTo>
                    <a:lnTo>
                      <a:pt x="4" y="99"/>
                    </a:lnTo>
                    <a:lnTo>
                      <a:pt x="4" y="95"/>
                    </a:lnTo>
                    <a:lnTo>
                      <a:pt x="3" y="93"/>
                    </a:lnTo>
                    <a:lnTo>
                      <a:pt x="0" y="92"/>
                    </a:lnTo>
                    <a:lnTo>
                      <a:pt x="0" y="88"/>
                    </a:lnTo>
                    <a:lnTo>
                      <a:pt x="0" y="86"/>
                    </a:lnTo>
                    <a:lnTo>
                      <a:pt x="0" y="84"/>
                    </a:lnTo>
                    <a:lnTo>
                      <a:pt x="0" y="82"/>
                    </a:lnTo>
                    <a:lnTo>
                      <a:pt x="4" y="78"/>
                    </a:lnTo>
                    <a:lnTo>
                      <a:pt x="5" y="77"/>
                    </a:lnTo>
                    <a:lnTo>
                      <a:pt x="5" y="77"/>
                    </a:lnTo>
                    <a:lnTo>
                      <a:pt x="2" y="79"/>
                    </a:lnTo>
                    <a:lnTo>
                      <a:pt x="3" y="76"/>
                    </a:lnTo>
                    <a:lnTo>
                      <a:pt x="4" y="74"/>
                    </a:lnTo>
                    <a:lnTo>
                      <a:pt x="6" y="71"/>
                    </a:lnTo>
                    <a:lnTo>
                      <a:pt x="9" y="68"/>
                    </a:lnTo>
                    <a:lnTo>
                      <a:pt x="11" y="67"/>
                    </a:lnTo>
                    <a:lnTo>
                      <a:pt x="11" y="68"/>
                    </a:lnTo>
                    <a:lnTo>
                      <a:pt x="13" y="71"/>
                    </a:lnTo>
                    <a:lnTo>
                      <a:pt x="15" y="72"/>
                    </a:lnTo>
                    <a:lnTo>
                      <a:pt x="17" y="72"/>
                    </a:lnTo>
                    <a:lnTo>
                      <a:pt x="20" y="72"/>
                    </a:lnTo>
                    <a:lnTo>
                      <a:pt x="22" y="72"/>
                    </a:lnTo>
                    <a:lnTo>
                      <a:pt x="22" y="74"/>
                    </a:lnTo>
                    <a:lnTo>
                      <a:pt x="24" y="74"/>
                    </a:lnTo>
                    <a:lnTo>
                      <a:pt x="24" y="76"/>
                    </a:lnTo>
                    <a:lnTo>
                      <a:pt x="26" y="75"/>
                    </a:lnTo>
                    <a:lnTo>
                      <a:pt x="30" y="77"/>
                    </a:lnTo>
                    <a:lnTo>
                      <a:pt x="32" y="77"/>
                    </a:lnTo>
                    <a:lnTo>
                      <a:pt x="33" y="77"/>
                    </a:lnTo>
                    <a:lnTo>
                      <a:pt x="34" y="77"/>
                    </a:lnTo>
                    <a:lnTo>
                      <a:pt x="31" y="77"/>
                    </a:lnTo>
                    <a:lnTo>
                      <a:pt x="29" y="74"/>
                    </a:lnTo>
                    <a:lnTo>
                      <a:pt x="31" y="74"/>
                    </a:lnTo>
                    <a:lnTo>
                      <a:pt x="30" y="70"/>
                    </a:lnTo>
                    <a:lnTo>
                      <a:pt x="31" y="68"/>
                    </a:lnTo>
                    <a:lnTo>
                      <a:pt x="32" y="67"/>
                    </a:lnTo>
                    <a:lnTo>
                      <a:pt x="34" y="66"/>
                    </a:lnTo>
                    <a:lnTo>
                      <a:pt x="31" y="67"/>
                    </a:lnTo>
                    <a:lnTo>
                      <a:pt x="31" y="63"/>
                    </a:lnTo>
                    <a:lnTo>
                      <a:pt x="34" y="63"/>
                    </a:lnTo>
                    <a:lnTo>
                      <a:pt x="36" y="63"/>
                    </a:lnTo>
                    <a:lnTo>
                      <a:pt x="34" y="61"/>
                    </a:lnTo>
                    <a:lnTo>
                      <a:pt x="36" y="58"/>
                    </a:lnTo>
                    <a:lnTo>
                      <a:pt x="38" y="57"/>
                    </a:lnTo>
                    <a:lnTo>
                      <a:pt x="40" y="57"/>
                    </a:lnTo>
                    <a:lnTo>
                      <a:pt x="43" y="56"/>
                    </a:lnTo>
                    <a:lnTo>
                      <a:pt x="46" y="56"/>
                    </a:lnTo>
                    <a:lnTo>
                      <a:pt x="48" y="54"/>
                    </a:lnTo>
                    <a:lnTo>
                      <a:pt x="50" y="54"/>
                    </a:lnTo>
                    <a:lnTo>
                      <a:pt x="54" y="53"/>
                    </a:lnTo>
                    <a:lnTo>
                      <a:pt x="56" y="52"/>
                    </a:lnTo>
                    <a:lnTo>
                      <a:pt x="57" y="52"/>
                    </a:lnTo>
                    <a:lnTo>
                      <a:pt x="58" y="50"/>
                    </a:lnTo>
                    <a:lnTo>
                      <a:pt x="60" y="46"/>
                    </a:lnTo>
                    <a:lnTo>
                      <a:pt x="63" y="44"/>
                    </a:lnTo>
                    <a:lnTo>
                      <a:pt x="65" y="42"/>
                    </a:lnTo>
                    <a:lnTo>
                      <a:pt x="67" y="40"/>
                    </a:lnTo>
                    <a:lnTo>
                      <a:pt x="69" y="36"/>
                    </a:lnTo>
                    <a:lnTo>
                      <a:pt x="69" y="34"/>
                    </a:lnTo>
                    <a:lnTo>
                      <a:pt x="69" y="33"/>
                    </a:lnTo>
                    <a:lnTo>
                      <a:pt x="72" y="33"/>
                    </a:lnTo>
                    <a:lnTo>
                      <a:pt x="75" y="33"/>
                    </a:lnTo>
                    <a:lnTo>
                      <a:pt x="77" y="31"/>
                    </a:lnTo>
                    <a:lnTo>
                      <a:pt x="79" y="31"/>
                    </a:lnTo>
                    <a:lnTo>
                      <a:pt x="81" y="28"/>
                    </a:lnTo>
                    <a:lnTo>
                      <a:pt x="82" y="27"/>
                    </a:lnTo>
                    <a:lnTo>
                      <a:pt x="84" y="27"/>
                    </a:lnTo>
                    <a:lnTo>
                      <a:pt x="83" y="28"/>
                    </a:lnTo>
                    <a:lnTo>
                      <a:pt x="84" y="29"/>
                    </a:lnTo>
                    <a:lnTo>
                      <a:pt x="84" y="29"/>
                    </a:lnTo>
                    <a:lnTo>
                      <a:pt x="84" y="29"/>
                    </a:lnTo>
                    <a:lnTo>
                      <a:pt x="85" y="28"/>
                    </a:lnTo>
                    <a:lnTo>
                      <a:pt x="86" y="27"/>
                    </a:lnTo>
                    <a:lnTo>
                      <a:pt x="89" y="27"/>
                    </a:lnTo>
                    <a:lnTo>
                      <a:pt x="90" y="27"/>
                    </a:lnTo>
                    <a:lnTo>
                      <a:pt x="91" y="24"/>
                    </a:lnTo>
                    <a:lnTo>
                      <a:pt x="90" y="24"/>
                    </a:lnTo>
                    <a:lnTo>
                      <a:pt x="89" y="23"/>
                    </a:lnTo>
                    <a:lnTo>
                      <a:pt x="89" y="22"/>
                    </a:lnTo>
                    <a:lnTo>
                      <a:pt x="92" y="20"/>
                    </a:lnTo>
                    <a:lnTo>
                      <a:pt x="92" y="20"/>
                    </a:lnTo>
                    <a:lnTo>
                      <a:pt x="96" y="19"/>
                    </a:lnTo>
                    <a:lnTo>
                      <a:pt x="97" y="17"/>
                    </a:lnTo>
                    <a:lnTo>
                      <a:pt x="97" y="16"/>
                    </a:lnTo>
                    <a:lnTo>
                      <a:pt x="99" y="14"/>
                    </a:lnTo>
                    <a:lnTo>
                      <a:pt x="100" y="11"/>
                    </a:lnTo>
                    <a:lnTo>
                      <a:pt x="102" y="8"/>
                    </a:lnTo>
                    <a:lnTo>
                      <a:pt x="105" y="6"/>
                    </a:lnTo>
                    <a:lnTo>
                      <a:pt x="106" y="2"/>
                    </a:lnTo>
                    <a:lnTo>
                      <a:pt x="109" y="0"/>
                    </a:lnTo>
                    <a:lnTo>
                      <a:pt x="109" y="2"/>
                    </a:lnTo>
                    <a:lnTo>
                      <a:pt x="108" y="6"/>
                    </a:lnTo>
                    <a:lnTo>
                      <a:pt x="110" y="3"/>
                    </a:lnTo>
                    <a:lnTo>
                      <a:pt x="111" y="0"/>
                    </a:lnTo>
                    <a:lnTo>
                      <a:pt x="114" y="2"/>
                    </a:lnTo>
                    <a:lnTo>
                      <a:pt x="116" y="5"/>
                    </a:lnTo>
                    <a:lnTo>
                      <a:pt x="118" y="5"/>
                    </a:lnTo>
                    <a:lnTo>
                      <a:pt x="120" y="8"/>
                    </a:lnTo>
                    <a:lnTo>
                      <a:pt x="120" y="9"/>
                    </a:lnTo>
                    <a:lnTo>
                      <a:pt x="120" y="12"/>
                    </a:lnTo>
                    <a:lnTo>
                      <a:pt x="119" y="15"/>
                    </a:lnTo>
                    <a:lnTo>
                      <a:pt x="123" y="15"/>
                    </a:lnTo>
                    <a:lnTo>
                      <a:pt x="125" y="12"/>
                    </a:lnTo>
                    <a:lnTo>
                      <a:pt x="126" y="16"/>
                    </a:lnTo>
                    <a:lnTo>
                      <a:pt x="124" y="18"/>
                    </a:lnTo>
                    <a:lnTo>
                      <a:pt x="126" y="18"/>
                    </a:lnTo>
                    <a:lnTo>
                      <a:pt x="130" y="16"/>
                    </a:lnTo>
                    <a:lnTo>
                      <a:pt x="130" y="16"/>
                    </a:lnTo>
                    <a:lnTo>
                      <a:pt x="133" y="18"/>
                    </a:lnTo>
                    <a:lnTo>
                      <a:pt x="135" y="19"/>
                    </a:lnTo>
                    <a:lnTo>
                      <a:pt x="137" y="22"/>
                    </a:lnTo>
                    <a:lnTo>
                      <a:pt x="140" y="22"/>
                    </a:lnTo>
                    <a:lnTo>
                      <a:pt x="142" y="23"/>
                    </a:lnTo>
                    <a:lnTo>
                      <a:pt x="140" y="26"/>
                    </a:lnTo>
                    <a:lnTo>
                      <a:pt x="137" y="27"/>
                    </a:lnTo>
                    <a:lnTo>
                      <a:pt x="135" y="27"/>
                    </a:lnTo>
                    <a:lnTo>
                      <a:pt x="132" y="28"/>
                    </a:lnTo>
                    <a:lnTo>
                      <a:pt x="130" y="27"/>
                    </a:lnTo>
                    <a:lnTo>
                      <a:pt x="126" y="28"/>
                    </a:lnTo>
                    <a:lnTo>
                      <a:pt x="128" y="32"/>
                    </a:lnTo>
                    <a:lnTo>
                      <a:pt x="131" y="33"/>
                    </a:lnTo>
                    <a:lnTo>
                      <a:pt x="132" y="36"/>
                    </a:lnTo>
                    <a:lnTo>
                      <a:pt x="130" y="36"/>
                    </a:lnTo>
                    <a:lnTo>
                      <a:pt x="127" y="36"/>
                    </a:lnTo>
                    <a:lnTo>
                      <a:pt x="125" y="37"/>
                    </a:lnTo>
                    <a:lnTo>
                      <a:pt x="122" y="36"/>
                    </a:lnTo>
                    <a:lnTo>
                      <a:pt x="119" y="36"/>
                    </a:lnTo>
                    <a:lnTo>
                      <a:pt x="119" y="39"/>
                    </a:lnTo>
                    <a:lnTo>
                      <a:pt x="117" y="40"/>
                    </a:lnTo>
                    <a:lnTo>
                      <a:pt x="119" y="42"/>
                    </a:lnTo>
                    <a:lnTo>
                      <a:pt x="122" y="45"/>
                    </a:lnTo>
                    <a:lnTo>
                      <a:pt x="119" y="46"/>
                    </a:lnTo>
                    <a:lnTo>
                      <a:pt x="117" y="46"/>
                    </a:lnTo>
                    <a:lnTo>
                      <a:pt x="114" y="48"/>
                    </a:lnTo>
                    <a:lnTo>
                      <a:pt x="116" y="50"/>
                    </a:lnTo>
                    <a:lnTo>
                      <a:pt x="117" y="53"/>
                    </a:lnTo>
                    <a:lnTo>
                      <a:pt x="117" y="53"/>
                    </a:lnTo>
                    <a:lnTo>
                      <a:pt x="119" y="53"/>
                    </a:lnTo>
                    <a:lnTo>
                      <a:pt x="119" y="54"/>
                    </a:lnTo>
                    <a:lnTo>
                      <a:pt x="118" y="54"/>
                    </a:lnTo>
                    <a:lnTo>
                      <a:pt x="118" y="56"/>
                    </a:lnTo>
                    <a:lnTo>
                      <a:pt x="119" y="57"/>
                    </a:lnTo>
                    <a:lnTo>
                      <a:pt x="122" y="58"/>
                    </a:lnTo>
                    <a:lnTo>
                      <a:pt x="123" y="60"/>
                    </a:lnTo>
                    <a:lnTo>
                      <a:pt x="125" y="63"/>
                    </a:lnTo>
                    <a:lnTo>
                      <a:pt x="124" y="66"/>
                    </a:lnTo>
                    <a:lnTo>
                      <a:pt x="123" y="68"/>
                    </a:lnTo>
                    <a:lnTo>
                      <a:pt x="125" y="71"/>
                    </a:lnTo>
                    <a:lnTo>
                      <a:pt x="131" y="76"/>
                    </a:lnTo>
                    <a:lnTo>
                      <a:pt x="133" y="77"/>
                    </a:lnTo>
                    <a:lnTo>
                      <a:pt x="135" y="80"/>
                    </a:lnTo>
                    <a:lnTo>
                      <a:pt x="139" y="82"/>
                    </a:lnTo>
                    <a:lnTo>
                      <a:pt x="139" y="82"/>
                    </a:lnTo>
                    <a:lnTo>
                      <a:pt x="137" y="83"/>
                    </a:lnTo>
                    <a:lnTo>
                      <a:pt x="135" y="85"/>
                    </a:lnTo>
                    <a:lnTo>
                      <a:pt x="132" y="85"/>
                    </a:lnTo>
                    <a:lnTo>
                      <a:pt x="130" y="85"/>
                    </a:lnTo>
                    <a:lnTo>
                      <a:pt x="127" y="84"/>
                    </a:lnTo>
                    <a:lnTo>
                      <a:pt x="124" y="82"/>
                    </a:lnTo>
                    <a:lnTo>
                      <a:pt x="124" y="85"/>
                    </a:lnTo>
                    <a:lnTo>
                      <a:pt x="122" y="85"/>
                    </a:lnTo>
                    <a:lnTo>
                      <a:pt x="120" y="87"/>
                    </a:lnTo>
                    <a:lnTo>
                      <a:pt x="118" y="91"/>
                    </a:lnTo>
                    <a:lnTo>
                      <a:pt x="118" y="93"/>
                    </a:lnTo>
                    <a:lnTo>
                      <a:pt x="118" y="95"/>
                    </a:lnTo>
                    <a:lnTo>
                      <a:pt x="117" y="97"/>
                    </a:lnTo>
                    <a:lnTo>
                      <a:pt x="117" y="100"/>
                    </a:lnTo>
                    <a:lnTo>
                      <a:pt x="117" y="103"/>
                    </a:lnTo>
                    <a:lnTo>
                      <a:pt x="119" y="102"/>
                    </a:lnTo>
                    <a:lnTo>
                      <a:pt x="118" y="104"/>
                    </a:lnTo>
                    <a:lnTo>
                      <a:pt x="117" y="106"/>
                    </a:lnTo>
                    <a:lnTo>
                      <a:pt x="116" y="108"/>
                    </a:lnTo>
                    <a:lnTo>
                      <a:pt x="115" y="106"/>
                    </a:lnTo>
                    <a:lnTo>
                      <a:pt x="115" y="108"/>
                    </a:lnTo>
                    <a:lnTo>
                      <a:pt x="113" y="110"/>
                    </a:lnTo>
                    <a:lnTo>
                      <a:pt x="110" y="112"/>
                    </a:lnTo>
                    <a:lnTo>
                      <a:pt x="108" y="112"/>
                    </a:lnTo>
                    <a:lnTo>
                      <a:pt x="107" y="114"/>
                    </a:lnTo>
                    <a:lnTo>
                      <a:pt x="105" y="116"/>
                    </a:lnTo>
                    <a:lnTo>
                      <a:pt x="103" y="119"/>
                    </a:lnTo>
                    <a:lnTo>
                      <a:pt x="100" y="120"/>
                    </a:lnTo>
                    <a:lnTo>
                      <a:pt x="103" y="120"/>
                    </a:lnTo>
                    <a:lnTo>
                      <a:pt x="103" y="123"/>
                    </a:lnTo>
                    <a:lnTo>
                      <a:pt x="102" y="126"/>
                    </a:lnTo>
                    <a:lnTo>
                      <a:pt x="105" y="127"/>
                    </a:lnTo>
                    <a:lnTo>
                      <a:pt x="105" y="127"/>
                    </a:lnTo>
                    <a:lnTo>
                      <a:pt x="105" y="130"/>
                    </a:lnTo>
                    <a:lnTo>
                      <a:pt x="102" y="130"/>
                    </a:lnTo>
                    <a:lnTo>
                      <a:pt x="102" y="133"/>
                    </a:lnTo>
                    <a:lnTo>
                      <a:pt x="102" y="136"/>
                    </a:lnTo>
                    <a:lnTo>
                      <a:pt x="99" y="137"/>
                    </a:lnTo>
                    <a:lnTo>
                      <a:pt x="100" y="139"/>
                    </a:lnTo>
                    <a:lnTo>
                      <a:pt x="98" y="142"/>
                    </a:lnTo>
                    <a:lnTo>
                      <a:pt x="97" y="145"/>
                    </a:lnTo>
                    <a:lnTo>
                      <a:pt x="92" y="147"/>
                    </a:lnTo>
                    <a:lnTo>
                      <a:pt x="89" y="148"/>
                    </a:lnTo>
                    <a:lnTo>
                      <a:pt x="86" y="149"/>
                    </a:lnTo>
                    <a:lnTo>
                      <a:pt x="83" y="151"/>
                    </a:lnTo>
                    <a:lnTo>
                      <a:pt x="81" y="152"/>
                    </a:lnTo>
                    <a:lnTo>
                      <a:pt x="79" y="152"/>
                    </a:lnTo>
                    <a:lnTo>
                      <a:pt x="79" y="149"/>
                    </a:lnTo>
                    <a:lnTo>
                      <a:pt x="79" y="147"/>
                    </a:lnTo>
                    <a:lnTo>
                      <a:pt x="77" y="144"/>
                    </a:lnTo>
                    <a:lnTo>
                      <a:pt x="77" y="142"/>
                    </a:lnTo>
                    <a:lnTo>
                      <a:pt x="76" y="142"/>
                    </a:lnTo>
                    <a:lnTo>
                      <a:pt x="74" y="143"/>
                    </a:lnTo>
                    <a:lnTo>
                      <a:pt x="74" y="143"/>
                    </a:lnTo>
                    <a:lnTo>
                      <a:pt x="75" y="139"/>
                    </a:lnTo>
                    <a:lnTo>
                      <a:pt x="74" y="140"/>
                    </a:lnTo>
                    <a:lnTo>
                      <a:pt x="72" y="139"/>
                    </a:lnTo>
                    <a:lnTo>
                      <a:pt x="71" y="142"/>
                    </a:lnTo>
                    <a:lnTo>
                      <a:pt x="67" y="143"/>
                    </a:lnTo>
                    <a:lnTo>
                      <a:pt x="65" y="142"/>
                    </a:lnTo>
                    <a:lnTo>
                      <a:pt x="65" y="139"/>
                    </a:lnTo>
                    <a:lnTo>
                      <a:pt x="62" y="140"/>
                    </a:lnTo>
                    <a:lnTo>
                      <a:pt x="59" y="139"/>
                    </a:lnTo>
                    <a:lnTo>
                      <a:pt x="57" y="137"/>
                    </a:lnTo>
                    <a:lnTo>
                      <a:pt x="56" y="139"/>
                    </a:lnTo>
                    <a:lnTo>
                      <a:pt x="52" y="142"/>
                    </a:lnTo>
                    <a:lnTo>
                      <a:pt x="50" y="143"/>
                    </a:lnTo>
                    <a:lnTo>
                      <a:pt x="48" y="142"/>
                    </a:lnTo>
                    <a:lnTo>
                      <a:pt x="46" y="142"/>
                    </a:lnTo>
                    <a:lnTo>
                      <a:pt x="42" y="143"/>
                    </a:lnTo>
                    <a:lnTo>
                      <a:pt x="40" y="144"/>
                    </a:lnTo>
                    <a:lnTo>
                      <a:pt x="40" y="142"/>
                    </a:lnTo>
                    <a:lnTo>
                      <a:pt x="40" y="139"/>
                    </a:lnTo>
                    <a:lnTo>
                      <a:pt x="40" y="136"/>
                    </a:lnTo>
                    <a:lnTo>
                      <a:pt x="39" y="134"/>
                    </a:lnTo>
                    <a:lnTo>
                      <a:pt x="38" y="136"/>
                    </a:lnTo>
                    <a:lnTo>
                      <a:pt x="36" y="136"/>
                    </a:lnTo>
                    <a:lnTo>
                      <a:pt x="32" y="136"/>
                    </a:lnTo>
                    <a:lnTo>
                      <a:pt x="30" y="138"/>
                    </a:lnTo>
                    <a:lnTo>
                      <a:pt x="26" y="138"/>
                    </a:lnTo>
                    <a:lnTo>
                      <a:pt x="28" y="135"/>
                    </a:lnTo>
                    <a:lnTo>
                      <a:pt x="28"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8" name="Freeform 224">
                <a:extLst>
                  <a:ext uri="{FF2B5EF4-FFF2-40B4-BE49-F238E27FC236}">
                    <a16:creationId xmlns:a16="http://schemas.microsoft.com/office/drawing/2014/main" id="{13AC6A2E-B527-1C4D-FFF0-7E581EDBAE1C}"/>
                  </a:ext>
                </a:extLst>
              </p:cNvPr>
              <p:cNvSpPr>
                <a:spLocks noEditPoints="1"/>
              </p:cNvSpPr>
              <p:nvPr/>
            </p:nvSpPr>
            <p:spPr bwMode="auto">
              <a:xfrm>
                <a:off x="7918450" y="4330700"/>
                <a:ext cx="393700" cy="307975"/>
              </a:xfrm>
              <a:custGeom>
                <a:avLst/>
                <a:gdLst>
                  <a:gd name="T0" fmla="*/ 120 w 248"/>
                  <a:gd name="T1" fmla="*/ 92 h 194"/>
                  <a:gd name="T2" fmla="*/ 127 w 248"/>
                  <a:gd name="T3" fmla="*/ 96 h 194"/>
                  <a:gd name="T4" fmla="*/ 129 w 248"/>
                  <a:gd name="T5" fmla="*/ 104 h 194"/>
                  <a:gd name="T6" fmla="*/ 131 w 248"/>
                  <a:gd name="T7" fmla="*/ 110 h 194"/>
                  <a:gd name="T8" fmla="*/ 133 w 248"/>
                  <a:gd name="T9" fmla="*/ 110 h 194"/>
                  <a:gd name="T10" fmla="*/ 143 w 248"/>
                  <a:gd name="T11" fmla="*/ 112 h 194"/>
                  <a:gd name="T12" fmla="*/ 149 w 248"/>
                  <a:gd name="T13" fmla="*/ 121 h 194"/>
                  <a:gd name="T14" fmla="*/ 146 w 248"/>
                  <a:gd name="T15" fmla="*/ 131 h 194"/>
                  <a:gd name="T16" fmla="*/ 146 w 248"/>
                  <a:gd name="T17" fmla="*/ 142 h 194"/>
                  <a:gd name="T18" fmla="*/ 145 w 248"/>
                  <a:gd name="T19" fmla="*/ 153 h 194"/>
                  <a:gd name="T20" fmla="*/ 140 w 248"/>
                  <a:gd name="T21" fmla="*/ 154 h 194"/>
                  <a:gd name="T22" fmla="*/ 131 w 248"/>
                  <a:gd name="T23" fmla="*/ 154 h 194"/>
                  <a:gd name="T24" fmla="*/ 128 w 248"/>
                  <a:gd name="T25" fmla="*/ 159 h 194"/>
                  <a:gd name="T26" fmla="*/ 123 w 248"/>
                  <a:gd name="T27" fmla="*/ 152 h 194"/>
                  <a:gd name="T28" fmla="*/ 115 w 248"/>
                  <a:gd name="T29" fmla="*/ 145 h 194"/>
                  <a:gd name="T30" fmla="*/ 105 w 248"/>
                  <a:gd name="T31" fmla="*/ 137 h 194"/>
                  <a:gd name="T32" fmla="*/ 97 w 248"/>
                  <a:gd name="T33" fmla="*/ 128 h 194"/>
                  <a:gd name="T34" fmla="*/ 86 w 248"/>
                  <a:gd name="T35" fmla="*/ 120 h 194"/>
                  <a:gd name="T36" fmla="*/ 80 w 248"/>
                  <a:gd name="T37" fmla="*/ 111 h 194"/>
                  <a:gd name="T38" fmla="*/ 75 w 248"/>
                  <a:gd name="T39" fmla="*/ 100 h 194"/>
                  <a:gd name="T40" fmla="*/ 71 w 248"/>
                  <a:gd name="T41" fmla="*/ 90 h 194"/>
                  <a:gd name="T42" fmla="*/ 63 w 248"/>
                  <a:gd name="T43" fmla="*/ 81 h 194"/>
                  <a:gd name="T44" fmla="*/ 55 w 248"/>
                  <a:gd name="T45" fmla="*/ 74 h 194"/>
                  <a:gd name="T46" fmla="*/ 51 w 248"/>
                  <a:gd name="T47" fmla="*/ 64 h 194"/>
                  <a:gd name="T48" fmla="*/ 45 w 248"/>
                  <a:gd name="T49" fmla="*/ 50 h 194"/>
                  <a:gd name="T50" fmla="*/ 37 w 248"/>
                  <a:gd name="T51" fmla="*/ 47 h 194"/>
                  <a:gd name="T52" fmla="*/ 31 w 248"/>
                  <a:gd name="T53" fmla="*/ 38 h 194"/>
                  <a:gd name="T54" fmla="*/ 23 w 248"/>
                  <a:gd name="T55" fmla="*/ 27 h 194"/>
                  <a:gd name="T56" fmla="*/ 13 w 248"/>
                  <a:gd name="T57" fmla="*/ 21 h 194"/>
                  <a:gd name="T58" fmla="*/ 3 w 248"/>
                  <a:gd name="T59" fmla="*/ 10 h 194"/>
                  <a:gd name="T60" fmla="*/ 6 w 248"/>
                  <a:gd name="T61" fmla="*/ 0 h 194"/>
                  <a:gd name="T62" fmla="*/ 17 w 248"/>
                  <a:gd name="T63" fmla="*/ 6 h 194"/>
                  <a:gd name="T64" fmla="*/ 28 w 248"/>
                  <a:gd name="T65" fmla="*/ 7 h 194"/>
                  <a:gd name="T66" fmla="*/ 37 w 248"/>
                  <a:gd name="T67" fmla="*/ 10 h 194"/>
                  <a:gd name="T68" fmla="*/ 42 w 248"/>
                  <a:gd name="T69" fmla="*/ 19 h 194"/>
                  <a:gd name="T70" fmla="*/ 52 w 248"/>
                  <a:gd name="T71" fmla="*/ 27 h 194"/>
                  <a:gd name="T72" fmla="*/ 63 w 248"/>
                  <a:gd name="T73" fmla="*/ 35 h 194"/>
                  <a:gd name="T74" fmla="*/ 66 w 248"/>
                  <a:gd name="T75" fmla="*/ 41 h 194"/>
                  <a:gd name="T76" fmla="*/ 72 w 248"/>
                  <a:gd name="T77" fmla="*/ 45 h 194"/>
                  <a:gd name="T78" fmla="*/ 79 w 248"/>
                  <a:gd name="T79" fmla="*/ 52 h 194"/>
                  <a:gd name="T80" fmla="*/ 82 w 248"/>
                  <a:gd name="T81" fmla="*/ 49 h 194"/>
                  <a:gd name="T82" fmla="*/ 91 w 248"/>
                  <a:gd name="T83" fmla="*/ 56 h 194"/>
                  <a:gd name="T84" fmla="*/ 97 w 248"/>
                  <a:gd name="T85" fmla="*/ 64 h 194"/>
                  <a:gd name="T86" fmla="*/ 107 w 248"/>
                  <a:gd name="T87" fmla="*/ 68 h 194"/>
                  <a:gd name="T88" fmla="*/ 100 w 248"/>
                  <a:gd name="T89" fmla="*/ 75 h 194"/>
                  <a:gd name="T90" fmla="*/ 107 w 248"/>
                  <a:gd name="T91" fmla="*/ 73 h 194"/>
                  <a:gd name="T92" fmla="*/ 118 w 248"/>
                  <a:gd name="T93" fmla="*/ 76 h 194"/>
                  <a:gd name="T94" fmla="*/ 111 w 248"/>
                  <a:gd name="T95" fmla="*/ 83 h 194"/>
                  <a:gd name="T96" fmla="*/ 112 w 248"/>
                  <a:gd name="T97" fmla="*/ 85 h 194"/>
                  <a:gd name="T98" fmla="*/ 248 w 248"/>
                  <a:gd name="T9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8" h="194">
                    <a:moveTo>
                      <a:pt x="112" y="88"/>
                    </a:moveTo>
                    <a:lnTo>
                      <a:pt x="116" y="90"/>
                    </a:lnTo>
                    <a:lnTo>
                      <a:pt x="118" y="92"/>
                    </a:lnTo>
                    <a:lnTo>
                      <a:pt x="120" y="92"/>
                    </a:lnTo>
                    <a:lnTo>
                      <a:pt x="124" y="92"/>
                    </a:lnTo>
                    <a:lnTo>
                      <a:pt x="124" y="92"/>
                    </a:lnTo>
                    <a:lnTo>
                      <a:pt x="126" y="93"/>
                    </a:lnTo>
                    <a:lnTo>
                      <a:pt x="127" y="96"/>
                    </a:lnTo>
                    <a:lnTo>
                      <a:pt x="127" y="99"/>
                    </a:lnTo>
                    <a:lnTo>
                      <a:pt x="128" y="101"/>
                    </a:lnTo>
                    <a:lnTo>
                      <a:pt x="128" y="102"/>
                    </a:lnTo>
                    <a:lnTo>
                      <a:pt x="129" y="104"/>
                    </a:lnTo>
                    <a:lnTo>
                      <a:pt x="133" y="105"/>
                    </a:lnTo>
                    <a:lnTo>
                      <a:pt x="132" y="108"/>
                    </a:lnTo>
                    <a:lnTo>
                      <a:pt x="129" y="110"/>
                    </a:lnTo>
                    <a:lnTo>
                      <a:pt x="131" y="110"/>
                    </a:lnTo>
                    <a:lnTo>
                      <a:pt x="131" y="113"/>
                    </a:lnTo>
                    <a:lnTo>
                      <a:pt x="128" y="116"/>
                    </a:lnTo>
                    <a:lnTo>
                      <a:pt x="131" y="112"/>
                    </a:lnTo>
                    <a:lnTo>
                      <a:pt x="133" y="110"/>
                    </a:lnTo>
                    <a:lnTo>
                      <a:pt x="135" y="110"/>
                    </a:lnTo>
                    <a:lnTo>
                      <a:pt x="137" y="110"/>
                    </a:lnTo>
                    <a:lnTo>
                      <a:pt x="140" y="110"/>
                    </a:lnTo>
                    <a:lnTo>
                      <a:pt x="143" y="112"/>
                    </a:lnTo>
                    <a:lnTo>
                      <a:pt x="145" y="115"/>
                    </a:lnTo>
                    <a:lnTo>
                      <a:pt x="145" y="118"/>
                    </a:lnTo>
                    <a:lnTo>
                      <a:pt x="149" y="119"/>
                    </a:lnTo>
                    <a:lnTo>
                      <a:pt x="149" y="121"/>
                    </a:lnTo>
                    <a:lnTo>
                      <a:pt x="148" y="124"/>
                    </a:lnTo>
                    <a:lnTo>
                      <a:pt x="146" y="127"/>
                    </a:lnTo>
                    <a:lnTo>
                      <a:pt x="146" y="129"/>
                    </a:lnTo>
                    <a:lnTo>
                      <a:pt x="146" y="131"/>
                    </a:lnTo>
                    <a:lnTo>
                      <a:pt x="145" y="135"/>
                    </a:lnTo>
                    <a:lnTo>
                      <a:pt x="145" y="137"/>
                    </a:lnTo>
                    <a:lnTo>
                      <a:pt x="146" y="139"/>
                    </a:lnTo>
                    <a:lnTo>
                      <a:pt x="146" y="142"/>
                    </a:lnTo>
                    <a:lnTo>
                      <a:pt x="146" y="145"/>
                    </a:lnTo>
                    <a:lnTo>
                      <a:pt x="146" y="147"/>
                    </a:lnTo>
                    <a:lnTo>
                      <a:pt x="146" y="150"/>
                    </a:lnTo>
                    <a:lnTo>
                      <a:pt x="145" y="153"/>
                    </a:lnTo>
                    <a:lnTo>
                      <a:pt x="145" y="155"/>
                    </a:lnTo>
                    <a:lnTo>
                      <a:pt x="144" y="159"/>
                    </a:lnTo>
                    <a:lnTo>
                      <a:pt x="142" y="155"/>
                    </a:lnTo>
                    <a:lnTo>
                      <a:pt x="140" y="154"/>
                    </a:lnTo>
                    <a:lnTo>
                      <a:pt x="137" y="154"/>
                    </a:lnTo>
                    <a:lnTo>
                      <a:pt x="136" y="156"/>
                    </a:lnTo>
                    <a:lnTo>
                      <a:pt x="133" y="155"/>
                    </a:lnTo>
                    <a:lnTo>
                      <a:pt x="131" y="154"/>
                    </a:lnTo>
                    <a:lnTo>
                      <a:pt x="128" y="154"/>
                    </a:lnTo>
                    <a:lnTo>
                      <a:pt x="129" y="156"/>
                    </a:lnTo>
                    <a:lnTo>
                      <a:pt x="128" y="159"/>
                    </a:lnTo>
                    <a:lnTo>
                      <a:pt x="128" y="159"/>
                    </a:lnTo>
                    <a:lnTo>
                      <a:pt x="127" y="158"/>
                    </a:lnTo>
                    <a:lnTo>
                      <a:pt x="125" y="155"/>
                    </a:lnTo>
                    <a:lnTo>
                      <a:pt x="125" y="154"/>
                    </a:lnTo>
                    <a:lnTo>
                      <a:pt x="123" y="152"/>
                    </a:lnTo>
                    <a:lnTo>
                      <a:pt x="120" y="150"/>
                    </a:lnTo>
                    <a:lnTo>
                      <a:pt x="118" y="146"/>
                    </a:lnTo>
                    <a:lnTo>
                      <a:pt x="116" y="145"/>
                    </a:lnTo>
                    <a:lnTo>
                      <a:pt x="115" y="145"/>
                    </a:lnTo>
                    <a:lnTo>
                      <a:pt x="112" y="143"/>
                    </a:lnTo>
                    <a:lnTo>
                      <a:pt x="109" y="142"/>
                    </a:lnTo>
                    <a:lnTo>
                      <a:pt x="107" y="139"/>
                    </a:lnTo>
                    <a:lnTo>
                      <a:pt x="105" y="137"/>
                    </a:lnTo>
                    <a:lnTo>
                      <a:pt x="101" y="135"/>
                    </a:lnTo>
                    <a:lnTo>
                      <a:pt x="99" y="133"/>
                    </a:lnTo>
                    <a:lnTo>
                      <a:pt x="98" y="130"/>
                    </a:lnTo>
                    <a:lnTo>
                      <a:pt x="97" y="128"/>
                    </a:lnTo>
                    <a:lnTo>
                      <a:pt x="94" y="126"/>
                    </a:lnTo>
                    <a:lnTo>
                      <a:pt x="91" y="124"/>
                    </a:lnTo>
                    <a:lnTo>
                      <a:pt x="89" y="122"/>
                    </a:lnTo>
                    <a:lnTo>
                      <a:pt x="86" y="120"/>
                    </a:lnTo>
                    <a:lnTo>
                      <a:pt x="85" y="117"/>
                    </a:lnTo>
                    <a:lnTo>
                      <a:pt x="83" y="115"/>
                    </a:lnTo>
                    <a:lnTo>
                      <a:pt x="80" y="111"/>
                    </a:lnTo>
                    <a:lnTo>
                      <a:pt x="80" y="111"/>
                    </a:lnTo>
                    <a:lnTo>
                      <a:pt x="79" y="108"/>
                    </a:lnTo>
                    <a:lnTo>
                      <a:pt x="79" y="105"/>
                    </a:lnTo>
                    <a:lnTo>
                      <a:pt x="77" y="102"/>
                    </a:lnTo>
                    <a:lnTo>
                      <a:pt x="75" y="100"/>
                    </a:lnTo>
                    <a:lnTo>
                      <a:pt x="74" y="98"/>
                    </a:lnTo>
                    <a:lnTo>
                      <a:pt x="72" y="94"/>
                    </a:lnTo>
                    <a:lnTo>
                      <a:pt x="72" y="92"/>
                    </a:lnTo>
                    <a:lnTo>
                      <a:pt x="71" y="90"/>
                    </a:lnTo>
                    <a:lnTo>
                      <a:pt x="68" y="86"/>
                    </a:lnTo>
                    <a:lnTo>
                      <a:pt x="66" y="84"/>
                    </a:lnTo>
                    <a:lnTo>
                      <a:pt x="65" y="83"/>
                    </a:lnTo>
                    <a:lnTo>
                      <a:pt x="63" y="81"/>
                    </a:lnTo>
                    <a:lnTo>
                      <a:pt x="63" y="77"/>
                    </a:lnTo>
                    <a:lnTo>
                      <a:pt x="59" y="76"/>
                    </a:lnTo>
                    <a:lnTo>
                      <a:pt x="57" y="75"/>
                    </a:lnTo>
                    <a:lnTo>
                      <a:pt x="55" y="74"/>
                    </a:lnTo>
                    <a:lnTo>
                      <a:pt x="54" y="71"/>
                    </a:lnTo>
                    <a:lnTo>
                      <a:pt x="54" y="69"/>
                    </a:lnTo>
                    <a:lnTo>
                      <a:pt x="52" y="66"/>
                    </a:lnTo>
                    <a:lnTo>
                      <a:pt x="51" y="64"/>
                    </a:lnTo>
                    <a:lnTo>
                      <a:pt x="50" y="61"/>
                    </a:lnTo>
                    <a:lnTo>
                      <a:pt x="49" y="58"/>
                    </a:lnTo>
                    <a:lnTo>
                      <a:pt x="50" y="56"/>
                    </a:lnTo>
                    <a:lnTo>
                      <a:pt x="45" y="50"/>
                    </a:lnTo>
                    <a:lnTo>
                      <a:pt x="42" y="49"/>
                    </a:lnTo>
                    <a:lnTo>
                      <a:pt x="39" y="48"/>
                    </a:lnTo>
                    <a:lnTo>
                      <a:pt x="39" y="47"/>
                    </a:lnTo>
                    <a:lnTo>
                      <a:pt x="37" y="47"/>
                    </a:lnTo>
                    <a:lnTo>
                      <a:pt x="34" y="44"/>
                    </a:lnTo>
                    <a:lnTo>
                      <a:pt x="34" y="41"/>
                    </a:lnTo>
                    <a:lnTo>
                      <a:pt x="33" y="39"/>
                    </a:lnTo>
                    <a:lnTo>
                      <a:pt x="31" y="38"/>
                    </a:lnTo>
                    <a:lnTo>
                      <a:pt x="29" y="35"/>
                    </a:lnTo>
                    <a:lnTo>
                      <a:pt x="26" y="32"/>
                    </a:lnTo>
                    <a:lnTo>
                      <a:pt x="25" y="30"/>
                    </a:lnTo>
                    <a:lnTo>
                      <a:pt x="23" y="27"/>
                    </a:lnTo>
                    <a:lnTo>
                      <a:pt x="20" y="26"/>
                    </a:lnTo>
                    <a:lnTo>
                      <a:pt x="17" y="25"/>
                    </a:lnTo>
                    <a:lnTo>
                      <a:pt x="15" y="23"/>
                    </a:lnTo>
                    <a:lnTo>
                      <a:pt x="13" y="21"/>
                    </a:lnTo>
                    <a:lnTo>
                      <a:pt x="9" y="18"/>
                    </a:lnTo>
                    <a:lnTo>
                      <a:pt x="7" y="15"/>
                    </a:lnTo>
                    <a:lnTo>
                      <a:pt x="5" y="13"/>
                    </a:lnTo>
                    <a:lnTo>
                      <a:pt x="3" y="10"/>
                    </a:lnTo>
                    <a:lnTo>
                      <a:pt x="0" y="5"/>
                    </a:lnTo>
                    <a:lnTo>
                      <a:pt x="0" y="2"/>
                    </a:lnTo>
                    <a:lnTo>
                      <a:pt x="4" y="0"/>
                    </a:lnTo>
                    <a:lnTo>
                      <a:pt x="6" y="0"/>
                    </a:lnTo>
                    <a:lnTo>
                      <a:pt x="8" y="1"/>
                    </a:lnTo>
                    <a:lnTo>
                      <a:pt x="12" y="5"/>
                    </a:lnTo>
                    <a:lnTo>
                      <a:pt x="14" y="6"/>
                    </a:lnTo>
                    <a:lnTo>
                      <a:pt x="17" y="6"/>
                    </a:lnTo>
                    <a:lnTo>
                      <a:pt x="20" y="6"/>
                    </a:lnTo>
                    <a:lnTo>
                      <a:pt x="22" y="6"/>
                    </a:lnTo>
                    <a:lnTo>
                      <a:pt x="25" y="6"/>
                    </a:lnTo>
                    <a:lnTo>
                      <a:pt x="28" y="7"/>
                    </a:lnTo>
                    <a:lnTo>
                      <a:pt x="31" y="6"/>
                    </a:lnTo>
                    <a:lnTo>
                      <a:pt x="32" y="6"/>
                    </a:lnTo>
                    <a:lnTo>
                      <a:pt x="34" y="8"/>
                    </a:lnTo>
                    <a:lnTo>
                      <a:pt x="37" y="10"/>
                    </a:lnTo>
                    <a:lnTo>
                      <a:pt x="38" y="13"/>
                    </a:lnTo>
                    <a:lnTo>
                      <a:pt x="41" y="16"/>
                    </a:lnTo>
                    <a:lnTo>
                      <a:pt x="42" y="18"/>
                    </a:lnTo>
                    <a:lnTo>
                      <a:pt x="42" y="19"/>
                    </a:lnTo>
                    <a:lnTo>
                      <a:pt x="45" y="22"/>
                    </a:lnTo>
                    <a:lnTo>
                      <a:pt x="47" y="24"/>
                    </a:lnTo>
                    <a:lnTo>
                      <a:pt x="49" y="26"/>
                    </a:lnTo>
                    <a:lnTo>
                      <a:pt x="52" y="27"/>
                    </a:lnTo>
                    <a:lnTo>
                      <a:pt x="55" y="28"/>
                    </a:lnTo>
                    <a:lnTo>
                      <a:pt x="58" y="31"/>
                    </a:lnTo>
                    <a:lnTo>
                      <a:pt x="60" y="33"/>
                    </a:lnTo>
                    <a:lnTo>
                      <a:pt x="63" y="35"/>
                    </a:lnTo>
                    <a:lnTo>
                      <a:pt x="64" y="36"/>
                    </a:lnTo>
                    <a:lnTo>
                      <a:pt x="66" y="39"/>
                    </a:lnTo>
                    <a:lnTo>
                      <a:pt x="66" y="42"/>
                    </a:lnTo>
                    <a:lnTo>
                      <a:pt x="66" y="41"/>
                    </a:lnTo>
                    <a:lnTo>
                      <a:pt x="67" y="43"/>
                    </a:lnTo>
                    <a:lnTo>
                      <a:pt x="68" y="43"/>
                    </a:lnTo>
                    <a:lnTo>
                      <a:pt x="71" y="43"/>
                    </a:lnTo>
                    <a:lnTo>
                      <a:pt x="72" y="45"/>
                    </a:lnTo>
                    <a:lnTo>
                      <a:pt x="74" y="48"/>
                    </a:lnTo>
                    <a:lnTo>
                      <a:pt x="76" y="50"/>
                    </a:lnTo>
                    <a:lnTo>
                      <a:pt x="79" y="52"/>
                    </a:lnTo>
                    <a:lnTo>
                      <a:pt x="79" y="52"/>
                    </a:lnTo>
                    <a:lnTo>
                      <a:pt x="79" y="50"/>
                    </a:lnTo>
                    <a:lnTo>
                      <a:pt x="77" y="48"/>
                    </a:lnTo>
                    <a:lnTo>
                      <a:pt x="80" y="47"/>
                    </a:lnTo>
                    <a:lnTo>
                      <a:pt x="82" y="49"/>
                    </a:lnTo>
                    <a:lnTo>
                      <a:pt x="84" y="51"/>
                    </a:lnTo>
                    <a:lnTo>
                      <a:pt x="85" y="54"/>
                    </a:lnTo>
                    <a:lnTo>
                      <a:pt x="88" y="54"/>
                    </a:lnTo>
                    <a:lnTo>
                      <a:pt x="91" y="56"/>
                    </a:lnTo>
                    <a:lnTo>
                      <a:pt x="93" y="58"/>
                    </a:lnTo>
                    <a:lnTo>
                      <a:pt x="96" y="60"/>
                    </a:lnTo>
                    <a:lnTo>
                      <a:pt x="96" y="61"/>
                    </a:lnTo>
                    <a:lnTo>
                      <a:pt x="97" y="64"/>
                    </a:lnTo>
                    <a:lnTo>
                      <a:pt x="99" y="66"/>
                    </a:lnTo>
                    <a:lnTo>
                      <a:pt x="101" y="68"/>
                    </a:lnTo>
                    <a:lnTo>
                      <a:pt x="103" y="68"/>
                    </a:lnTo>
                    <a:lnTo>
                      <a:pt x="107" y="68"/>
                    </a:lnTo>
                    <a:lnTo>
                      <a:pt x="108" y="71"/>
                    </a:lnTo>
                    <a:lnTo>
                      <a:pt x="106" y="73"/>
                    </a:lnTo>
                    <a:lnTo>
                      <a:pt x="103" y="74"/>
                    </a:lnTo>
                    <a:lnTo>
                      <a:pt x="100" y="75"/>
                    </a:lnTo>
                    <a:lnTo>
                      <a:pt x="99" y="74"/>
                    </a:lnTo>
                    <a:lnTo>
                      <a:pt x="102" y="75"/>
                    </a:lnTo>
                    <a:lnTo>
                      <a:pt x="105" y="74"/>
                    </a:lnTo>
                    <a:lnTo>
                      <a:pt x="107" y="73"/>
                    </a:lnTo>
                    <a:lnTo>
                      <a:pt x="110" y="71"/>
                    </a:lnTo>
                    <a:lnTo>
                      <a:pt x="112" y="70"/>
                    </a:lnTo>
                    <a:lnTo>
                      <a:pt x="115" y="74"/>
                    </a:lnTo>
                    <a:lnTo>
                      <a:pt x="118" y="76"/>
                    </a:lnTo>
                    <a:lnTo>
                      <a:pt x="118" y="77"/>
                    </a:lnTo>
                    <a:lnTo>
                      <a:pt x="117" y="78"/>
                    </a:lnTo>
                    <a:lnTo>
                      <a:pt x="114" y="81"/>
                    </a:lnTo>
                    <a:lnTo>
                      <a:pt x="111" y="83"/>
                    </a:lnTo>
                    <a:lnTo>
                      <a:pt x="112" y="83"/>
                    </a:lnTo>
                    <a:lnTo>
                      <a:pt x="115" y="84"/>
                    </a:lnTo>
                    <a:lnTo>
                      <a:pt x="112" y="84"/>
                    </a:lnTo>
                    <a:lnTo>
                      <a:pt x="112" y="85"/>
                    </a:lnTo>
                    <a:lnTo>
                      <a:pt x="112" y="88"/>
                    </a:lnTo>
                    <a:lnTo>
                      <a:pt x="112" y="88"/>
                    </a:lnTo>
                    <a:close/>
                    <a:moveTo>
                      <a:pt x="248" y="194"/>
                    </a:moveTo>
                    <a:lnTo>
                      <a:pt x="248" y="194"/>
                    </a:lnTo>
                    <a:lnTo>
                      <a:pt x="248" y="194"/>
                    </a:lnTo>
                    <a:lnTo>
                      <a:pt x="248"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29" name="Freeform 225">
                <a:extLst>
                  <a:ext uri="{FF2B5EF4-FFF2-40B4-BE49-F238E27FC236}">
                    <a16:creationId xmlns:a16="http://schemas.microsoft.com/office/drawing/2014/main" id="{137905A0-5CCA-879A-1BFA-41F816C14E5B}"/>
                  </a:ext>
                </a:extLst>
              </p:cNvPr>
              <p:cNvSpPr>
                <a:spLocks noEditPoints="1"/>
              </p:cNvSpPr>
              <p:nvPr/>
            </p:nvSpPr>
            <p:spPr bwMode="auto">
              <a:xfrm>
                <a:off x="4044950" y="2201863"/>
                <a:ext cx="2239962" cy="3606800"/>
              </a:xfrm>
              <a:custGeom>
                <a:avLst/>
                <a:gdLst>
                  <a:gd name="T0" fmla="*/ 178 w 1411"/>
                  <a:gd name="T1" fmla="*/ 2262 h 2272"/>
                  <a:gd name="T2" fmla="*/ 312 w 1411"/>
                  <a:gd name="T3" fmla="*/ 2194 h 2272"/>
                  <a:gd name="T4" fmla="*/ 230 w 1411"/>
                  <a:gd name="T5" fmla="*/ 2250 h 2272"/>
                  <a:gd name="T6" fmla="*/ 185 w 1411"/>
                  <a:gd name="T7" fmla="*/ 2212 h 2272"/>
                  <a:gd name="T8" fmla="*/ 177 w 1411"/>
                  <a:gd name="T9" fmla="*/ 2239 h 2272"/>
                  <a:gd name="T10" fmla="*/ 161 w 1411"/>
                  <a:gd name="T11" fmla="*/ 2248 h 2272"/>
                  <a:gd name="T12" fmla="*/ 188 w 1411"/>
                  <a:gd name="T13" fmla="*/ 2257 h 2272"/>
                  <a:gd name="T14" fmla="*/ 244 w 1411"/>
                  <a:gd name="T15" fmla="*/ 2253 h 2272"/>
                  <a:gd name="T16" fmla="*/ 587 w 1411"/>
                  <a:gd name="T17" fmla="*/ 1458 h 2272"/>
                  <a:gd name="T18" fmla="*/ 525 w 1411"/>
                  <a:gd name="T19" fmla="*/ 1461 h 2272"/>
                  <a:gd name="T20" fmla="*/ 478 w 1411"/>
                  <a:gd name="T21" fmla="*/ 1428 h 2272"/>
                  <a:gd name="T22" fmla="*/ 441 w 1411"/>
                  <a:gd name="T23" fmla="*/ 1439 h 2272"/>
                  <a:gd name="T24" fmla="*/ 452 w 1411"/>
                  <a:gd name="T25" fmla="*/ 1401 h 2272"/>
                  <a:gd name="T26" fmla="*/ 424 w 1411"/>
                  <a:gd name="T27" fmla="*/ 1354 h 2272"/>
                  <a:gd name="T28" fmla="*/ 356 w 1411"/>
                  <a:gd name="T29" fmla="*/ 1337 h 2272"/>
                  <a:gd name="T30" fmla="*/ 322 w 1411"/>
                  <a:gd name="T31" fmla="*/ 1307 h 2272"/>
                  <a:gd name="T32" fmla="*/ 285 w 1411"/>
                  <a:gd name="T33" fmla="*/ 1287 h 2272"/>
                  <a:gd name="T34" fmla="*/ 261 w 1411"/>
                  <a:gd name="T35" fmla="*/ 1272 h 2272"/>
                  <a:gd name="T36" fmla="*/ 175 w 1411"/>
                  <a:gd name="T37" fmla="*/ 1252 h 2272"/>
                  <a:gd name="T38" fmla="*/ 151 w 1411"/>
                  <a:gd name="T39" fmla="*/ 1281 h 2272"/>
                  <a:gd name="T40" fmla="*/ 119 w 1411"/>
                  <a:gd name="T41" fmla="*/ 1269 h 2272"/>
                  <a:gd name="T42" fmla="*/ 84 w 1411"/>
                  <a:gd name="T43" fmla="*/ 1307 h 2272"/>
                  <a:gd name="T44" fmla="*/ 17 w 1411"/>
                  <a:gd name="T45" fmla="*/ 1296 h 2272"/>
                  <a:gd name="T46" fmla="*/ 12 w 1411"/>
                  <a:gd name="T47" fmla="*/ 1306 h 2272"/>
                  <a:gd name="T48" fmla="*/ 60 w 1411"/>
                  <a:gd name="T49" fmla="*/ 1299 h 2272"/>
                  <a:gd name="T50" fmla="*/ 76 w 1411"/>
                  <a:gd name="T51" fmla="*/ 1364 h 2272"/>
                  <a:gd name="T52" fmla="*/ 43 w 1411"/>
                  <a:gd name="T53" fmla="*/ 1407 h 2272"/>
                  <a:gd name="T54" fmla="*/ 41 w 1411"/>
                  <a:gd name="T55" fmla="*/ 1452 h 2272"/>
                  <a:gd name="T56" fmla="*/ 29 w 1411"/>
                  <a:gd name="T57" fmla="*/ 1496 h 2272"/>
                  <a:gd name="T58" fmla="*/ 85 w 1411"/>
                  <a:gd name="T59" fmla="*/ 1590 h 2272"/>
                  <a:gd name="T60" fmla="*/ 159 w 1411"/>
                  <a:gd name="T61" fmla="*/ 1660 h 2272"/>
                  <a:gd name="T62" fmla="*/ 169 w 1411"/>
                  <a:gd name="T63" fmla="*/ 1776 h 2272"/>
                  <a:gd name="T64" fmla="*/ 155 w 1411"/>
                  <a:gd name="T65" fmla="*/ 1888 h 2272"/>
                  <a:gd name="T66" fmla="*/ 131 w 1411"/>
                  <a:gd name="T67" fmla="*/ 1966 h 2272"/>
                  <a:gd name="T68" fmla="*/ 142 w 1411"/>
                  <a:gd name="T69" fmla="*/ 2025 h 2272"/>
                  <a:gd name="T70" fmla="*/ 141 w 1411"/>
                  <a:gd name="T71" fmla="*/ 2075 h 2272"/>
                  <a:gd name="T72" fmla="*/ 125 w 1411"/>
                  <a:gd name="T73" fmla="*/ 2102 h 2272"/>
                  <a:gd name="T74" fmla="*/ 109 w 1411"/>
                  <a:gd name="T75" fmla="*/ 2108 h 2272"/>
                  <a:gd name="T76" fmla="*/ 131 w 1411"/>
                  <a:gd name="T77" fmla="*/ 2134 h 2272"/>
                  <a:gd name="T78" fmla="*/ 125 w 1411"/>
                  <a:gd name="T79" fmla="*/ 2154 h 2272"/>
                  <a:gd name="T80" fmla="*/ 121 w 1411"/>
                  <a:gd name="T81" fmla="*/ 2178 h 2272"/>
                  <a:gd name="T82" fmla="*/ 133 w 1411"/>
                  <a:gd name="T83" fmla="*/ 2203 h 2272"/>
                  <a:gd name="T84" fmla="*/ 128 w 1411"/>
                  <a:gd name="T85" fmla="*/ 2205 h 2272"/>
                  <a:gd name="T86" fmla="*/ 144 w 1411"/>
                  <a:gd name="T87" fmla="*/ 2219 h 2272"/>
                  <a:gd name="T88" fmla="*/ 153 w 1411"/>
                  <a:gd name="T89" fmla="*/ 2230 h 2272"/>
                  <a:gd name="T90" fmla="*/ 198 w 1411"/>
                  <a:gd name="T91" fmla="*/ 2209 h 2272"/>
                  <a:gd name="T92" fmla="*/ 192 w 1411"/>
                  <a:gd name="T93" fmla="*/ 2167 h 2272"/>
                  <a:gd name="T94" fmla="*/ 230 w 1411"/>
                  <a:gd name="T95" fmla="*/ 2128 h 2272"/>
                  <a:gd name="T96" fmla="*/ 243 w 1411"/>
                  <a:gd name="T97" fmla="*/ 2067 h 2272"/>
                  <a:gd name="T98" fmla="*/ 249 w 1411"/>
                  <a:gd name="T99" fmla="*/ 2033 h 2272"/>
                  <a:gd name="T100" fmla="*/ 288 w 1411"/>
                  <a:gd name="T101" fmla="*/ 1981 h 2272"/>
                  <a:gd name="T102" fmla="*/ 345 w 1411"/>
                  <a:gd name="T103" fmla="*/ 1916 h 2272"/>
                  <a:gd name="T104" fmla="*/ 347 w 1411"/>
                  <a:gd name="T105" fmla="*/ 1910 h 2272"/>
                  <a:gd name="T106" fmla="*/ 427 w 1411"/>
                  <a:gd name="T107" fmla="*/ 1861 h 2272"/>
                  <a:gd name="T108" fmla="*/ 442 w 1411"/>
                  <a:gd name="T109" fmla="*/ 1858 h 2272"/>
                  <a:gd name="T110" fmla="*/ 478 w 1411"/>
                  <a:gd name="T111" fmla="*/ 1768 h 2272"/>
                  <a:gd name="T112" fmla="*/ 545 w 1411"/>
                  <a:gd name="T113" fmla="*/ 1739 h 2272"/>
                  <a:gd name="T114" fmla="*/ 593 w 1411"/>
                  <a:gd name="T115" fmla="*/ 1685 h 2272"/>
                  <a:gd name="T116" fmla="*/ 623 w 1411"/>
                  <a:gd name="T117" fmla="*/ 1577 h 2272"/>
                  <a:gd name="T118" fmla="*/ 195 w 1411"/>
                  <a:gd name="T119" fmla="*/ 1646 h 2272"/>
                  <a:gd name="T120" fmla="*/ 196 w 1411"/>
                  <a:gd name="T121" fmla="*/ 1642 h 2272"/>
                  <a:gd name="T122" fmla="*/ 329 w 1411"/>
                  <a:gd name="T123" fmla="*/ 2200 h 2272"/>
                  <a:gd name="T124" fmla="*/ 472 w 1411"/>
                  <a:gd name="T125" fmla="*/ 1422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1" h="2272">
                    <a:moveTo>
                      <a:pt x="1407" y="1"/>
                    </a:moveTo>
                    <a:lnTo>
                      <a:pt x="1411" y="1"/>
                    </a:lnTo>
                    <a:lnTo>
                      <a:pt x="1411" y="0"/>
                    </a:lnTo>
                    <a:lnTo>
                      <a:pt x="1407" y="1"/>
                    </a:lnTo>
                    <a:close/>
                    <a:moveTo>
                      <a:pt x="202" y="2266"/>
                    </a:moveTo>
                    <a:lnTo>
                      <a:pt x="200" y="2265"/>
                    </a:lnTo>
                    <a:lnTo>
                      <a:pt x="196" y="2264"/>
                    </a:lnTo>
                    <a:lnTo>
                      <a:pt x="200" y="2264"/>
                    </a:lnTo>
                    <a:lnTo>
                      <a:pt x="202" y="2264"/>
                    </a:lnTo>
                    <a:lnTo>
                      <a:pt x="200" y="2262"/>
                    </a:lnTo>
                    <a:lnTo>
                      <a:pt x="196" y="2262"/>
                    </a:lnTo>
                    <a:lnTo>
                      <a:pt x="194" y="2262"/>
                    </a:lnTo>
                    <a:lnTo>
                      <a:pt x="191" y="2260"/>
                    </a:lnTo>
                    <a:lnTo>
                      <a:pt x="194" y="2261"/>
                    </a:lnTo>
                    <a:lnTo>
                      <a:pt x="196" y="2262"/>
                    </a:lnTo>
                    <a:lnTo>
                      <a:pt x="200" y="2261"/>
                    </a:lnTo>
                    <a:lnTo>
                      <a:pt x="200" y="2258"/>
                    </a:lnTo>
                    <a:lnTo>
                      <a:pt x="198" y="2257"/>
                    </a:lnTo>
                    <a:lnTo>
                      <a:pt x="194" y="2258"/>
                    </a:lnTo>
                    <a:lnTo>
                      <a:pt x="192" y="2258"/>
                    </a:lnTo>
                    <a:lnTo>
                      <a:pt x="188" y="2260"/>
                    </a:lnTo>
                    <a:lnTo>
                      <a:pt x="186" y="2260"/>
                    </a:lnTo>
                    <a:lnTo>
                      <a:pt x="184" y="2260"/>
                    </a:lnTo>
                    <a:lnTo>
                      <a:pt x="181" y="2260"/>
                    </a:lnTo>
                    <a:lnTo>
                      <a:pt x="178" y="2262"/>
                    </a:lnTo>
                    <a:lnTo>
                      <a:pt x="178" y="2262"/>
                    </a:lnTo>
                    <a:lnTo>
                      <a:pt x="178" y="2262"/>
                    </a:lnTo>
                    <a:lnTo>
                      <a:pt x="182" y="2263"/>
                    </a:lnTo>
                    <a:lnTo>
                      <a:pt x="184" y="2263"/>
                    </a:lnTo>
                    <a:lnTo>
                      <a:pt x="182" y="2265"/>
                    </a:lnTo>
                    <a:lnTo>
                      <a:pt x="184" y="2266"/>
                    </a:lnTo>
                    <a:lnTo>
                      <a:pt x="187" y="2267"/>
                    </a:lnTo>
                    <a:lnTo>
                      <a:pt x="190" y="2269"/>
                    </a:lnTo>
                    <a:lnTo>
                      <a:pt x="188" y="2266"/>
                    </a:lnTo>
                    <a:lnTo>
                      <a:pt x="186" y="2264"/>
                    </a:lnTo>
                    <a:lnTo>
                      <a:pt x="187" y="2262"/>
                    </a:lnTo>
                    <a:lnTo>
                      <a:pt x="191" y="2263"/>
                    </a:lnTo>
                    <a:lnTo>
                      <a:pt x="193" y="2264"/>
                    </a:lnTo>
                    <a:lnTo>
                      <a:pt x="194" y="2267"/>
                    </a:lnTo>
                    <a:lnTo>
                      <a:pt x="198" y="2266"/>
                    </a:lnTo>
                    <a:lnTo>
                      <a:pt x="200" y="2269"/>
                    </a:lnTo>
                    <a:lnTo>
                      <a:pt x="202" y="2271"/>
                    </a:lnTo>
                    <a:lnTo>
                      <a:pt x="205" y="2272"/>
                    </a:lnTo>
                    <a:lnTo>
                      <a:pt x="204" y="2270"/>
                    </a:lnTo>
                    <a:lnTo>
                      <a:pt x="202" y="2266"/>
                    </a:lnTo>
                    <a:close/>
                    <a:moveTo>
                      <a:pt x="323" y="2195"/>
                    </a:moveTo>
                    <a:lnTo>
                      <a:pt x="326" y="2193"/>
                    </a:lnTo>
                    <a:lnTo>
                      <a:pt x="323" y="2193"/>
                    </a:lnTo>
                    <a:lnTo>
                      <a:pt x="321" y="2193"/>
                    </a:lnTo>
                    <a:lnTo>
                      <a:pt x="318" y="2193"/>
                    </a:lnTo>
                    <a:lnTo>
                      <a:pt x="315" y="2192"/>
                    </a:lnTo>
                    <a:lnTo>
                      <a:pt x="315" y="2193"/>
                    </a:lnTo>
                    <a:lnTo>
                      <a:pt x="314" y="2193"/>
                    </a:lnTo>
                    <a:lnTo>
                      <a:pt x="312" y="2194"/>
                    </a:lnTo>
                    <a:lnTo>
                      <a:pt x="309" y="2192"/>
                    </a:lnTo>
                    <a:lnTo>
                      <a:pt x="306" y="2192"/>
                    </a:lnTo>
                    <a:lnTo>
                      <a:pt x="309" y="2194"/>
                    </a:lnTo>
                    <a:lnTo>
                      <a:pt x="311" y="2196"/>
                    </a:lnTo>
                    <a:lnTo>
                      <a:pt x="314" y="2197"/>
                    </a:lnTo>
                    <a:lnTo>
                      <a:pt x="312" y="2196"/>
                    </a:lnTo>
                    <a:lnTo>
                      <a:pt x="309" y="2197"/>
                    </a:lnTo>
                    <a:lnTo>
                      <a:pt x="306" y="2197"/>
                    </a:lnTo>
                    <a:lnTo>
                      <a:pt x="309" y="2198"/>
                    </a:lnTo>
                    <a:lnTo>
                      <a:pt x="312" y="2198"/>
                    </a:lnTo>
                    <a:lnTo>
                      <a:pt x="309" y="2200"/>
                    </a:lnTo>
                    <a:lnTo>
                      <a:pt x="307" y="2203"/>
                    </a:lnTo>
                    <a:lnTo>
                      <a:pt x="304" y="2203"/>
                    </a:lnTo>
                    <a:lnTo>
                      <a:pt x="302" y="2204"/>
                    </a:lnTo>
                    <a:lnTo>
                      <a:pt x="304" y="2205"/>
                    </a:lnTo>
                    <a:lnTo>
                      <a:pt x="307" y="2205"/>
                    </a:lnTo>
                    <a:lnTo>
                      <a:pt x="310" y="2205"/>
                    </a:lnTo>
                    <a:lnTo>
                      <a:pt x="312" y="2203"/>
                    </a:lnTo>
                    <a:lnTo>
                      <a:pt x="315" y="2202"/>
                    </a:lnTo>
                    <a:lnTo>
                      <a:pt x="316" y="2202"/>
                    </a:lnTo>
                    <a:lnTo>
                      <a:pt x="319" y="2200"/>
                    </a:lnTo>
                    <a:lnTo>
                      <a:pt x="321" y="2196"/>
                    </a:lnTo>
                    <a:lnTo>
                      <a:pt x="323" y="2195"/>
                    </a:lnTo>
                    <a:close/>
                    <a:moveTo>
                      <a:pt x="239" y="2253"/>
                    </a:moveTo>
                    <a:lnTo>
                      <a:pt x="236" y="2253"/>
                    </a:lnTo>
                    <a:lnTo>
                      <a:pt x="234" y="2252"/>
                    </a:lnTo>
                    <a:lnTo>
                      <a:pt x="230" y="2250"/>
                    </a:lnTo>
                    <a:lnTo>
                      <a:pt x="228" y="2249"/>
                    </a:lnTo>
                    <a:lnTo>
                      <a:pt x="226" y="2248"/>
                    </a:lnTo>
                    <a:lnTo>
                      <a:pt x="222" y="2245"/>
                    </a:lnTo>
                    <a:lnTo>
                      <a:pt x="220" y="2244"/>
                    </a:lnTo>
                    <a:lnTo>
                      <a:pt x="218" y="2243"/>
                    </a:lnTo>
                    <a:lnTo>
                      <a:pt x="215" y="2240"/>
                    </a:lnTo>
                    <a:lnTo>
                      <a:pt x="212" y="2239"/>
                    </a:lnTo>
                    <a:lnTo>
                      <a:pt x="209" y="2236"/>
                    </a:lnTo>
                    <a:lnTo>
                      <a:pt x="209" y="2235"/>
                    </a:lnTo>
                    <a:lnTo>
                      <a:pt x="205" y="2232"/>
                    </a:lnTo>
                    <a:lnTo>
                      <a:pt x="204" y="2230"/>
                    </a:lnTo>
                    <a:lnTo>
                      <a:pt x="203" y="2227"/>
                    </a:lnTo>
                    <a:lnTo>
                      <a:pt x="201" y="2227"/>
                    </a:lnTo>
                    <a:lnTo>
                      <a:pt x="198" y="2226"/>
                    </a:lnTo>
                    <a:lnTo>
                      <a:pt x="200" y="2223"/>
                    </a:lnTo>
                    <a:lnTo>
                      <a:pt x="202" y="2222"/>
                    </a:lnTo>
                    <a:lnTo>
                      <a:pt x="201" y="2219"/>
                    </a:lnTo>
                    <a:lnTo>
                      <a:pt x="199" y="2216"/>
                    </a:lnTo>
                    <a:lnTo>
                      <a:pt x="198" y="2215"/>
                    </a:lnTo>
                    <a:lnTo>
                      <a:pt x="198" y="2214"/>
                    </a:lnTo>
                    <a:lnTo>
                      <a:pt x="196" y="2214"/>
                    </a:lnTo>
                    <a:lnTo>
                      <a:pt x="196" y="2214"/>
                    </a:lnTo>
                    <a:lnTo>
                      <a:pt x="196" y="2214"/>
                    </a:lnTo>
                    <a:lnTo>
                      <a:pt x="193" y="2214"/>
                    </a:lnTo>
                    <a:lnTo>
                      <a:pt x="191" y="2215"/>
                    </a:lnTo>
                    <a:lnTo>
                      <a:pt x="188" y="2214"/>
                    </a:lnTo>
                    <a:lnTo>
                      <a:pt x="185" y="2212"/>
                    </a:lnTo>
                    <a:lnTo>
                      <a:pt x="185" y="2212"/>
                    </a:lnTo>
                    <a:lnTo>
                      <a:pt x="184" y="2214"/>
                    </a:lnTo>
                    <a:lnTo>
                      <a:pt x="182" y="2216"/>
                    </a:lnTo>
                    <a:lnTo>
                      <a:pt x="182" y="2216"/>
                    </a:lnTo>
                    <a:lnTo>
                      <a:pt x="181" y="2218"/>
                    </a:lnTo>
                    <a:lnTo>
                      <a:pt x="178" y="2218"/>
                    </a:lnTo>
                    <a:lnTo>
                      <a:pt x="176" y="2216"/>
                    </a:lnTo>
                    <a:lnTo>
                      <a:pt x="173" y="2216"/>
                    </a:lnTo>
                    <a:lnTo>
                      <a:pt x="174" y="2219"/>
                    </a:lnTo>
                    <a:lnTo>
                      <a:pt x="177" y="2219"/>
                    </a:lnTo>
                    <a:lnTo>
                      <a:pt x="175" y="2222"/>
                    </a:lnTo>
                    <a:lnTo>
                      <a:pt x="171" y="2222"/>
                    </a:lnTo>
                    <a:lnTo>
                      <a:pt x="171" y="2224"/>
                    </a:lnTo>
                    <a:lnTo>
                      <a:pt x="171" y="2227"/>
                    </a:lnTo>
                    <a:lnTo>
                      <a:pt x="173" y="2228"/>
                    </a:lnTo>
                    <a:lnTo>
                      <a:pt x="175" y="2230"/>
                    </a:lnTo>
                    <a:lnTo>
                      <a:pt x="178" y="2229"/>
                    </a:lnTo>
                    <a:lnTo>
                      <a:pt x="178" y="2228"/>
                    </a:lnTo>
                    <a:lnTo>
                      <a:pt x="182" y="2228"/>
                    </a:lnTo>
                    <a:lnTo>
                      <a:pt x="184" y="2227"/>
                    </a:lnTo>
                    <a:lnTo>
                      <a:pt x="187" y="2228"/>
                    </a:lnTo>
                    <a:lnTo>
                      <a:pt x="186" y="2231"/>
                    </a:lnTo>
                    <a:lnTo>
                      <a:pt x="183" y="2232"/>
                    </a:lnTo>
                    <a:lnTo>
                      <a:pt x="181" y="2233"/>
                    </a:lnTo>
                    <a:lnTo>
                      <a:pt x="178" y="2235"/>
                    </a:lnTo>
                    <a:lnTo>
                      <a:pt x="176" y="2237"/>
                    </a:lnTo>
                    <a:lnTo>
                      <a:pt x="177" y="2239"/>
                    </a:lnTo>
                    <a:lnTo>
                      <a:pt x="178" y="2243"/>
                    </a:lnTo>
                    <a:lnTo>
                      <a:pt x="181" y="2244"/>
                    </a:lnTo>
                    <a:lnTo>
                      <a:pt x="184" y="2244"/>
                    </a:lnTo>
                    <a:lnTo>
                      <a:pt x="186" y="2246"/>
                    </a:lnTo>
                    <a:lnTo>
                      <a:pt x="190" y="2247"/>
                    </a:lnTo>
                    <a:lnTo>
                      <a:pt x="192" y="2248"/>
                    </a:lnTo>
                    <a:lnTo>
                      <a:pt x="190" y="2250"/>
                    </a:lnTo>
                    <a:lnTo>
                      <a:pt x="186" y="2250"/>
                    </a:lnTo>
                    <a:lnTo>
                      <a:pt x="188" y="2248"/>
                    </a:lnTo>
                    <a:lnTo>
                      <a:pt x="185" y="2247"/>
                    </a:lnTo>
                    <a:lnTo>
                      <a:pt x="183" y="2246"/>
                    </a:lnTo>
                    <a:lnTo>
                      <a:pt x="181" y="2245"/>
                    </a:lnTo>
                    <a:lnTo>
                      <a:pt x="179" y="2248"/>
                    </a:lnTo>
                    <a:lnTo>
                      <a:pt x="178" y="2245"/>
                    </a:lnTo>
                    <a:lnTo>
                      <a:pt x="177" y="2247"/>
                    </a:lnTo>
                    <a:lnTo>
                      <a:pt x="174" y="2247"/>
                    </a:lnTo>
                    <a:lnTo>
                      <a:pt x="169" y="2244"/>
                    </a:lnTo>
                    <a:lnTo>
                      <a:pt x="166" y="2245"/>
                    </a:lnTo>
                    <a:lnTo>
                      <a:pt x="169" y="2245"/>
                    </a:lnTo>
                    <a:lnTo>
                      <a:pt x="171" y="2247"/>
                    </a:lnTo>
                    <a:lnTo>
                      <a:pt x="174" y="2249"/>
                    </a:lnTo>
                    <a:lnTo>
                      <a:pt x="171" y="2248"/>
                    </a:lnTo>
                    <a:lnTo>
                      <a:pt x="168" y="2249"/>
                    </a:lnTo>
                    <a:lnTo>
                      <a:pt x="169" y="2246"/>
                    </a:lnTo>
                    <a:lnTo>
                      <a:pt x="167" y="2246"/>
                    </a:lnTo>
                    <a:lnTo>
                      <a:pt x="165" y="2248"/>
                    </a:lnTo>
                    <a:lnTo>
                      <a:pt x="161" y="2248"/>
                    </a:lnTo>
                    <a:lnTo>
                      <a:pt x="159" y="2248"/>
                    </a:lnTo>
                    <a:lnTo>
                      <a:pt x="157" y="2249"/>
                    </a:lnTo>
                    <a:lnTo>
                      <a:pt x="153" y="2248"/>
                    </a:lnTo>
                    <a:lnTo>
                      <a:pt x="157" y="2250"/>
                    </a:lnTo>
                    <a:lnTo>
                      <a:pt x="153" y="2250"/>
                    </a:lnTo>
                    <a:lnTo>
                      <a:pt x="151" y="2249"/>
                    </a:lnTo>
                    <a:lnTo>
                      <a:pt x="152" y="2253"/>
                    </a:lnTo>
                    <a:lnTo>
                      <a:pt x="156" y="2253"/>
                    </a:lnTo>
                    <a:lnTo>
                      <a:pt x="158" y="2252"/>
                    </a:lnTo>
                    <a:lnTo>
                      <a:pt x="161" y="2250"/>
                    </a:lnTo>
                    <a:lnTo>
                      <a:pt x="162" y="2253"/>
                    </a:lnTo>
                    <a:lnTo>
                      <a:pt x="165" y="2252"/>
                    </a:lnTo>
                    <a:lnTo>
                      <a:pt x="164" y="2255"/>
                    </a:lnTo>
                    <a:lnTo>
                      <a:pt x="167" y="2254"/>
                    </a:lnTo>
                    <a:lnTo>
                      <a:pt x="169" y="2254"/>
                    </a:lnTo>
                    <a:lnTo>
                      <a:pt x="167" y="2256"/>
                    </a:lnTo>
                    <a:lnTo>
                      <a:pt x="169" y="2255"/>
                    </a:lnTo>
                    <a:lnTo>
                      <a:pt x="173" y="2255"/>
                    </a:lnTo>
                    <a:lnTo>
                      <a:pt x="175" y="2253"/>
                    </a:lnTo>
                    <a:lnTo>
                      <a:pt x="175" y="2256"/>
                    </a:lnTo>
                    <a:lnTo>
                      <a:pt x="178" y="2256"/>
                    </a:lnTo>
                    <a:lnTo>
                      <a:pt x="178" y="2254"/>
                    </a:lnTo>
                    <a:lnTo>
                      <a:pt x="178" y="2253"/>
                    </a:lnTo>
                    <a:lnTo>
                      <a:pt x="181" y="2255"/>
                    </a:lnTo>
                    <a:lnTo>
                      <a:pt x="183" y="2256"/>
                    </a:lnTo>
                    <a:lnTo>
                      <a:pt x="186" y="2256"/>
                    </a:lnTo>
                    <a:lnTo>
                      <a:pt x="188" y="2257"/>
                    </a:lnTo>
                    <a:lnTo>
                      <a:pt x="192" y="2257"/>
                    </a:lnTo>
                    <a:lnTo>
                      <a:pt x="194" y="2255"/>
                    </a:lnTo>
                    <a:lnTo>
                      <a:pt x="196" y="2257"/>
                    </a:lnTo>
                    <a:lnTo>
                      <a:pt x="198" y="2256"/>
                    </a:lnTo>
                    <a:lnTo>
                      <a:pt x="196" y="2255"/>
                    </a:lnTo>
                    <a:lnTo>
                      <a:pt x="196" y="2255"/>
                    </a:lnTo>
                    <a:lnTo>
                      <a:pt x="199" y="2256"/>
                    </a:lnTo>
                    <a:lnTo>
                      <a:pt x="199" y="2256"/>
                    </a:lnTo>
                    <a:lnTo>
                      <a:pt x="201" y="2255"/>
                    </a:lnTo>
                    <a:lnTo>
                      <a:pt x="202" y="2255"/>
                    </a:lnTo>
                    <a:lnTo>
                      <a:pt x="203" y="2256"/>
                    </a:lnTo>
                    <a:lnTo>
                      <a:pt x="207" y="2256"/>
                    </a:lnTo>
                    <a:lnTo>
                      <a:pt x="209" y="2257"/>
                    </a:lnTo>
                    <a:lnTo>
                      <a:pt x="212" y="2256"/>
                    </a:lnTo>
                    <a:lnTo>
                      <a:pt x="215" y="2257"/>
                    </a:lnTo>
                    <a:lnTo>
                      <a:pt x="217" y="2257"/>
                    </a:lnTo>
                    <a:lnTo>
                      <a:pt x="220" y="2257"/>
                    </a:lnTo>
                    <a:lnTo>
                      <a:pt x="222" y="2258"/>
                    </a:lnTo>
                    <a:lnTo>
                      <a:pt x="226" y="2260"/>
                    </a:lnTo>
                    <a:lnTo>
                      <a:pt x="228" y="2258"/>
                    </a:lnTo>
                    <a:lnTo>
                      <a:pt x="230" y="2258"/>
                    </a:lnTo>
                    <a:lnTo>
                      <a:pt x="234" y="2257"/>
                    </a:lnTo>
                    <a:lnTo>
                      <a:pt x="236" y="2257"/>
                    </a:lnTo>
                    <a:lnTo>
                      <a:pt x="239" y="2257"/>
                    </a:lnTo>
                    <a:lnTo>
                      <a:pt x="242" y="2257"/>
                    </a:lnTo>
                    <a:lnTo>
                      <a:pt x="243" y="2255"/>
                    </a:lnTo>
                    <a:lnTo>
                      <a:pt x="244" y="2253"/>
                    </a:lnTo>
                    <a:lnTo>
                      <a:pt x="242" y="2252"/>
                    </a:lnTo>
                    <a:lnTo>
                      <a:pt x="239" y="2253"/>
                    </a:lnTo>
                    <a:close/>
                    <a:moveTo>
                      <a:pt x="659" y="1517"/>
                    </a:moveTo>
                    <a:lnTo>
                      <a:pt x="660" y="1513"/>
                    </a:lnTo>
                    <a:lnTo>
                      <a:pt x="657" y="1510"/>
                    </a:lnTo>
                    <a:lnTo>
                      <a:pt x="657" y="1508"/>
                    </a:lnTo>
                    <a:lnTo>
                      <a:pt x="656" y="1502"/>
                    </a:lnTo>
                    <a:lnTo>
                      <a:pt x="654" y="1495"/>
                    </a:lnTo>
                    <a:lnTo>
                      <a:pt x="653" y="1492"/>
                    </a:lnTo>
                    <a:lnTo>
                      <a:pt x="651" y="1489"/>
                    </a:lnTo>
                    <a:lnTo>
                      <a:pt x="648" y="1488"/>
                    </a:lnTo>
                    <a:lnTo>
                      <a:pt x="645" y="1488"/>
                    </a:lnTo>
                    <a:lnTo>
                      <a:pt x="635" y="1488"/>
                    </a:lnTo>
                    <a:lnTo>
                      <a:pt x="631" y="1487"/>
                    </a:lnTo>
                    <a:lnTo>
                      <a:pt x="628" y="1486"/>
                    </a:lnTo>
                    <a:lnTo>
                      <a:pt x="623" y="1483"/>
                    </a:lnTo>
                    <a:lnTo>
                      <a:pt x="623" y="1483"/>
                    </a:lnTo>
                    <a:lnTo>
                      <a:pt x="621" y="1482"/>
                    </a:lnTo>
                    <a:lnTo>
                      <a:pt x="620" y="1479"/>
                    </a:lnTo>
                    <a:lnTo>
                      <a:pt x="617" y="1477"/>
                    </a:lnTo>
                    <a:lnTo>
                      <a:pt x="614" y="1475"/>
                    </a:lnTo>
                    <a:lnTo>
                      <a:pt x="612" y="1472"/>
                    </a:lnTo>
                    <a:lnTo>
                      <a:pt x="610" y="1469"/>
                    </a:lnTo>
                    <a:lnTo>
                      <a:pt x="608" y="1469"/>
                    </a:lnTo>
                    <a:lnTo>
                      <a:pt x="600" y="1463"/>
                    </a:lnTo>
                    <a:lnTo>
                      <a:pt x="588" y="1458"/>
                    </a:lnTo>
                    <a:lnTo>
                      <a:pt x="587" y="1458"/>
                    </a:lnTo>
                    <a:lnTo>
                      <a:pt x="582" y="1457"/>
                    </a:lnTo>
                    <a:lnTo>
                      <a:pt x="575" y="1458"/>
                    </a:lnTo>
                    <a:lnTo>
                      <a:pt x="572" y="1458"/>
                    </a:lnTo>
                    <a:lnTo>
                      <a:pt x="571" y="1460"/>
                    </a:lnTo>
                    <a:lnTo>
                      <a:pt x="567" y="1458"/>
                    </a:lnTo>
                    <a:lnTo>
                      <a:pt x="563" y="1457"/>
                    </a:lnTo>
                    <a:lnTo>
                      <a:pt x="562" y="1458"/>
                    </a:lnTo>
                    <a:lnTo>
                      <a:pt x="559" y="1457"/>
                    </a:lnTo>
                    <a:lnTo>
                      <a:pt x="558" y="1457"/>
                    </a:lnTo>
                    <a:lnTo>
                      <a:pt x="555" y="1457"/>
                    </a:lnTo>
                    <a:lnTo>
                      <a:pt x="550" y="1453"/>
                    </a:lnTo>
                    <a:lnTo>
                      <a:pt x="544" y="1451"/>
                    </a:lnTo>
                    <a:lnTo>
                      <a:pt x="542" y="1451"/>
                    </a:lnTo>
                    <a:lnTo>
                      <a:pt x="542" y="1452"/>
                    </a:lnTo>
                    <a:lnTo>
                      <a:pt x="536" y="1453"/>
                    </a:lnTo>
                    <a:lnTo>
                      <a:pt x="534" y="1456"/>
                    </a:lnTo>
                    <a:lnTo>
                      <a:pt x="533" y="1457"/>
                    </a:lnTo>
                    <a:lnTo>
                      <a:pt x="532" y="1458"/>
                    </a:lnTo>
                    <a:lnTo>
                      <a:pt x="531" y="1456"/>
                    </a:lnTo>
                    <a:lnTo>
                      <a:pt x="534" y="1452"/>
                    </a:lnTo>
                    <a:lnTo>
                      <a:pt x="531" y="1452"/>
                    </a:lnTo>
                    <a:lnTo>
                      <a:pt x="529" y="1453"/>
                    </a:lnTo>
                    <a:lnTo>
                      <a:pt x="528" y="1459"/>
                    </a:lnTo>
                    <a:lnTo>
                      <a:pt x="526" y="1461"/>
                    </a:lnTo>
                    <a:lnTo>
                      <a:pt x="524" y="1465"/>
                    </a:lnTo>
                    <a:lnTo>
                      <a:pt x="523" y="1463"/>
                    </a:lnTo>
                    <a:lnTo>
                      <a:pt x="525" y="1461"/>
                    </a:lnTo>
                    <a:lnTo>
                      <a:pt x="525" y="1459"/>
                    </a:lnTo>
                    <a:lnTo>
                      <a:pt x="526" y="1453"/>
                    </a:lnTo>
                    <a:lnTo>
                      <a:pt x="529" y="1451"/>
                    </a:lnTo>
                    <a:lnTo>
                      <a:pt x="528" y="1448"/>
                    </a:lnTo>
                    <a:lnTo>
                      <a:pt x="526" y="1450"/>
                    </a:lnTo>
                    <a:lnTo>
                      <a:pt x="523" y="1450"/>
                    </a:lnTo>
                    <a:lnTo>
                      <a:pt x="526" y="1449"/>
                    </a:lnTo>
                    <a:lnTo>
                      <a:pt x="527" y="1446"/>
                    </a:lnTo>
                    <a:lnTo>
                      <a:pt x="523" y="1441"/>
                    </a:lnTo>
                    <a:lnTo>
                      <a:pt x="520" y="1441"/>
                    </a:lnTo>
                    <a:lnTo>
                      <a:pt x="520" y="1439"/>
                    </a:lnTo>
                    <a:lnTo>
                      <a:pt x="518" y="1440"/>
                    </a:lnTo>
                    <a:lnTo>
                      <a:pt x="517" y="1442"/>
                    </a:lnTo>
                    <a:lnTo>
                      <a:pt x="516" y="1440"/>
                    </a:lnTo>
                    <a:lnTo>
                      <a:pt x="516" y="1437"/>
                    </a:lnTo>
                    <a:lnTo>
                      <a:pt x="515" y="1440"/>
                    </a:lnTo>
                    <a:lnTo>
                      <a:pt x="515" y="1437"/>
                    </a:lnTo>
                    <a:lnTo>
                      <a:pt x="506" y="1435"/>
                    </a:lnTo>
                    <a:lnTo>
                      <a:pt x="505" y="1433"/>
                    </a:lnTo>
                    <a:lnTo>
                      <a:pt x="499" y="1433"/>
                    </a:lnTo>
                    <a:lnTo>
                      <a:pt x="493" y="1429"/>
                    </a:lnTo>
                    <a:lnTo>
                      <a:pt x="491" y="1429"/>
                    </a:lnTo>
                    <a:lnTo>
                      <a:pt x="489" y="1427"/>
                    </a:lnTo>
                    <a:lnTo>
                      <a:pt x="488" y="1429"/>
                    </a:lnTo>
                    <a:lnTo>
                      <a:pt x="485" y="1427"/>
                    </a:lnTo>
                    <a:lnTo>
                      <a:pt x="483" y="1428"/>
                    </a:lnTo>
                    <a:lnTo>
                      <a:pt x="478" y="1428"/>
                    </a:lnTo>
                    <a:lnTo>
                      <a:pt x="476" y="1431"/>
                    </a:lnTo>
                    <a:lnTo>
                      <a:pt x="475" y="1435"/>
                    </a:lnTo>
                    <a:lnTo>
                      <a:pt x="473" y="1439"/>
                    </a:lnTo>
                    <a:lnTo>
                      <a:pt x="477" y="1439"/>
                    </a:lnTo>
                    <a:lnTo>
                      <a:pt x="474" y="1440"/>
                    </a:lnTo>
                    <a:lnTo>
                      <a:pt x="474" y="1442"/>
                    </a:lnTo>
                    <a:lnTo>
                      <a:pt x="471" y="1439"/>
                    </a:lnTo>
                    <a:lnTo>
                      <a:pt x="468" y="1441"/>
                    </a:lnTo>
                    <a:lnTo>
                      <a:pt x="466" y="1443"/>
                    </a:lnTo>
                    <a:lnTo>
                      <a:pt x="464" y="1444"/>
                    </a:lnTo>
                    <a:lnTo>
                      <a:pt x="461" y="1448"/>
                    </a:lnTo>
                    <a:lnTo>
                      <a:pt x="459" y="1452"/>
                    </a:lnTo>
                    <a:lnTo>
                      <a:pt x="459" y="1453"/>
                    </a:lnTo>
                    <a:lnTo>
                      <a:pt x="459" y="1451"/>
                    </a:lnTo>
                    <a:lnTo>
                      <a:pt x="461" y="1443"/>
                    </a:lnTo>
                    <a:lnTo>
                      <a:pt x="459" y="1443"/>
                    </a:lnTo>
                    <a:lnTo>
                      <a:pt x="457" y="1444"/>
                    </a:lnTo>
                    <a:lnTo>
                      <a:pt x="455" y="1448"/>
                    </a:lnTo>
                    <a:lnTo>
                      <a:pt x="454" y="1444"/>
                    </a:lnTo>
                    <a:lnTo>
                      <a:pt x="452" y="1443"/>
                    </a:lnTo>
                    <a:lnTo>
                      <a:pt x="449" y="1445"/>
                    </a:lnTo>
                    <a:lnTo>
                      <a:pt x="447" y="1445"/>
                    </a:lnTo>
                    <a:lnTo>
                      <a:pt x="443" y="1443"/>
                    </a:lnTo>
                    <a:lnTo>
                      <a:pt x="442" y="1443"/>
                    </a:lnTo>
                    <a:lnTo>
                      <a:pt x="442" y="1441"/>
                    </a:lnTo>
                    <a:lnTo>
                      <a:pt x="442" y="1440"/>
                    </a:lnTo>
                    <a:lnTo>
                      <a:pt x="441" y="1439"/>
                    </a:lnTo>
                    <a:lnTo>
                      <a:pt x="441" y="1439"/>
                    </a:lnTo>
                    <a:lnTo>
                      <a:pt x="441" y="1437"/>
                    </a:lnTo>
                    <a:lnTo>
                      <a:pt x="441" y="1432"/>
                    </a:lnTo>
                    <a:lnTo>
                      <a:pt x="438" y="1433"/>
                    </a:lnTo>
                    <a:lnTo>
                      <a:pt x="430" y="1437"/>
                    </a:lnTo>
                    <a:lnTo>
                      <a:pt x="429" y="1437"/>
                    </a:lnTo>
                    <a:lnTo>
                      <a:pt x="426" y="1440"/>
                    </a:lnTo>
                    <a:lnTo>
                      <a:pt x="421" y="1442"/>
                    </a:lnTo>
                    <a:lnTo>
                      <a:pt x="421" y="1442"/>
                    </a:lnTo>
                    <a:lnTo>
                      <a:pt x="418" y="1441"/>
                    </a:lnTo>
                    <a:lnTo>
                      <a:pt x="415" y="1441"/>
                    </a:lnTo>
                    <a:lnTo>
                      <a:pt x="415" y="1440"/>
                    </a:lnTo>
                    <a:lnTo>
                      <a:pt x="422" y="1437"/>
                    </a:lnTo>
                    <a:lnTo>
                      <a:pt x="424" y="1439"/>
                    </a:lnTo>
                    <a:lnTo>
                      <a:pt x="426" y="1434"/>
                    </a:lnTo>
                    <a:lnTo>
                      <a:pt x="429" y="1433"/>
                    </a:lnTo>
                    <a:lnTo>
                      <a:pt x="429" y="1431"/>
                    </a:lnTo>
                    <a:lnTo>
                      <a:pt x="434" y="1422"/>
                    </a:lnTo>
                    <a:lnTo>
                      <a:pt x="435" y="1420"/>
                    </a:lnTo>
                    <a:lnTo>
                      <a:pt x="437" y="1419"/>
                    </a:lnTo>
                    <a:lnTo>
                      <a:pt x="440" y="1416"/>
                    </a:lnTo>
                    <a:lnTo>
                      <a:pt x="443" y="1415"/>
                    </a:lnTo>
                    <a:lnTo>
                      <a:pt x="449" y="1406"/>
                    </a:lnTo>
                    <a:lnTo>
                      <a:pt x="452" y="1403"/>
                    </a:lnTo>
                    <a:lnTo>
                      <a:pt x="452" y="1402"/>
                    </a:lnTo>
                    <a:lnTo>
                      <a:pt x="450" y="1402"/>
                    </a:lnTo>
                    <a:lnTo>
                      <a:pt x="452" y="1401"/>
                    </a:lnTo>
                    <a:lnTo>
                      <a:pt x="454" y="1399"/>
                    </a:lnTo>
                    <a:lnTo>
                      <a:pt x="454" y="1395"/>
                    </a:lnTo>
                    <a:lnTo>
                      <a:pt x="452" y="1394"/>
                    </a:lnTo>
                    <a:lnTo>
                      <a:pt x="449" y="1393"/>
                    </a:lnTo>
                    <a:lnTo>
                      <a:pt x="447" y="1393"/>
                    </a:lnTo>
                    <a:lnTo>
                      <a:pt x="444" y="1391"/>
                    </a:lnTo>
                    <a:lnTo>
                      <a:pt x="442" y="1390"/>
                    </a:lnTo>
                    <a:lnTo>
                      <a:pt x="442" y="1386"/>
                    </a:lnTo>
                    <a:lnTo>
                      <a:pt x="440" y="1384"/>
                    </a:lnTo>
                    <a:lnTo>
                      <a:pt x="440" y="1382"/>
                    </a:lnTo>
                    <a:lnTo>
                      <a:pt x="438" y="1376"/>
                    </a:lnTo>
                    <a:lnTo>
                      <a:pt x="438" y="1374"/>
                    </a:lnTo>
                    <a:lnTo>
                      <a:pt x="437" y="1365"/>
                    </a:lnTo>
                    <a:lnTo>
                      <a:pt x="435" y="1368"/>
                    </a:lnTo>
                    <a:lnTo>
                      <a:pt x="435" y="1363"/>
                    </a:lnTo>
                    <a:lnTo>
                      <a:pt x="433" y="1360"/>
                    </a:lnTo>
                    <a:lnTo>
                      <a:pt x="431" y="1359"/>
                    </a:lnTo>
                    <a:lnTo>
                      <a:pt x="431" y="1362"/>
                    </a:lnTo>
                    <a:lnTo>
                      <a:pt x="432" y="1365"/>
                    </a:lnTo>
                    <a:lnTo>
                      <a:pt x="431" y="1362"/>
                    </a:lnTo>
                    <a:lnTo>
                      <a:pt x="429" y="1364"/>
                    </a:lnTo>
                    <a:lnTo>
                      <a:pt x="430" y="1360"/>
                    </a:lnTo>
                    <a:lnTo>
                      <a:pt x="426" y="1356"/>
                    </a:lnTo>
                    <a:lnTo>
                      <a:pt x="425" y="1358"/>
                    </a:lnTo>
                    <a:lnTo>
                      <a:pt x="424" y="1359"/>
                    </a:lnTo>
                    <a:lnTo>
                      <a:pt x="425" y="1356"/>
                    </a:lnTo>
                    <a:lnTo>
                      <a:pt x="424" y="1354"/>
                    </a:lnTo>
                    <a:lnTo>
                      <a:pt x="421" y="1352"/>
                    </a:lnTo>
                    <a:lnTo>
                      <a:pt x="420" y="1354"/>
                    </a:lnTo>
                    <a:lnTo>
                      <a:pt x="421" y="1351"/>
                    </a:lnTo>
                    <a:lnTo>
                      <a:pt x="420" y="1351"/>
                    </a:lnTo>
                    <a:lnTo>
                      <a:pt x="417" y="1349"/>
                    </a:lnTo>
                    <a:lnTo>
                      <a:pt x="412" y="1343"/>
                    </a:lnTo>
                    <a:lnTo>
                      <a:pt x="411" y="1343"/>
                    </a:lnTo>
                    <a:lnTo>
                      <a:pt x="404" y="1342"/>
                    </a:lnTo>
                    <a:lnTo>
                      <a:pt x="401" y="1340"/>
                    </a:lnTo>
                    <a:lnTo>
                      <a:pt x="399" y="1340"/>
                    </a:lnTo>
                    <a:lnTo>
                      <a:pt x="396" y="1345"/>
                    </a:lnTo>
                    <a:lnTo>
                      <a:pt x="395" y="1346"/>
                    </a:lnTo>
                    <a:lnTo>
                      <a:pt x="397" y="1342"/>
                    </a:lnTo>
                    <a:lnTo>
                      <a:pt x="397" y="1340"/>
                    </a:lnTo>
                    <a:lnTo>
                      <a:pt x="395" y="1338"/>
                    </a:lnTo>
                    <a:lnTo>
                      <a:pt x="383" y="1337"/>
                    </a:lnTo>
                    <a:lnTo>
                      <a:pt x="383" y="1339"/>
                    </a:lnTo>
                    <a:lnTo>
                      <a:pt x="382" y="1339"/>
                    </a:lnTo>
                    <a:lnTo>
                      <a:pt x="379" y="1337"/>
                    </a:lnTo>
                    <a:lnTo>
                      <a:pt x="373" y="1337"/>
                    </a:lnTo>
                    <a:lnTo>
                      <a:pt x="371" y="1338"/>
                    </a:lnTo>
                    <a:lnTo>
                      <a:pt x="371" y="1339"/>
                    </a:lnTo>
                    <a:lnTo>
                      <a:pt x="371" y="1341"/>
                    </a:lnTo>
                    <a:lnTo>
                      <a:pt x="369" y="1339"/>
                    </a:lnTo>
                    <a:lnTo>
                      <a:pt x="363" y="1338"/>
                    </a:lnTo>
                    <a:lnTo>
                      <a:pt x="356" y="1337"/>
                    </a:lnTo>
                    <a:lnTo>
                      <a:pt x="356" y="1337"/>
                    </a:lnTo>
                    <a:lnTo>
                      <a:pt x="355" y="1337"/>
                    </a:lnTo>
                    <a:lnTo>
                      <a:pt x="354" y="1341"/>
                    </a:lnTo>
                    <a:lnTo>
                      <a:pt x="353" y="1343"/>
                    </a:lnTo>
                    <a:lnTo>
                      <a:pt x="354" y="1341"/>
                    </a:lnTo>
                    <a:lnTo>
                      <a:pt x="354" y="1335"/>
                    </a:lnTo>
                    <a:lnTo>
                      <a:pt x="352" y="1333"/>
                    </a:lnTo>
                    <a:lnTo>
                      <a:pt x="349" y="1333"/>
                    </a:lnTo>
                    <a:lnTo>
                      <a:pt x="346" y="1329"/>
                    </a:lnTo>
                    <a:lnTo>
                      <a:pt x="343" y="1325"/>
                    </a:lnTo>
                    <a:lnTo>
                      <a:pt x="340" y="1325"/>
                    </a:lnTo>
                    <a:lnTo>
                      <a:pt x="339" y="1324"/>
                    </a:lnTo>
                    <a:lnTo>
                      <a:pt x="337" y="1324"/>
                    </a:lnTo>
                    <a:lnTo>
                      <a:pt x="335" y="1328"/>
                    </a:lnTo>
                    <a:lnTo>
                      <a:pt x="335" y="1331"/>
                    </a:lnTo>
                    <a:lnTo>
                      <a:pt x="333" y="1331"/>
                    </a:lnTo>
                    <a:lnTo>
                      <a:pt x="335" y="1329"/>
                    </a:lnTo>
                    <a:lnTo>
                      <a:pt x="335" y="1325"/>
                    </a:lnTo>
                    <a:lnTo>
                      <a:pt x="336" y="1323"/>
                    </a:lnTo>
                    <a:lnTo>
                      <a:pt x="336" y="1321"/>
                    </a:lnTo>
                    <a:lnTo>
                      <a:pt x="336" y="1318"/>
                    </a:lnTo>
                    <a:lnTo>
                      <a:pt x="335" y="1316"/>
                    </a:lnTo>
                    <a:lnTo>
                      <a:pt x="331" y="1313"/>
                    </a:lnTo>
                    <a:lnTo>
                      <a:pt x="328" y="1309"/>
                    </a:lnTo>
                    <a:lnTo>
                      <a:pt x="326" y="1307"/>
                    </a:lnTo>
                    <a:lnTo>
                      <a:pt x="322" y="1306"/>
                    </a:lnTo>
                    <a:lnTo>
                      <a:pt x="320" y="1305"/>
                    </a:lnTo>
                    <a:lnTo>
                      <a:pt x="322" y="1307"/>
                    </a:lnTo>
                    <a:lnTo>
                      <a:pt x="318" y="1304"/>
                    </a:lnTo>
                    <a:lnTo>
                      <a:pt x="315" y="1302"/>
                    </a:lnTo>
                    <a:lnTo>
                      <a:pt x="312" y="1300"/>
                    </a:lnTo>
                    <a:lnTo>
                      <a:pt x="309" y="1300"/>
                    </a:lnTo>
                    <a:lnTo>
                      <a:pt x="309" y="1302"/>
                    </a:lnTo>
                    <a:lnTo>
                      <a:pt x="305" y="1300"/>
                    </a:lnTo>
                    <a:lnTo>
                      <a:pt x="303" y="1300"/>
                    </a:lnTo>
                    <a:lnTo>
                      <a:pt x="297" y="1304"/>
                    </a:lnTo>
                    <a:lnTo>
                      <a:pt x="293" y="1300"/>
                    </a:lnTo>
                    <a:lnTo>
                      <a:pt x="293" y="1300"/>
                    </a:lnTo>
                    <a:lnTo>
                      <a:pt x="298" y="1300"/>
                    </a:lnTo>
                    <a:lnTo>
                      <a:pt x="301" y="1294"/>
                    </a:lnTo>
                    <a:lnTo>
                      <a:pt x="304" y="1290"/>
                    </a:lnTo>
                    <a:lnTo>
                      <a:pt x="301" y="1287"/>
                    </a:lnTo>
                    <a:lnTo>
                      <a:pt x="298" y="1287"/>
                    </a:lnTo>
                    <a:lnTo>
                      <a:pt x="294" y="1285"/>
                    </a:lnTo>
                    <a:lnTo>
                      <a:pt x="290" y="1285"/>
                    </a:lnTo>
                    <a:lnTo>
                      <a:pt x="290" y="1285"/>
                    </a:lnTo>
                    <a:lnTo>
                      <a:pt x="289" y="1287"/>
                    </a:lnTo>
                    <a:lnTo>
                      <a:pt x="290" y="1285"/>
                    </a:lnTo>
                    <a:lnTo>
                      <a:pt x="288" y="1282"/>
                    </a:lnTo>
                    <a:lnTo>
                      <a:pt x="286" y="1281"/>
                    </a:lnTo>
                    <a:lnTo>
                      <a:pt x="285" y="1281"/>
                    </a:lnTo>
                    <a:lnTo>
                      <a:pt x="285" y="1282"/>
                    </a:lnTo>
                    <a:lnTo>
                      <a:pt x="287" y="1283"/>
                    </a:lnTo>
                    <a:lnTo>
                      <a:pt x="286" y="1283"/>
                    </a:lnTo>
                    <a:lnTo>
                      <a:pt x="285" y="1287"/>
                    </a:lnTo>
                    <a:lnTo>
                      <a:pt x="285" y="1287"/>
                    </a:lnTo>
                    <a:lnTo>
                      <a:pt x="285" y="1286"/>
                    </a:lnTo>
                    <a:lnTo>
                      <a:pt x="285" y="1282"/>
                    </a:lnTo>
                    <a:lnTo>
                      <a:pt x="284" y="1286"/>
                    </a:lnTo>
                    <a:lnTo>
                      <a:pt x="283" y="1286"/>
                    </a:lnTo>
                    <a:lnTo>
                      <a:pt x="281" y="1282"/>
                    </a:lnTo>
                    <a:lnTo>
                      <a:pt x="281" y="1281"/>
                    </a:lnTo>
                    <a:lnTo>
                      <a:pt x="279" y="1279"/>
                    </a:lnTo>
                    <a:lnTo>
                      <a:pt x="277" y="1281"/>
                    </a:lnTo>
                    <a:lnTo>
                      <a:pt x="275" y="1281"/>
                    </a:lnTo>
                    <a:lnTo>
                      <a:pt x="273" y="1280"/>
                    </a:lnTo>
                    <a:lnTo>
                      <a:pt x="276" y="1280"/>
                    </a:lnTo>
                    <a:lnTo>
                      <a:pt x="279" y="1279"/>
                    </a:lnTo>
                    <a:lnTo>
                      <a:pt x="277" y="1275"/>
                    </a:lnTo>
                    <a:lnTo>
                      <a:pt x="275" y="1278"/>
                    </a:lnTo>
                    <a:lnTo>
                      <a:pt x="275" y="1274"/>
                    </a:lnTo>
                    <a:lnTo>
                      <a:pt x="277" y="1273"/>
                    </a:lnTo>
                    <a:lnTo>
                      <a:pt x="283" y="1274"/>
                    </a:lnTo>
                    <a:lnTo>
                      <a:pt x="285" y="1272"/>
                    </a:lnTo>
                    <a:lnTo>
                      <a:pt x="288" y="1271"/>
                    </a:lnTo>
                    <a:lnTo>
                      <a:pt x="286" y="1272"/>
                    </a:lnTo>
                    <a:lnTo>
                      <a:pt x="277" y="1271"/>
                    </a:lnTo>
                    <a:lnTo>
                      <a:pt x="275" y="1272"/>
                    </a:lnTo>
                    <a:lnTo>
                      <a:pt x="272" y="1271"/>
                    </a:lnTo>
                    <a:lnTo>
                      <a:pt x="267" y="1273"/>
                    </a:lnTo>
                    <a:lnTo>
                      <a:pt x="263" y="1272"/>
                    </a:lnTo>
                    <a:lnTo>
                      <a:pt x="261" y="1272"/>
                    </a:lnTo>
                    <a:lnTo>
                      <a:pt x="259" y="1273"/>
                    </a:lnTo>
                    <a:lnTo>
                      <a:pt x="261" y="1273"/>
                    </a:lnTo>
                    <a:lnTo>
                      <a:pt x="263" y="1274"/>
                    </a:lnTo>
                    <a:lnTo>
                      <a:pt x="259" y="1274"/>
                    </a:lnTo>
                    <a:lnTo>
                      <a:pt x="255" y="1275"/>
                    </a:lnTo>
                    <a:lnTo>
                      <a:pt x="251" y="1279"/>
                    </a:lnTo>
                    <a:lnTo>
                      <a:pt x="250" y="1280"/>
                    </a:lnTo>
                    <a:lnTo>
                      <a:pt x="244" y="1280"/>
                    </a:lnTo>
                    <a:lnTo>
                      <a:pt x="238" y="1279"/>
                    </a:lnTo>
                    <a:lnTo>
                      <a:pt x="236" y="1278"/>
                    </a:lnTo>
                    <a:lnTo>
                      <a:pt x="232" y="1274"/>
                    </a:lnTo>
                    <a:lnTo>
                      <a:pt x="232" y="1273"/>
                    </a:lnTo>
                    <a:lnTo>
                      <a:pt x="228" y="1273"/>
                    </a:lnTo>
                    <a:lnTo>
                      <a:pt x="222" y="1273"/>
                    </a:lnTo>
                    <a:lnTo>
                      <a:pt x="210" y="1274"/>
                    </a:lnTo>
                    <a:lnTo>
                      <a:pt x="204" y="1274"/>
                    </a:lnTo>
                    <a:lnTo>
                      <a:pt x="202" y="1273"/>
                    </a:lnTo>
                    <a:lnTo>
                      <a:pt x="201" y="1272"/>
                    </a:lnTo>
                    <a:lnTo>
                      <a:pt x="202" y="1269"/>
                    </a:lnTo>
                    <a:lnTo>
                      <a:pt x="200" y="1264"/>
                    </a:lnTo>
                    <a:lnTo>
                      <a:pt x="194" y="1261"/>
                    </a:lnTo>
                    <a:lnTo>
                      <a:pt x="184" y="1261"/>
                    </a:lnTo>
                    <a:lnTo>
                      <a:pt x="182" y="1258"/>
                    </a:lnTo>
                    <a:lnTo>
                      <a:pt x="181" y="1256"/>
                    </a:lnTo>
                    <a:lnTo>
                      <a:pt x="181" y="1254"/>
                    </a:lnTo>
                    <a:lnTo>
                      <a:pt x="178" y="1251"/>
                    </a:lnTo>
                    <a:lnTo>
                      <a:pt x="175" y="1252"/>
                    </a:lnTo>
                    <a:lnTo>
                      <a:pt x="175" y="1254"/>
                    </a:lnTo>
                    <a:lnTo>
                      <a:pt x="175" y="1256"/>
                    </a:lnTo>
                    <a:lnTo>
                      <a:pt x="175" y="1257"/>
                    </a:lnTo>
                    <a:lnTo>
                      <a:pt x="175" y="1260"/>
                    </a:lnTo>
                    <a:lnTo>
                      <a:pt x="178" y="1258"/>
                    </a:lnTo>
                    <a:lnTo>
                      <a:pt x="181" y="1258"/>
                    </a:lnTo>
                    <a:lnTo>
                      <a:pt x="179" y="1261"/>
                    </a:lnTo>
                    <a:lnTo>
                      <a:pt x="176" y="1260"/>
                    </a:lnTo>
                    <a:lnTo>
                      <a:pt x="176" y="1262"/>
                    </a:lnTo>
                    <a:lnTo>
                      <a:pt x="171" y="1264"/>
                    </a:lnTo>
                    <a:lnTo>
                      <a:pt x="166" y="1264"/>
                    </a:lnTo>
                    <a:lnTo>
                      <a:pt x="159" y="1269"/>
                    </a:lnTo>
                    <a:lnTo>
                      <a:pt x="157" y="1270"/>
                    </a:lnTo>
                    <a:lnTo>
                      <a:pt x="157" y="1271"/>
                    </a:lnTo>
                    <a:lnTo>
                      <a:pt x="157" y="1273"/>
                    </a:lnTo>
                    <a:lnTo>
                      <a:pt x="160" y="1279"/>
                    </a:lnTo>
                    <a:lnTo>
                      <a:pt x="164" y="1283"/>
                    </a:lnTo>
                    <a:lnTo>
                      <a:pt x="164" y="1283"/>
                    </a:lnTo>
                    <a:lnTo>
                      <a:pt x="164" y="1290"/>
                    </a:lnTo>
                    <a:lnTo>
                      <a:pt x="160" y="1294"/>
                    </a:lnTo>
                    <a:lnTo>
                      <a:pt x="157" y="1295"/>
                    </a:lnTo>
                    <a:lnTo>
                      <a:pt x="153" y="1292"/>
                    </a:lnTo>
                    <a:lnTo>
                      <a:pt x="155" y="1290"/>
                    </a:lnTo>
                    <a:lnTo>
                      <a:pt x="151" y="1289"/>
                    </a:lnTo>
                    <a:lnTo>
                      <a:pt x="150" y="1286"/>
                    </a:lnTo>
                    <a:lnTo>
                      <a:pt x="149" y="1285"/>
                    </a:lnTo>
                    <a:lnTo>
                      <a:pt x="151" y="1281"/>
                    </a:lnTo>
                    <a:lnTo>
                      <a:pt x="156" y="1275"/>
                    </a:lnTo>
                    <a:lnTo>
                      <a:pt x="156" y="1273"/>
                    </a:lnTo>
                    <a:lnTo>
                      <a:pt x="156" y="1271"/>
                    </a:lnTo>
                    <a:lnTo>
                      <a:pt x="153" y="1268"/>
                    </a:lnTo>
                    <a:lnTo>
                      <a:pt x="156" y="1266"/>
                    </a:lnTo>
                    <a:lnTo>
                      <a:pt x="152" y="1264"/>
                    </a:lnTo>
                    <a:lnTo>
                      <a:pt x="151" y="1262"/>
                    </a:lnTo>
                    <a:lnTo>
                      <a:pt x="152" y="1260"/>
                    </a:lnTo>
                    <a:lnTo>
                      <a:pt x="155" y="1258"/>
                    </a:lnTo>
                    <a:lnTo>
                      <a:pt x="157" y="1257"/>
                    </a:lnTo>
                    <a:lnTo>
                      <a:pt x="160" y="1256"/>
                    </a:lnTo>
                    <a:lnTo>
                      <a:pt x="160" y="1255"/>
                    </a:lnTo>
                    <a:lnTo>
                      <a:pt x="162" y="1252"/>
                    </a:lnTo>
                    <a:lnTo>
                      <a:pt x="161" y="1249"/>
                    </a:lnTo>
                    <a:lnTo>
                      <a:pt x="157" y="1247"/>
                    </a:lnTo>
                    <a:lnTo>
                      <a:pt x="151" y="1251"/>
                    </a:lnTo>
                    <a:lnTo>
                      <a:pt x="149" y="1253"/>
                    </a:lnTo>
                    <a:lnTo>
                      <a:pt x="148" y="1255"/>
                    </a:lnTo>
                    <a:lnTo>
                      <a:pt x="141" y="1257"/>
                    </a:lnTo>
                    <a:lnTo>
                      <a:pt x="140" y="1258"/>
                    </a:lnTo>
                    <a:lnTo>
                      <a:pt x="139" y="1260"/>
                    </a:lnTo>
                    <a:lnTo>
                      <a:pt x="135" y="1262"/>
                    </a:lnTo>
                    <a:lnTo>
                      <a:pt x="132" y="1264"/>
                    </a:lnTo>
                    <a:lnTo>
                      <a:pt x="125" y="1264"/>
                    </a:lnTo>
                    <a:lnTo>
                      <a:pt x="123" y="1263"/>
                    </a:lnTo>
                    <a:lnTo>
                      <a:pt x="121" y="1264"/>
                    </a:lnTo>
                    <a:lnTo>
                      <a:pt x="119" y="1269"/>
                    </a:lnTo>
                    <a:lnTo>
                      <a:pt x="117" y="1271"/>
                    </a:lnTo>
                    <a:lnTo>
                      <a:pt x="116" y="1271"/>
                    </a:lnTo>
                    <a:lnTo>
                      <a:pt x="116" y="1269"/>
                    </a:lnTo>
                    <a:lnTo>
                      <a:pt x="119" y="1268"/>
                    </a:lnTo>
                    <a:lnTo>
                      <a:pt x="117" y="1268"/>
                    </a:lnTo>
                    <a:lnTo>
                      <a:pt x="111" y="1265"/>
                    </a:lnTo>
                    <a:lnTo>
                      <a:pt x="111" y="1266"/>
                    </a:lnTo>
                    <a:lnTo>
                      <a:pt x="109" y="1269"/>
                    </a:lnTo>
                    <a:lnTo>
                      <a:pt x="106" y="1270"/>
                    </a:lnTo>
                    <a:lnTo>
                      <a:pt x="106" y="1272"/>
                    </a:lnTo>
                    <a:lnTo>
                      <a:pt x="105" y="1272"/>
                    </a:lnTo>
                    <a:lnTo>
                      <a:pt x="102" y="1273"/>
                    </a:lnTo>
                    <a:lnTo>
                      <a:pt x="102" y="1277"/>
                    </a:lnTo>
                    <a:lnTo>
                      <a:pt x="101" y="1278"/>
                    </a:lnTo>
                    <a:lnTo>
                      <a:pt x="101" y="1280"/>
                    </a:lnTo>
                    <a:lnTo>
                      <a:pt x="101" y="1283"/>
                    </a:lnTo>
                    <a:lnTo>
                      <a:pt x="101" y="1287"/>
                    </a:lnTo>
                    <a:lnTo>
                      <a:pt x="100" y="1289"/>
                    </a:lnTo>
                    <a:lnTo>
                      <a:pt x="97" y="1289"/>
                    </a:lnTo>
                    <a:lnTo>
                      <a:pt x="94" y="1291"/>
                    </a:lnTo>
                    <a:lnTo>
                      <a:pt x="92" y="1294"/>
                    </a:lnTo>
                    <a:lnTo>
                      <a:pt x="89" y="1297"/>
                    </a:lnTo>
                    <a:lnTo>
                      <a:pt x="87" y="1299"/>
                    </a:lnTo>
                    <a:lnTo>
                      <a:pt x="84" y="1303"/>
                    </a:lnTo>
                    <a:lnTo>
                      <a:pt x="85" y="1308"/>
                    </a:lnTo>
                    <a:lnTo>
                      <a:pt x="83" y="1309"/>
                    </a:lnTo>
                    <a:lnTo>
                      <a:pt x="84" y="1307"/>
                    </a:lnTo>
                    <a:lnTo>
                      <a:pt x="79" y="1302"/>
                    </a:lnTo>
                    <a:lnTo>
                      <a:pt x="77" y="1299"/>
                    </a:lnTo>
                    <a:lnTo>
                      <a:pt x="75" y="1299"/>
                    </a:lnTo>
                    <a:lnTo>
                      <a:pt x="73" y="1297"/>
                    </a:lnTo>
                    <a:lnTo>
                      <a:pt x="71" y="1295"/>
                    </a:lnTo>
                    <a:lnTo>
                      <a:pt x="68" y="1292"/>
                    </a:lnTo>
                    <a:lnTo>
                      <a:pt x="66" y="1291"/>
                    </a:lnTo>
                    <a:lnTo>
                      <a:pt x="60" y="1289"/>
                    </a:lnTo>
                    <a:lnTo>
                      <a:pt x="56" y="1289"/>
                    </a:lnTo>
                    <a:lnTo>
                      <a:pt x="54" y="1289"/>
                    </a:lnTo>
                    <a:lnTo>
                      <a:pt x="55" y="1288"/>
                    </a:lnTo>
                    <a:lnTo>
                      <a:pt x="54" y="1288"/>
                    </a:lnTo>
                    <a:lnTo>
                      <a:pt x="50" y="1288"/>
                    </a:lnTo>
                    <a:lnTo>
                      <a:pt x="48" y="1287"/>
                    </a:lnTo>
                    <a:lnTo>
                      <a:pt x="46" y="1287"/>
                    </a:lnTo>
                    <a:lnTo>
                      <a:pt x="43" y="1290"/>
                    </a:lnTo>
                    <a:lnTo>
                      <a:pt x="42" y="1290"/>
                    </a:lnTo>
                    <a:lnTo>
                      <a:pt x="42" y="1290"/>
                    </a:lnTo>
                    <a:lnTo>
                      <a:pt x="42" y="1291"/>
                    </a:lnTo>
                    <a:lnTo>
                      <a:pt x="41" y="1291"/>
                    </a:lnTo>
                    <a:lnTo>
                      <a:pt x="39" y="1292"/>
                    </a:lnTo>
                    <a:lnTo>
                      <a:pt x="33" y="1295"/>
                    </a:lnTo>
                    <a:lnTo>
                      <a:pt x="29" y="1297"/>
                    </a:lnTo>
                    <a:lnTo>
                      <a:pt x="24" y="1298"/>
                    </a:lnTo>
                    <a:lnTo>
                      <a:pt x="20" y="1297"/>
                    </a:lnTo>
                    <a:lnTo>
                      <a:pt x="15" y="1294"/>
                    </a:lnTo>
                    <a:lnTo>
                      <a:pt x="17" y="1296"/>
                    </a:lnTo>
                    <a:lnTo>
                      <a:pt x="13" y="1296"/>
                    </a:lnTo>
                    <a:lnTo>
                      <a:pt x="11" y="1295"/>
                    </a:lnTo>
                    <a:lnTo>
                      <a:pt x="11" y="1292"/>
                    </a:lnTo>
                    <a:lnTo>
                      <a:pt x="8" y="1291"/>
                    </a:lnTo>
                    <a:lnTo>
                      <a:pt x="8" y="1289"/>
                    </a:lnTo>
                    <a:lnTo>
                      <a:pt x="6" y="1287"/>
                    </a:lnTo>
                    <a:lnTo>
                      <a:pt x="5" y="1288"/>
                    </a:lnTo>
                    <a:lnTo>
                      <a:pt x="3" y="1287"/>
                    </a:lnTo>
                    <a:lnTo>
                      <a:pt x="2" y="1287"/>
                    </a:lnTo>
                    <a:lnTo>
                      <a:pt x="3" y="1288"/>
                    </a:lnTo>
                    <a:lnTo>
                      <a:pt x="0" y="1291"/>
                    </a:lnTo>
                    <a:lnTo>
                      <a:pt x="0" y="1295"/>
                    </a:lnTo>
                    <a:lnTo>
                      <a:pt x="4" y="1296"/>
                    </a:lnTo>
                    <a:lnTo>
                      <a:pt x="4" y="1296"/>
                    </a:lnTo>
                    <a:lnTo>
                      <a:pt x="3" y="1297"/>
                    </a:lnTo>
                    <a:lnTo>
                      <a:pt x="2" y="1298"/>
                    </a:lnTo>
                    <a:lnTo>
                      <a:pt x="3" y="1302"/>
                    </a:lnTo>
                    <a:lnTo>
                      <a:pt x="3" y="1303"/>
                    </a:lnTo>
                    <a:lnTo>
                      <a:pt x="2" y="1303"/>
                    </a:lnTo>
                    <a:lnTo>
                      <a:pt x="0" y="1304"/>
                    </a:lnTo>
                    <a:lnTo>
                      <a:pt x="0" y="1305"/>
                    </a:lnTo>
                    <a:lnTo>
                      <a:pt x="0" y="1305"/>
                    </a:lnTo>
                    <a:lnTo>
                      <a:pt x="2" y="1308"/>
                    </a:lnTo>
                    <a:lnTo>
                      <a:pt x="3" y="1305"/>
                    </a:lnTo>
                    <a:lnTo>
                      <a:pt x="8" y="1304"/>
                    </a:lnTo>
                    <a:lnTo>
                      <a:pt x="10" y="1304"/>
                    </a:lnTo>
                    <a:lnTo>
                      <a:pt x="12" y="1306"/>
                    </a:lnTo>
                    <a:lnTo>
                      <a:pt x="14" y="1306"/>
                    </a:lnTo>
                    <a:lnTo>
                      <a:pt x="15" y="1307"/>
                    </a:lnTo>
                    <a:lnTo>
                      <a:pt x="19" y="1309"/>
                    </a:lnTo>
                    <a:lnTo>
                      <a:pt x="19" y="1311"/>
                    </a:lnTo>
                    <a:lnTo>
                      <a:pt x="22" y="1313"/>
                    </a:lnTo>
                    <a:lnTo>
                      <a:pt x="24" y="1314"/>
                    </a:lnTo>
                    <a:lnTo>
                      <a:pt x="24" y="1311"/>
                    </a:lnTo>
                    <a:lnTo>
                      <a:pt x="27" y="1311"/>
                    </a:lnTo>
                    <a:lnTo>
                      <a:pt x="28" y="1314"/>
                    </a:lnTo>
                    <a:lnTo>
                      <a:pt x="30" y="1320"/>
                    </a:lnTo>
                    <a:lnTo>
                      <a:pt x="33" y="1320"/>
                    </a:lnTo>
                    <a:lnTo>
                      <a:pt x="36" y="1318"/>
                    </a:lnTo>
                    <a:lnTo>
                      <a:pt x="36" y="1317"/>
                    </a:lnTo>
                    <a:lnTo>
                      <a:pt x="41" y="1316"/>
                    </a:lnTo>
                    <a:lnTo>
                      <a:pt x="40" y="1314"/>
                    </a:lnTo>
                    <a:lnTo>
                      <a:pt x="34" y="1307"/>
                    </a:lnTo>
                    <a:lnTo>
                      <a:pt x="36" y="1305"/>
                    </a:lnTo>
                    <a:lnTo>
                      <a:pt x="38" y="1305"/>
                    </a:lnTo>
                    <a:lnTo>
                      <a:pt x="43" y="1302"/>
                    </a:lnTo>
                    <a:lnTo>
                      <a:pt x="46" y="1297"/>
                    </a:lnTo>
                    <a:lnTo>
                      <a:pt x="47" y="1296"/>
                    </a:lnTo>
                    <a:lnTo>
                      <a:pt x="48" y="1296"/>
                    </a:lnTo>
                    <a:lnTo>
                      <a:pt x="49" y="1295"/>
                    </a:lnTo>
                    <a:lnTo>
                      <a:pt x="51" y="1295"/>
                    </a:lnTo>
                    <a:lnTo>
                      <a:pt x="55" y="1294"/>
                    </a:lnTo>
                    <a:lnTo>
                      <a:pt x="55" y="1296"/>
                    </a:lnTo>
                    <a:lnTo>
                      <a:pt x="60" y="1299"/>
                    </a:lnTo>
                    <a:lnTo>
                      <a:pt x="63" y="1304"/>
                    </a:lnTo>
                    <a:lnTo>
                      <a:pt x="63" y="1302"/>
                    </a:lnTo>
                    <a:lnTo>
                      <a:pt x="64" y="1303"/>
                    </a:lnTo>
                    <a:lnTo>
                      <a:pt x="66" y="1302"/>
                    </a:lnTo>
                    <a:lnTo>
                      <a:pt x="70" y="1305"/>
                    </a:lnTo>
                    <a:lnTo>
                      <a:pt x="67" y="1304"/>
                    </a:lnTo>
                    <a:lnTo>
                      <a:pt x="65" y="1305"/>
                    </a:lnTo>
                    <a:lnTo>
                      <a:pt x="65" y="1308"/>
                    </a:lnTo>
                    <a:lnTo>
                      <a:pt x="64" y="1308"/>
                    </a:lnTo>
                    <a:lnTo>
                      <a:pt x="63" y="1307"/>
                    </a:lnTo>
                    <a:lnTo>
                      <a:pt x="63" y="1311"/>
                    </a:lnTo>
                    <a:lnTo>
                      <a:pt x="66" y="1315"/>
                    </a:lnTo>
                    <a:lnTo>
                      <a:pt x="73" y="1322"/>
                    </a:lnTo>
                    <a:lnTo>
                      <a:pt x="74" y="1325"/>
                    </a:lnTo>
                    <a:lnTo>
                      <a:pt x="76" y="1328"/>
                    </a:lnTo>
                    <a:lnTo>
                      <a:pt x="77" y="1330"/>
                    </a:lnTo>
                    <a:lnTo>
                      <a:pt x="75" y="1333"/>
                    </a:lnTo>
                    <a:lnTo>
                      <a:pt x="79" y="1339"/>
                    </a:lnTo>
                    <a:lnTo>
                      <a:pt x="79" y="1341"/>
                    </a:lnTo>
                    <a:lnTo>
                      <a:pt x="75" y="1342"/>
                    </a:lnTo>
                    <a:lnTo>
                      <a:pt x="76" y="1345"/>
                    </a:lnTo>
                    <a:lnTo>
                      <a:pt x="77" y="1347"/>
                    </a:lnTo>
                    <a:lnTo>
                      <a:pt x="77" y="1355"/>
                    </a:lnTo>
                    <a:lnTo>
                      <a:pt x="77" y="1357"/>
                    </a:lnTo>
                    <a:lnTo>
                      <a:pt x="79" y="1360"/>
                    </a:lnTo>
                    <a:lnTo>
                      <a:pt x="76" y="1362"/>
                    </a:lnTo>
                    <a:lnTo>
                      <a:pt x="76" y="1364"/>
                    </a:lnTo>
                    <a:lnTo>
                      <a:pt x="80" y="1364"/>
                    </a:lnTo>
                    <a:lnTo>
                      <a:pt x="79" y="1366"/>
                    </a:lnTo>
                    <a:lnTo>
                      <a:pt x="81" y="1366"/>
                    </a:lnTo>
                    <a:lnTo>
                      <a:pt x="80" y="1366"/>
                    </a:lnTo>
                    <a:lnTo>
                      <a:pt x="79" y="1369"/>
                    </a:lnTo>
                    <a:lnTo>
                      <a:pt x="77" y="1371"/>
                    </a:lnTo>
                    <a:lnTo>
                      <a:pt x="76" y="1374"/>
                    </a:lnTo>
                    <a:lnTo>
                      <a:pt x="76" y="1374"/>
                    </a:lnTo>
                    <a:lnTo>
                      <a:pt x="74" y="1377"/>
                    </a:lnTo>
                    <a:lnTo>
                      <a:pt x="72" y="1381"/>
                    </a:lnTo>
                    <a:lnTo>
                      <a:pt x="72" y="1383"/>
                    </a:lnTo>
                    <a:lnTo>
                      <a:pt x="70" y="1383"/>
                    </a:lnTo>
                    <a:lnTo>
                      <a:pt x="68" y="1384"/>
                    </a:lnTo>
                    <a:lnTo>
                      <a:pt x="66" y="1384"/>
                    </a:lnTo>
                    <a:lnTo>
                      <a:pt x="60" y="1385"/>
                    </a:lnTo>
                    <a:lnTo>
                      <a:pt x="59" y="1389"/>
                    </a:lnTo>
                    <a:lnTo>
                      <a:pt x="60" y="1392"/>
                    </a:lnTo>
                    <a:lnTo>
                      <a:pt x="58" y="1394"/>
                    </a:lnTo>
                    <a:lnTo>
                      <a:pt x="56" y="1394"/>
                    </a:lnTo>
                    <a:lnTo>
                      <a:pt x="56" y="1397"/>
                    </a:lnTo>
                    <a:lnTo>
                      <a:pt x="57" y="1399"/>
                    </a:lnTo>
                    <a:lnTo>
                      <a:pt x="56" y="1401"/>
                    </a:lnTo>
                    <a:lnTo>
                      <a:pt x="55" y="1403"/>
                    </a:lnTo>
                    <a:lnTo>
                      <a:pt x="49" y="1405"/>
                    </a:lnTo>
                    <a:lnTo>
                      <a:pt x="47" y="1405"/>
                    </a:lnTo>
                    <a:lnTo>
                      <a:pt x="46" y="1407"/>
                    </a:lnTo>
                    <a:lnTo>
                      <a:pt x="43" y="1407"/>
                    </a:lnTo>
                    <a:lnTo>
                      <a:pt x="41" y="1408"/>
                    </a:lnTo>
                    <a:lnTo>
                      <a:pt x="40" y="1410"/>
                    </a:lnTo>
                    <a:lnTo>
                      <a:pt x="41" y="1414"/>
                    </a:lnTo>
                    <a:lnTo>
                      <a:pt x="40" y="1417"/>
                    </a:lnTo>
                    <a:lnTo>
                      <a:pt x="39" y="1418"/>
                    </a:lnTo>
                    <a:lnTo>
                      <a:pt x="34" y="1424"/>
                    </a:lnTo>
                    <a:lnTo>
                      <a:pt x="36" y="1426"/>
                    </a:lnTo>
                    <a:lnTo>
                      <a:pt x="38" y="1427"/>
                    </a:lnTo>
                    <a:lnTo>
                      <a:pt x="34" y="1427"/>
                    </a:lnTo>
                    <a:lnTo>
                      <a:pt x="33" y="1431"/>
                    </a:lnTo>
                    <a:lnTo>
                      <a:pt x="31" y="1432"/>
                    </a:lnTo>
                    <a:lnTo>
                      <a:pt x="29" y="1434"/>
                    </a:lnTo>
                    <a:lnTo>
                      <a:pt x="31" y="1436"/>
                    </a:lnTo>
                    <a:lnTo>
                      <a:pt x="30" y="1440"/>
                    </a:lnTo>
                    <a:lnTo>
                      <a:pt x="30" y="1442"/>
                    </a:lnTo>
                    <a:lnTo>
                      <a:pt x="31" y="1444"/>
                    </a:lnTo>
                    <a:lnTo>
                      <a:pt x="31" y="1448"/>
                    </a:lnTo>
                    <a:lnTo>
                      <a:pt x="29" y="1449"/>
                    </a:lnTo>
                    <a:lnTo>
                      <a:pt x="28" y="1449"/>
                    </a:lnTo>
                    <a:lnTo>
                      <a:pt x="30" y="1451"/>
                    </a:lnTo>
                    <a:lnTo>
                      <a:pt x="33" y="1452"/>
                    </a:lnTo>
                    <a:lnTo>
                      <a:pt x="36" y="1454"/>
                    </a:lnTo>
                    <a:lnTo>
                      <a:pt x="38" y="1454"/>
                    </a:lnTo>
                    <a:lnTo>
                      <a:pt x="41" y="1451"/>
                    </a:lnTo>
                    <a:lnTo>
                      <a:pt x="41" y="1452"/>
                    </a:lnTo>
                    <a:lnTo>
                      <a:pt x="42" y="1452"/>
                    </a:lnTo>
                    <a:lnTo>
                      <a:pt x="41" y="1452"/>
                    </a:lnTo>
                    <a:lnTo>
                      <a:pt x="41" y="1454"/>
                    </a:lnTo>
                    <a:lnTo>
                      <a:pt x="42" y="1454"/>
                    </a:lnTo>
                    <a:lnTo>
                      <a:pt x="43" y="1451"/>
                    </a:lnTo>
                    <a:lnTo>
                      <a:pt x="42" y="1449"/>
                    </a:lnTo>
                    <a:lnTo>
                      <a:pt x="42" y="1448"/>
                    </a:lnTo>
                    <a:lnTo>
                      <a:pt x="45" y="1446"/>
                    </a:lnTo>
                    <a:lnTo>
                      <a:pt x="43" y="1449"/>
                    </a:lnTo>
                    <a:lnTo>
                      <a:pt x="43" y="1451"/>
                    </a:lnTo>
                    <a:lnTo>
                      <a:pt x="45" y="1454"/>
                    </a:lnTo>
                    <a:lnTo>
                      <a:pt x="43" y="1457"/>
                    </a:lnTo>
                    <a:lnTo>
                      <a:pt x="42" y="1461"/>
                    </a:lnTo>
                    <a:lnTo>
                      <a:pt x="41" y="1462"/>
                    </a:lnTo>
                    <a:lnTo>
                      <a:pt x="39" y="1465"/>
                    </a:lnTo>
                    <a:lnTo>
                      <a:pt x="38" y="1465"/>
                    </a:lnTo>
                    <a:lnTo>
                      <a:pt x="37" y="1465"/>
                    </a:lnTo>
                    <a:lnTo>
                      <a:pt x="33" y="1467"/>
                    </a:lnTo>
                    <a:lnTo>
                      <a:pt x="31" y="1469"/>
                    </a:lnTo>
                    <a:lnTo>
                      <a:pt x="29" y="1472"/>
                    </a:lnTo>
                    <a:lnTo>
                      <a:pt x="23" y="1477"/>
                    </a:lnTo>
                    <a:lnTo>
                      <a:pt x="23" y="1479"/>
                    </a:lnTo>
                    <a:lnTo>
                      <a:pt x="23" y="1480"/>
                    </a:lnTo>
                    <a:lnTo>
                      <a:pt x="23" y="1484"/>
                    </a:lnTo>
                    <a:lnTo>
                      <a:pt x="25" y="1486"/>
                    </a:lnTo>
                    <a:lnTo>
                      <a:pt x="25" y="1488"/>
                    </a:lnTo>
                    <a:lnTo>
                      <a:pt x="25" y="1491"/>
                    </a:lnTo>
                    <a:lnTo>
                      <a:pt x="29" y="1494"/>
                    </a:lnTo>
                    <a:lnTo>
                      <a:pt x="29" y="1496"/>
                    </a:lnTo>
                    <a:lnTo>
                      <a:pt x="28" y="1499"/>
                    </a:lnTo>
                    <a:lnTo>
                      <a:pt x="25" y="1499"/>
                    </a:lnTo>
                    <a:lnTo>
                      <a:pt x="25" y="1502"/>
                    </a:lnTo>
                    <a:lnTo>
                      <a:pt x="28" y="1503"/>
                    </a:lnTo>
                    <a:lnTo>
                      <a:pt x="33" y="1505"/>
                    </a:lnTo>
                    <a:lnTo>
                      <a:pt x="41" y="1511"/>
                    </a:lnTo>
                    <a:lnTo>
                      <a:pt x="41" y="1512"/>
                    </a:lnTo>
                    <a:lnTo>
                      <a:pt x="45" y="1517"/>
                    </a:lnTo>
                    <a:lnTo>
                      <a:pt x="45" y="1517"/>
                    </a:lnTo>
                    <a:lnTo>
                      <a:pt x="47" y="1519"/>
                    </a:lnTo>
                    <a:lnTo>
                      <a:pt x="47" y="1520"/>
                    </a:lnTo>
                    <a:lnTo>
                      <a:pt x="49" y="1526"/>
                    </a:lnTo>
                    <a:lnTo>
                      <a:pt x="50" y="1528"/>
                    </a:lnTo>
                    <a:lnTo>
                      <a:pt x="54" y="1530"/>
                    </a:lnTo>
                    <a:lnTo>
                      <a:pt x="57" y="1535"/>
                    </a:lnTo>
                    <a:lnTo>
                      <a:pt x="62" y="1546"/>
                    </a:lnTo>
                    <a:lnTo>
                      <a:pt x="63" y="1548"/>
                    </a:lnTo>
                    <a:lnTo>
                      <a:pt x="66" y="1559"/>
                    </a:lnTo>
                    <a:lnTo>
                      <a:pt x="72" y="1568"/>
                    </a:lnTo>
                    <a:lnTo>
                      <a:pt x="73" y="1571"/>
                    </a:lnTo>
                    <a:lnTo>
                      <a:pt x="73" y="1573"/>
                    </a:lnTo>
                    <a:lnTo>
                      <a:pt x="76" y="1576"/>
                    </a:lnTo>
                    <a:lnTo>
                      <a:pt x="79" y="1578"/>
                    </a:lnTo>
                    <a:lnTo>
                      <a:pt x="80" y="1581"/>
                    </a:lnTo>
                    <a:lnTo>
                      <a:pt x="80" y="1583"/>
                    </a:lnTo>
                    <a:lnTo>
                      <a:pt x="80" y="1585"/>
                    </a:lnTo>
                    <a:lnTo>
                      <a:pt x="85" y="1590"/>
                    </a:lnTo>
                    <a:lnTo>
                      <a:pt x="88" y="1595"/>
                    </a:lnTo>
                    <a:lnTo>
                      <a:pt x="89" y="1598"/>
                    </a:lnTo>
                    <a:lnTo>
                      <a:pt x="92" y="1602"/>
                    </a:lnTo>
                    <a:lnTo>
                      <a:pt x="93" y="1605"/>
                    </a:lnTo>
                    <a:lnTo>
                      <a:pt x="93" y="1607"/>
                    </a:lnTo>
                    <a:lnTo>
                      <a:pt x="91" y="1610"/>
                    </a:lnTo>
                    <a:lnTo>
                      <a:pt x="92" y="1613"/>
                    </a:lnTo>
                    <a:lnTo>
                      <a:pt x="96" y="1617"/>
                    </a:lnTo>
                    <a:lnTo>
                      <a:pt x="97" y="1621"/>
                    </a:lnTo>
                    <a:lnTo>
                      <a:pt x="102" y="1624"/>
                    </a:lnTo>
                    <a:lnTo>
                      <a:pt x="106" y="1629"/>
                    </a:lnTo>
                    <a:lnTo>
                      <a:pt x="107" y="1631"/>
                    </a:lnTo>
                    <a:lnTo>
                      <a:pt x="109" y="1632"/>
                    </a:lnTo>
                    <a:lnTo>
                      <a:pt x="116" y="1636"/>
                    </a:lnTo>
                    <a:lnTo>
                      <a:pt x="118" y="1638"/>
                    </a:lnTo>
                    <a:lnTo>
                      <a:pt x="122" y="1638"/>
                    </a:lnTo>
                    <a:lnTo>
                      <a:pt x="126" y="1642"/>
                    </a:lnTo>
                    <a:lnTo>
                      <a:pt x="139" y="1647"/>
                    </a:lnTo>
                    <a:lnTo>
                      <a:pt x="140" y="1648"/>
                    </a:lnTo>
                    <a:lnTo>
                      <a:pt x="143" y="1649"/>
                    </a:lnTo>
                    <a:lnTo>
                      <a:pt x="145" y="1650"/>
                    </a:lnTo>
                    <a:lnTo>
                      <a:pt x="149" y="1654"/>
                    </a:lnTo>
                    <a:lnTo>
                      <a:pt x="150" y="1654"/>
                    </a:lnTo>
                    <a:lnTo>
                      <a:pt x="152" y="1656"/>
                    </a:lnTo>
                    <a:lnTo>
                      <a:pt x="156" y="1657"/>
                    </a:lnTo>
                    <a:lnTo>
                      <a:pt x="158" y="1658"/>
                    </a:lnTo>
                    <a:lnTo>
                      <a:pt x="159" y="1660"/>
                    </a:lnTo>
                    <a:lnTo>
                      <a:pt x="159" y="1664"/>
                    </a:lnTo>
                    <a:lnTo>
                      <a:pt x="165" y="1666"/>
                    </a:lnTo>
                    <a:lnTo>
                      <a:pt x="173" y="1673"/>
                    </a:lnTo>
                    <a:lnTo>
                      <a:pt x="174" y="1674"/>
                    </a:lnTo>
                    <a:lnTo>
                      <a:pt x="174" y="1676"/>
                    </a:lnTo>
                    <a:lnTo>
                      <a:pt x="174" y="1682"/>
                    </a:lnTo>
                    <a:lnTo>
                      <a:pt x="175" y="1688"/>
                    </a:lnTo>
                    <a:lnTo>
                      <a:pt x="176" y="1696"/>
                    </a:lnTo>
                    <a:lnTo>
                      <a:pt x="175" y="1701"/>
                    </a:lnTo>
                    <a:lnTo>
                      <a:pt x="175" y="1707"/>
                    </a:lnTo>
                    <a:lnTo>
                      <a:pt x="176" y="1709"/>
                    </a:lnTo>
                    <a:lnTo>
                      <a:pt x="177" y="1717"/>
                    </a:lnTo>
                    <a:lnTo>
                      <a:pt x="176" y="1719"/>
                    </a:lnTo>
                    <a:lnTo>
                      <a:pt x="176" y="1722"/>
                    </a:lnTo>
                    <a:lnTo>
                      <a:pt x="175" y="1731"/>
                    </a:lnTo>
                    <a:lnTo>
                      <a:pt x="174" y="1739"/>
                    </a:lnTo>
                    <a:lnTo>
                      <a:pt x="169" y="1743"/>
                    </a:lnTo>
                    <a:lnTo>
                      <a:pt x="169" y="1745"/>
                    </a:lnTo>
                    <a:lnTo>
                      <a:pt x="173" y="1747"/>
                    </a:lnTo>
                    <a:lnTo>
                      <a:pt x="173" y="1749"/>
                    </a:lnTo>
                    <a:lnTo>
                      <a:pt x="171" y="1751"/>
                    </a:lnTo>
                    <a:lnTo>
                      <a:pt x="171" y="1757"/>
                    </a:lnTo>
                    <a:lnTo>
                      <a:pt x="170" y="1762"/>
                    </a:lnTo>
                    <a:lnTo>
                      <a:pt x="171" y="1768"/>
                    </a:lnTo>
                    <a:lnTo>
                      <a:pt x="171" y="1770"/>
                    </a:lnTo>
                    <a:lnTo>
                      <a:pt x="171" y="1773"/>
                    </a:lnTo>
                    <a:lnTo>
                      <a:pt x="169" y="1776"/>
                    </a:lnTo>
                    <a:lnTo>
                      <a:pt x="169" y="1778"/>
                    </a:lnTo>
                    <a:lnTo>
                      <a:pt x="168" y="1781"/>
                    </a:lnTo>
                    <a:lnTo>
                      <a:pt x="169" y="1783"/>
                    </a:lnTo>
                    <a:lnTo>
                      <a:pt x="169" y="1786"/>
                    </a:lnTo>
                    <a:lnTo>
                      <a:pt x="169" y="1787"/>
                    </a:lnTo>
                    <a:lnTo>
                      <a:pt x="165" y="1801"/>
                    </a:lnTo>
                    <a:lnTo>
                      <a:pt x="166" y="1804"/>
                    </a:lnTo>
                    <a:lnTo>
                      <a:pt x="164" y="1808"/>
                    </a:lnTo>
                    <a:lnTo>
                      <a:pt x="162" y="1813"/>
                    </a:lnTo>
                    <a:lnTo>
                      <a:pt x="161" y="1818"/>
                    </a:lnTo>
                    <a:lnTo>
                      <a:pt x="158" y="1827"/>
                    </a:lnTo>
                    <a:lnTo>
                      <a:pt x="158" y="1830"/>
                    </a:lnTo>
                    <a:lnTo>
                      <a:pt x="160" y="1833"/>
                    </a:lnTo>
                    <a:lnTo>
                      <a:pt x="160" y="1838"/>
                    </a:lnTo>
                    <a:lnTo>
                      <a:pt x="160" y="1841"/>
                    </a:lnTo>
                    <a:lnTo>
                      <a:pt x="159" y="1842"/>
                    </a:lnTo>
                    <a:lnTo>
                      <a:pt x="159" y="1845"/>
                    </a:lnTo>
                    <a:lnTo>
                      <a:pt x="157" y="1846"/>
                    </a:lnTo>
                    <a:lnTo>
                      <a:pt x="155" y="1848"/>
                    </a:lnTo>
                    <a:lnTo>
                      <a:pt x="155" y="1852"/>
                    </a:lnTo>
                    <a:lnTo>
                      <a:pt x="157" y="1867"/>
                    </a:lnTo>
                    <a:lnTo>
                      <a:pt x="157" y="1869"/>
                    </a:lnTo>
                    <a:lnTo>
                      <a:pt x="157" y="1875"/>
                    </a:lnTo>
                    <a:lnTo>
                      <a:pt x="159" y="1878"/>
                    </a:lnTo>
                    <a:lnTo>
                      <a:pt x="157" y="1884"/>
                    </a:lnTo>
                    <a:lnTo>
                      <a:pt x="157" y="1886"/>
                    </a:lnTo>
                    <a:lnTo>
                      <a:pt x="155" y="1888"/>
                    </a:lnTo>
                    <a:lnTo>
                      <a:pt x="155" y="1894"/>
                    </a:lnTo>
                    <a:lnTo>
                      <a:pt x="156" y="1897"/>
                    </a:lnTo>
                    <a:lnTo>
                      <a:pt x="153" y="1899"/>
                    </a:lnTo>
                    <a:lnTo>
                      <a:pt x="151" y="1904"/>
                    </a:lnTo>
                    <a:lnTo>
                      <a:pt x="151" y="1907"/>
                    </a:lnTo>
                    <a:lnTo>
                      <a:pt x="150" y="1908"/>
                    </a:lnTo>
                    <a:lnTo>
                      <a:pt x="150" y="1914"/>
                    </a:lnTo>
                    <a:lnTo>
                      <a:pt x="148" y="1918"/>
                    </a:lnTo>
                    <a:lnTo>
                      <a:pt x="148" y="1919"/>
                    </a:lnTo>
                    <a:lnTo>
                      <a:pt x="144" y="1923"/>
                    </a:lnTo>
                    <a:lnTo>
                      <a:pt x="143" y="1927"/>
                    </a:lnTo>
                    <a:lnTo>
                      <a:pt x="142" y="1931"/>
                    </a:lnTo>
                    <a:lnTo>
                      <a:pt x="140" y="1935"/>
                    </a:lnTo>
                    <a:lnTo>
                      <a:pt x="140" y="1937"/>
                    </a:lnTo>
                    <a:lnTo>
                      <a:pt x="139" y="1940"/>
                    </a:lnTo>
                    <a:lnTo>
                      <a:pt x="138" y="1942"/>
                    </a:lnTo>
                    <a:lnTo>
                      <a:pt x="138" y="1945"/>
                    </a:lnTo>
                    <a:lnTo>
                      <a:pt x="134" y="1946"/>
                    </a:lnTo>
                    <a:lnTo>
                      <a:pt x="134" y="1952"/>
                    </a:lnTo>
                    <a:lnTo>
                      <a:pt x="132" y="1953"/>
                    </a:lnTo>
                    <a:lnTo>
                      <a:pt x="130" y="1952"/>
                    </a:lnTo>
                    <a:lnTo>
                      <a:pt x="127" y="1955"/>
                    </a:lnTo>
                    <a:lnTo>
                      <a:pt x="128" y="1957"/>
                    </a:lnTo>
                    <a:lnTo>
                      <a:pt x="127" y="1958"/>
                    </a:lnTo>
                    <a:lnTo>
                      <a:pt x="128" y="1962"/>
                    </a:lnTo>
                    <a:lnTo>
                      <a:pt x="130" y="1964"/>
                    </a:lnTo>
                    <a:lnTo>
                      <a:pt x="131" y="1966"/>
                    </a:lnTo>
                    <a:lnTo>
                      <a:pt x="130" y="1972"/>
                    </a:lnTo>
                    <a:lnTo>
                      <a:pt x="131" y="1975"/>
                    </a:lnTo>
                    <a:lnTo>
                      <a:pt x="134" y="1984"/>
                    </a:lnTo>
                    <a:lnTo>
                      <a:pt x="134" y="1987"/>
                    </a:lnTo>
                    <a:lnTo>
                      <a:pt x="133" y="1990"/>
                    </a:lnTo>
                    <a:lnTo>
                      <a:pt x="132" y="1992"/>
                    </a:lnTo>
                    <a:lnTo>
                      <a:pt x="132" y="1995"/>
                    </a:lnTo>
                    <a:lnTo>
                      <a:pt x="130" y="1996"/>
                    </a:lnTo>
                    <a:lnTo>
                      <a:pt x="127" y="1997"/>
                    </a:lnTo>
                    <a:lnTo>
                      <a:pt x="127" y="2000"/>
                    </a:lnTo>
                    <a:lnTo>
                      <a:pt x="126" y="2004"/>
                    </a:lnTo>
                    <a:lnTo>
                      <a:pt x="126" y="2006"/>
                    </a:lnTo>
                    <a:lnTo>
                      <a:pt x="123" y="2013"/>
                    </a:lnTo>
                    <a:lnTo>
                      <a:pt x="124" y="2016"/>
                    </a:lnTo>
                    <a:lnTo>
                      <a:pt x="125" y="2018"/>
                    </a:lnTo>
                    <a:lnTo>
                      <a:pt x="125" y="2022"/>
                    </a:lnTo>
                    <a:lnTo>
                      <a:pt x="127" y="2023"/>
                    </a:lnTo>
                    <a:lnTo>
                      <a:pt x="130" y="2023"/>
                    </a:lnTo>
                    <a:lnTo>
                      <a:pt x="128" y="2026"/>
                    </a:lnTo>
                    <a:lnTo>
                      <a:pt x="130" y="2026"/>
                    </a:lnTo>
                    <a:lnTo>
                      <a:pt x="135" y="2026"/>
                    </a:lnTo>
                    <a:lnTo>
                      <a:pt x="135" y="2023"/>
                    </a:lnTo>
                    <a:lnTo>
                      <a:pt x="139" y="2022"/>
                    </a:lnTo>
                    <a:lnTo>
                      <a:pt x="143" y="2025"/>
                    </a:lnTo>
                    <a:lnTo>
                      <a:pt x="145" y="2022"/>
                    </a:lnTo>
                    <a:lnTo>
                      <a:pt x="145" y="2025"/>
                    </a:lnTo>
                    <a:lnTo>
                      <a:pt x="142" y="2025"/>
                    </a:lnTo>
                    <a:lnTo>
                      <a:pt x="140" y="2027"/>
                    </a:lnTo>
                    <a:lnTo>
                      <a:pt x="140" y="2030"/>
                    </a:lnTo>
                    <a:lnTo>
                      <a:pt x="143" y="2031"/>
                    </a:lnTo>
                    <a:lnTo>
                      <a:pt x="144" y="2032"/>
                    </a:lnTo>
                    <a:lnTo>
                      <a:pt x="144" y="2038"/>
                    </a:lnTo>
                    <a:lnTo>
                      <a:pt x="143" y="2035"/>
                    </a:lnTo>
                    <a:lnTo>
                      <a:pt x="141" y="2033"/>
                    </a:lnTo>
                    <a:lnTo>
                      <a:pt x="140" y="2036"/>
                    </a:lnTo>
                    <a:lnTo>
                      <a:pt x="143" y="2039"/>
                    </a:lnTo>
                    <a:lnTo>
                      <a:pt x="142" y="2039"/>
                    </a:lnTo>
                    <a:lnTo>
                      <a:pt x="140" y="2038"/>
                    </a:lnTo>
                    <a:lnTo>
                      <a:pt x="140" y="2043"/>
                    </a:lnTo>
                    <a:lnTo>
                      <a:pt x="141" y="2046"/>
                    </a:lnTo>
                    <a:lnTo>
                      <a:pt x="138" y="2048"/>
                    </a:lnTo>
                    <a:lnTo>
                      <a:pt x="138" y="2050"/>
                    </a:lnTo>
                    <a:lnTo>
                      <a:pt x="135" y="2053"/>
                    </a:lnTo>
                    <a:lnTo>
                      <a:pt x="136" y="2056"/>
                    </a:lnTo>
                    <a:lnTo>
                      <a:pt x="138" y="2056"/>
                    </a:lnTo>
                    <a:lnTo>
                      <a:pt x="136" y="2058"/>
                    </a:lnTo>
                    <a:lnTo>
                      <a:pt x="139" y="2058"/>
                    </a:lnTo>
                    <a:lnTo>
                      <a:pt x="133" y="2066"/>
                    </a:lnTo>
                    <a:lnTo>
                      <a:pt x="134" y="2067"/>
                    </a:lnTo>
                    <a:lnTo>
                      <a:pt x="138" y="2068"/>
                    </a:lnTo>
                    <a:lnTo>
                      <a:pt x="140" y="2070"/>
                    </a:lnTo>
                    <a:lnTo>
                      <a:pt x="142" y="2069"/>
                    </a:lnTo>
                    <a:lnTo>
                      <a:pt x="142" y="2072"/>
                    </a:lnTo>
                    <a:lnTo>
                      <a:pt x="141" y="2075"/>
                    </a:lnTo>
                    <a:lnTo>
                      <a:pt x="139" y="2077"/>
                    </a:lnTo>
                    <a:lnTo>
                      <a:pt x="135" y="2079"/>
                    </a:lnTo>
                    <a:lnTo>
                      <a:pt x="133" y="2079"/>
                    </a:lnTo>
                    <a:lnTo>
                      <a:pt x="132" y="2079"/>
                    </a:lnTo>
                    <a:lnTo>
                      <a:pt x="133" y="2083"/>
                    </a:lnTo>
                    <a:lnTo>
                      <a:pt x="135" y="2085"/>
                    </a:lnTo>
                    <a:lnTo>
                      <a:pt x="138" y="2087"/>
                    </a:lnTo>
                    <a:lnTo>
                      <a:pt x="140" y="2087"/>
                    </a:lnTo>
                    <a:lnTo>
                      <a:pt x="139" y="2087"/>
                    </a:lnTo>
                    <a:lnTo>
                      <a:pt x="136" y="2087"/>
                    </a:lnTo>
                    <a:lnTo>
                      <a:pt x="134" y="2085"/>
                    </a:lnTo>
                    <a:lnTo>
                      <a:pt x="131" y="2087"/>
                    </a:lnTo>
                    <a:lnTo>
                      <a:pt x="130" y="2090"/>
                    </a:lnTo>
                    <a:lnTo>
                      <a:pt x="130" y="2092"/>
                    </a:lnTo>
                    <a:lnTo>
                      <a:pt x="132" y="2091"/>
                    </a:lnTo>
                    <a:lnTo>
                      <a:pt x="130" y="2093"/>
                    </a:lnTo>
                    <a:lnTo>
                      <a:pt x="128" y="2096"/>
                    </a:lnTo>
                    <a:lnTo>
                      <a:pt x="128" y="2099"/>
                    </a:lnTo>
                    <a:lnTo>
                      <a:pt x="127" y="2101"/>
                    </a:lnTo>
                    <a:lnTo>
                      <a:pt x="131" y="2099"/>
                    </a:lnTo>
                    <a:lnTo>
                      <a:pt x="130" y="2101"/>
                    </a:lnTo>
                    <a:lnTo>
                      <a:pt x="126" y="2104"/>
                    </a:lnTo>
                    <a:lnTo>
                      <a:pt x="125" y="2107"/>
                    </a:lnTo>
                    <a:lnTo>
                      <a:pt x="125" y="2104"/>
                    </a:lnTo>
                    <a:lnTo>
                      <a:pt x="126" y="2102"/>
                    </a:lnTo>
                    <a:lnTo>
                      <a:pt x="124" y="2100"/>
                    </a:lnTo>
                    <a:lnTo>
                      <a:pt x="125" y="2102"/>
                    </a:lnTo>
                    <a:lnTo>
                      <a:pt x="122" y="2101"/>
                    </a:lnTo>
                    <a:lnTo>
                      <a:pt x="119" y="2101"/>
                    </a:lnTo>
                    <a:lnTo>
                      <a:pt x="117" y="2100"/>
                    </a:lnTo>
                    <a:lnTo>
                      <a:pt x="119" y="2101"/>
                    </a:lnTo>
                    <a:lnTo>
                      <a:pt x="122" y="2100"/>
                    </a:lnTo>
                    <a:lnTo>
                      <a:pt x="124" y="2098"/>
                    </a:lnTo>
                    <a:lnTo>
                      <a:pt x="121" y="2095"/>
                    </a:lnTo>
                    <a:lnTo>
                      <a:pt x="118" y="2093"/>
                    </a:lnTo>
                    <a:lnTo>
                      <a:pt x="117" y="2096"/>
                    </a:lnTo>
                    <a:lnTo>
                      <a:pt x="115" y="2094"/>
                    </a:lnTo>
                    <a:lnTo>
                      <a:pt x="113" y="2094"/>
                    </a:lnTo>
                    <a:lnTo>
                      <a:pt x="109" y="2095"/>
                    </a:lnTo>
                    <a:lnTo>
                      <a:pt x="108" y="2098"/>
                    </a:lnTo>
                    <a:lnTo>
                      <a:pt x="110" y="2099"/>
                    </a:lnTo>
                    <a:lnTo>
                      <a:pt x="113" y="2096"/>
                    </a:lnTo>
                    <a:lnTo>
                      <a:pt x="113" y="2099"/>
                    </a:lnTo>
                    <a:lnTo>
                      <a:pt x="110" y="2101"/>
                    </a:lnTo>
                    <a:lnTo>
                      <a:pt x="108" y="2102"/>
                    </a:lnTo>
                    <a:lnTo>
                      <a:pt x="102" y="2106"/>
                    </a:lnTo>
                    <a:lnTo>
                      <a:pt x="100" y="2109"/>
                    </a:lnTo>
                    <a:lnTo>
                      <a:pt x="100" y="2111"/>
                    </a:lnTo>
                    <a:lnTo>
                      <a:pt x="104" y="2113"/>
                    </a:lnTo>
                    <a:lnTo>
                      <a:pt x="105" y="2110"/>
                    </a:lnTo>
                    <a:lnTo>
                      <a:pt x="101" y="2109"/>
                    </a:lnTo>
                    <a:lnTo>
                      <a:pt x="107" y="2108"/>
                    </a:lnTo>
                    <a:lnTo>
                      <a:pt x="109" y="2106"/>
                    </a:lnTo>
                    <a:lnTo>
                      <a:pt x="109" y="2108"/>
                    </a:lnTo>
                    <a:lnTo>
                      <a:pt x="111" y="2110"/>
                    </a:lnTo>
                    <a:lnTo>
                      <a:pt x="114" y="2112"/>
                    </a:lnTo>
                    <a:lnTo>
                      <a:pt x="117" y="2112"/>
                    </a:lnTo>
                    <a:lnTo>
                      <a:pt x="116" y="2110"/>
                    </a:lnTo>
                    <a:lnTo>
                      <a:pt x="118" y="2110"/>
                    </a:lnTo>
                    <a:lnTo>
                      <a:pt x="122" y="2111"/>
                    </a:lnTo>
                    <a:lnTo>
                      <a:pt x="122" y="2115"/>
                    </a:lnTo>
                    <a:lnTo>
                      <a:pt x="122" y="2115"/>
                    </a:lnTo>
                    <a:lnTo>
                      <a:pt x="124" y="2115"/>
                    </a:lnTo>
                    <a:lnTo>
                      <a:pt x="123" y="2116"/>
                    </a:lnTo>
                    <a:lnTo>
                      <a:pt x="123" y="2117"/>
                    </a:lnTo>
                    <a:lnTo>
                      <a:pt x="122" y="2119"/>
                    </a:lnTo>
                    <a:lnTo>
                      <a:pt x="119" y="2118"/>
                    </a:lnTo>
                    <a:lnTo>
                      <a:pt x="117" y="2120"/>
                    </a:lnTo>
                    <a:lnTo>
                      <a:pt x="118" y="2124"/>
                    </a:lnTo>
                    <a:lnTo>
                      <a:pt x="121" y="2125"/>
                    </a:lnTo>
                    <a:lnTo>
                      <a:pt x="121" y="2127"/>
                    </a:lnTo>
                    <a:lnTo>
                      <a:pt x="115" y="2125"/>
                    </a:lnTo>
                    <a:lnTo>
                      <a:pt x="114" y="2127"/>
                    </a:lnTo>
                    <a:lnTo>
                      <a:pt x="122" y="2127"/>
                    </a:lnTo>
                    <a:lnTo>
                      <a:pt x="125" y="2128"/>
                    </a:lnTo>
                    <a:lnTo>
                      <a:pt x="126" y="2126"/>
                    </a:lnTo>
                    <a:lnTo>
                      <a:pt x="130" y="2128"/>
                    </a:lnTo>
                    <a:lnTo>
                      <a:pt x="131" y="2130"/>
                    </a:lnTo>
                    <a:lnTo>
                      <a:pt x="133" y="2132"/>
                    </a:lnTo>
                    <a:lnTo>
                      <a:pt x="131" y="2132"/>
                    </a:lnTo>
                    <a:lnTo>
                      <a:pt x="131" y="2134"/>
                    </a:lnTo>
                    <a:lnTo>
                      <a:pt x="132" y="2135"/>
                    </a:lnTo>
                    <a:lnTo>
                      <a:pt x="130" y="2136"/>
                    </a:lnTo>
                    <a:lnTo>
                      <a:pt x="126" y="2133"/>
                    </a:lnTo>
                    <a:lnTo>
                      <a:pt x="124" y="2132"/>
                    </a:lnTo>
                    <a:lnTo>
                      <a:pt x="122" y="2132"/>
                    </a:lnTo>
                    <a:lnTo>
                      <a:pt x="121" y="2134"/>
                    </a:lnTo>
                    <a:lnTo>
                      <a:pt x="118" y="2132"/>
                    </a:lnTo>
                    <a:lnTo>
                      <a:pt x="115" y="2132"/>
                    </a:lnTo>
                    <a:lnTo>
                      <a:pt x="117" y="2134"/>
                    </a:lnTo>
                    <a:lnTo>
                      <a:pt x="122" y="2138"/>
                    </a:lnTo>
                    <a:lnTo>
                      <a:pt x="123" y="2141"/>
                    </a:lnTo>
                    <a:lnTo>
                      <a:pt x="121" y="2139"/>
                    </a:lnTo>
                    <a:lnTo>
                      <a:pt x="118" y="2142"/>
                    </a:lnTo>
                    <a:lnTo>
                      <a:pt x="121" y="2144"/>
                    </a:lnTo>
                    <a:lnTo>
                      <a:pt x="123" y="2144"/>
                    </a:lnTo>
                    <a:lnTo>
                      <a:pt x="119" y="2144"/>
                    </a:lnTo>
                    <a:lnTo>
                      <a:pt x="117" y="2147"/>
                    </a:lnTo>
                    <a:lnTo>
                      <a:pt x="117" y="2150"/>
                    </a:lnTo>
                    <a:lnTo>
                      <a:pt x="117" y="2153"/>
                    </a:lnTo>
                    <a:lnTo>
                      <a:pt x="117" y="2155"/>
                    </a:lnTo>
                    <a:lnTo>
                      <a:pt x="119" y="2158"/>
                    </a:lnTo>
                    <a:lnTo>
                      <a:pt x="122" y="2155"/>
                    </a:lnTo>
                    <a:lnTo>
                      <a:pt x="121" y="2153"/>
                    </a:lnTo>
                    <a:lnTo>
                      <a:pt x="123" y="2150"/>
                    </a:lnTo>
                    <a:lnTo>
                      <a:pt x="125" y="2150"/>
                    </a:lnTo>
                    <a:lnTo>
                      <a:pt x="124" y="2152"/>
                    </a:lnTo>
                    <a:lnTo>
                      <a:pt x="125" y="2154"/>
                    </a:lnTo>
                    <a:lnTo>
                      <a:pt x="122" y="2154"/>
                    </a:lnTo>
                    <a:lnTo>
                      <a:pt x="122" y="2156"/>
                    </a:lnTo>
                    <a:lnTo>
                      <a:pt x="125" y="2158"/>
                    </a:lnTo>
                    <a:lnTo>
                      <a:pt x="126" y="2161"/>
                    </a:lnTo>
                    <a:lnTo>
                      <a:pt x="124" y="2159"/>
                    </a:lnTo>
                    <a:lnTo>
                      <a:pt x="122" y="2159"/>
                    </a:lnTo>
                    <a:lnTo>
                      <a:pt x="119" y="2162"/>
                    </a:lnTo>
                    <a:lnTo>
                      <a:pt x="122" y="2162"/>
                    </a:lnTo>
                    <a:lnTo>
                      <a:pt x="119" y="2163"/>
                    </a:lnTo>
                    <a:lnTo>
                      <a:pt x="122" y="2166"/>
                    </a:lnTo>
                    <a:lnTo>
                      <a:pt x="124" y="2164"/>
                    </a:lnTo>
                    <a:lnTo>
                      <a:pt x="123" y="2167"/>
                    </a:lnTo>
                    <a:lnTo>
                      <a:pt x="122" y="2167"/>
                    </a:lnTo>
                    <a:lnTo>
                      <a:pt x="118" y="2166"/>
                    </a:lnTo>
                    <a:lnTo>
                      <a:pt x="118" y="2167"/>
                    </a:lnTo>
                    <a:lnTo>
                      <a:pt x="121" y="2170"/>
                    </a:lnTo>
                    <a:lnTo>
                      <a:pt x="123" y="2170"/>
                    </a:lnTo>
                    <a:lnTo>
                      <a:pt x="121" y="2170"/>
                    </a:lnTo>
                    <a:lnTo>
                      <a:pt x="117" y="2169"/>
                    </a:lnTo>
                    <a:lnTo>
                      <a:pt x="115" y="2169"/>
                    </a:lnTo>
                    <a:lnTo>
                      <a:pt x="117" y="2171"/>
                    </a:lnTo>
                    <a:lnTo>
                      <a:pt x="119" y="2171"/>
                    </a:lnTo>
                    <a:lnTo>
                      <a:pt x="119" y="2175"/>
                    </a:lnTo>
                    <a:lnTo>
                      <a:pt x="122" y="2173"/>
                    </a:lnTo>
                    <a:lnTo>
                      <a:pt x="124" y="2176"/>
                    </a:lnTo>
                    <a:lnTo>
                      <a:pt x="122" y="2176"/>
                    </a:lnTo>
                    <a:lnTo>
                      <a:pt x="121" y="2178"/>
                    </a:lnTo>
                    <a:lnTo>
                      <a:pt x="122" y="2181"/>
                    </a:lnTo>
                    <a:lnTo>
                      <a:pt x="125" y="2181"/>
                    </a:lnTo>
                    <a:lnTo>
                      <a:pt x="127" y="2176"/>
                    </a:lnTo>
                    <a:lnTo>
                      <a:pt x="128" y="2175"/>
                    </a:lnTo>
                    <a:lnTo>
                      <a:pt x="127" y="2177"/>
                    </a:lnTo>
                    <a:lnTo>
                      <a:pt x="131" y="2179"/>
                    </a:lnTo>
                    <a:lnTo>
                      <a:pt x="127" y="2178"/>
                    </a:lnTo>
                    <a:lnTo>
                      <a:pt x="126" y="2181"/>
                    </a:lnTo>
                    <a:lnTo>
                      <a:pt x="126" y="2184"/>
                    </a:lnTo>
                    <a:lnTo>
                      <a:pt x="123" y="2183"/>
                    </a:lnTo>
                    <a:lnTo>
                      <a:pt x="121" y="2183"/>
                    </a:lnTo>
                    <a:lnTo>
                      <a:pt x="121" y="2186"/>
                    </a:lnTo>
                    <a:lnTo>
                      <a:pt x="122" y="2188"/>
                    </a:lnTo>
                    <a:lnTo>
                      <a:pt x="124" y="2188"/>
                    </a:lnTo>
                    <a:lnTo>
                      <a:pt x="127" y="2187"/>
                    </a:lnTo>
                    <a:lnTo>
                      <a:pt x="127" y="2190"/>
                    </a:lnTo>
                    <a:lnTo>
                      <a:pt x="128" y="2196"/>
                    </a:lnTo>
                    <a:lnTo>
                      <a:pt x="126" y="2193"/>
                    </a:lnTo>
                    <a:lnTo>
                      <a:pt x="125" y="2195"/>
                    </a:lnTo>
                    <a:lnTo>
                      <a:pt x="126" y="2198"/>
                    </a:lnTo>
                    <a:lnTo>
                      <a:pt x="130" y="2197"/>
                    </a:lnTo>
                    <a:lnTo>
                      <a:pt x="130" y="2200"/>
                    </a:lnTo>
                    <a:lnTo>
                      <a:pt x="131" y="2203"/>
                    </a:lnTo>
                    <a:lnTo>
                      <a:pt x="128" y="2200"/>
                    </a:lnTo>
                    <a:lnTo>
                      <a:pt x="130" y="2203"/>
                    </a:lnTo>
                    <a:lnTo>
                      <a:pt x="132" y="2205"/>
                    </a:lnTo>
                    <a:lnTo>
                      <a:pt x="133" y="2203"/>
                    </a:lnTo>
                    <a:lnTo>
                      <a:pt x="132" y="2197"/>
                    </a:lnTo>
                    <a:lnTo>
                      <a:pt x="133" y="2203"/>
                    </a:lnTo>
                    <a:lnTo>
                      <a:pt x="136" y="2202"/>
                    </a:lnTo>
                    <a:lnTo>
                      <a:pt x="136" y="2198"/>
                    </a:lnTo>
                    <a:lnTo>
                      <a:pt x="133" y="2196"/>
                    </a:lnTo>
                    <a:lnTo>
                      <a:pt x="142" y="2200"/>
                    </a:lnTo>
                    <a:lnTo>
                      <a:pt x="141" y="2197"/>
                    </a:lnTo>
                    <a:lnTo>
                      <a:pt x="139" y="2195"/>
                    </a:lnTo>
                    <a:lnTo>
                      <a:pt x="135" y="2196"/>
                    </a:lnTo>
                    <a:lnTo>
                      <a:pt x="135" y="2193"/>
                    </a:lnTo>
                    <a:lnTo>
                      <a:pt x="135" y="2193"/>
                    </a:lnTo>
                    <a:lnTo>
                      <a:pt x="139" y="2195"/>
                    </a:lnTo>
                    <a:lnTo>
                      <a:pt x="141" y="2196"/>
                    </a:lnTo>
                    <a:lnTo>
                      <a:pt x="144" y="2198"/>
                    </a:lnTo>
                    <a:lnTo>
                      <a:pt x="144" y="2201"/>
                    </a:lnTo>
                    <a:lnTo>
                      <a:pt x="142" y="2202"/>
                    </a:lnTo>
                    <a:lnTo>
                      <a:pt x="143" y="2205"/>
                    </a:lnTo>
                    <a:lnTo>
                      <a:pt x="144" y="2206"/>
                    </a:lnTo>
                    <a:lnTo>
                      <a:pt x="143" y="2209"/>
                    </a:lnTo>
                    <a:lnTo>
                      <a:pt x="141" y="2210"/>
                    </a:lnTo>
                    <a:lnTo>
                      <a:pt x="139" y="2211"/>
                    </a:lnTo>
                    <a:lnTo>
                      <a:pt x="141" y="2210"/>
                    </a:lnTo>
                    <a:lnTo>
                      <a:pt x="143" y="2206"/>
                    </a:lnTo>
                    <a:lnTo>
                      <a:pt x="141" y="2204"/>
                    </a:lnTo>
                    <a:lnTo>
                      <a:pt x="140" y="2204"/>
                    </a:lnTo>
                    <a:lnTo>
                      <a:pt x="140" y="2206"/>
                    </a:lnTo>
                    <a:lnTo>
                      <a:pt x="128" y="2205"/>
                    </a:lnTo>
                    <a:lnTo>
                      <a:pt x="128" y="2211"/>
                    </a:lnTo>
                    <a:lnTo>
                      <a:pt x="128" y="2214"/>
                    </a:lnTo>
                    <a:lnTo>
                      <a:pt x="128" y="2216"/>
                    </a:lnTo>
                    <a:lnTo>
                      <a:pt x="131" y="2214"/>
                    </a:lnTo>
                    <a:lnTo>
                      <a:pt x="134" y="2214"/>
                    </a:lnTo>
                    <a:lnTo>
                      <a:pt x="134" y="2212"/>
                    </a:lnTo>
                    <a:lnTo>
                      <a:pt x="138" y="2212"/>
                    </a:lnTo>
                    <a:lnTo>
                      <a:pt x="135" y="2214"/>
                    </a:lnTo>
                    <a:lnTo>
                      <a:pt x="134" y="2218"/>
                    </a:lnTo>
                    <a:lnTo>
                      <a:pt x="131" y="2218"/>
                    </a:lnTo>
                    <a:lnTo>
                      <a:pt x="134" y="2219"/>
                    </a:lnTo>
                    <a:lnTo>
                      <a:pt x="131" y="2221"/>
                    </a:lnTo>
                    <a:lnTo>
                      <a:pt x="134" y="2223"/>
                    </a:lnTo>
                    <a:lnTo>
                      <a:pt x="136" y="2222"/>
                    </a:lnTo>
                    <a:lnTo>
                      <a:pt x="138" y="2220"/>
                    </a:lnTo>
                    <a:lnTo>
                      <a:pt x="141" y="2214"/>
                    </a:lnTo>
                    <a:lnTo>
                      <a:pt x="139" y="2215"/>
                    </a:lnTo>
                    <a:lnTo>
                      <a:pt x="139" y="2212"/>
                    </a:lnTo>
                    <a:lnTo>
                      <a:pt x="142" y="2213"/>
                    </a:lnTo>
                    <a:lnTo>
                      <a:pt x="152" y="2213"/>
                    </a:lnTo>
                    <a:lnTo>
                      <a:pt x="156" y="2213"/>
                    </a:lnTo>
                    <a:lnTo>
                      <a:pt x="158" y="2214"/>
                    </a:lnTo>
                    <a:lnTo>
                      <a:pt x="156" y="2215"/>
                    </a:lnTo>
                    <a:lnTo>
                      <a:pt x="152" y="2215"/>
                    </a:lnTo>
                    <a:lnTo>
                      <a:pt x="150" y="2214"/>
                    </a:lnTo>
                    <a:lnTo>
                      <a:pt x="148" y="2215"/>
                    </a:lnTo>
                    <a:lnTo>
                      <a:pt x="144" y="2219"/>
                    </a:lnTo>
                    <a:lnTo>
                      <a:pt x="140" y="2218"/>
                    </a:lnTo>
                    <a:lnTo>
                      <a:pt x="138" y="2220"/>
                    </a:lnTo>
                    <a:lnTo>
                      <a:pt x="139" y="2222"/>
                    </a:lnTo>
                    <a:lnTo>
                      <a:pt x="141" y="2223"/>
                    </a:lnTo>
                    <a:lnTo>
                      <a:pt x="141" y="2227"/>
                    </a:lnTo>
                    <a:lnTo>
                      <a:pt x="139" y="2224"/>
                    </a:lnTo>
                    <a:lnTo>
                      <a:pt x="135" y="2224"/>
                    </a:lnTo>
                    <a:lnTo>
                      <a:pt x="138" y="2227"/>
                    </a:lnTo>
                    <a:lnTo>
                      <a:pt x="140" y="2229"/>
                    </a:lnTo>
                    <a:lnTo>
                      <a:pt x="142" y="2231"/>
                    </a:lnTo>
                    <a:lnTo>
                      <a:pt x="145" y="2231"/>
                    </a:lnTo>
                    <a:lnTo>
                      <a:pt x="143" y="2229"/>
                    </a:lnTo>
                    <a:lnTo>
                      <a:pt x="145" y="2226"/>
                    </a:lnTo>
                    <a:lnTo>
                      <a:pt x="148" y="2226"/>
                    </a:lnTo>
                    <a:lnTo>
                      <a:pt x="145" y="2223"/>
                    </a:lnTo>
                    <a:lnTo>
                      <a:pt x="148" y="2222"/>
                    </a:lnTo>
                    <a:lnTo>
                      <a:pt x="150" y="2223"/>
                    </a:lnTo>
                    <a:lnTo>
                      <a:pt x="152" y="2221"/>
                    </a:lnTo>
                    <a:lnTo>
                      <a:pt x="158" y="2218"/>
                    </a:lnTo>
                    <a:lnTo>
                      <a:pt x="159" y="2216"/>
                    </a:lnTo>
                    <a:lnTo>
                      <a:pt x="161" y="2218"/>
                    </a:lnTo>
                    <a:lnTo>
                      <a:pt x="161" y="2220"/>
                    </a:lnTo>
                    <a:lnTo>
                      <a:pt x="160" y="2223"/>
                    </a:lnTo>
                    <a:lnTo>
                      <a:pt x="155" y="2226"/>
                    </a:lnTo>
                    <a:lnTo>
                      <a:pt x="153" y="2231"/>
                    </a:lnTo>
                    <a:lnTo>
                      <a:pt x="151" y="2232"/>
                    </a:lnTo>
                    <a:lnTo>
                      <a:pt x="153" y="2230"/>
                    </a:lnTo>
                    <a:lnTo>
                      <a:pt x="153" y="2227"/>
                    </a:lnTo>
                    <a:lnTo>
                      <a:pt x="150" y="2226"/>
                    </a:lnTo>
                    <a:lnTo>
                      <a:pt x="150" y="2229"/>
                    </a:lnTo>
                    <a:lnTo>
                      <a:pt x="149" y="2226"/>
                    </a:lnTo>
                    <a:lnTo>
                      <a:pt x="147" y="2227"/>
                    </a:lnTo>
                    <a:lnTo>
                      <a:pt x="144" y="2229"/>
                    </a:lnTo>
                    <a:lnTo>
                      <a:pt x="149" y="2235"/>
                    </a:lnTo>
                    <a:lnTo>
                      <a:pt x="152" y="2235"/>
                    </a:lnTo>
                    <a:lnTo>
                      <a:pt x="155" y="2236"/>
                    </a:lnTo>
                    <a:lnTo>
                      <a:pt x="160" y="2238"/>
                    </a:lnTo>
                    <a:lnTo>
                      <a:pt x="164" y="2237"/>
                    </a:lnTo>
                    <a:lnTo>
                      <a:pt x="165" y="2235"/>
                    </a:lnTo>
                    <a:lnTo>
                      <a:pt x="165" y="2231"/>
                    </a:lnTo>
                    <a:lnTo>
                      <a:pt x="165" y="2229"/>
                    </a:lnTo>
                    <a:lnTo>
                      <a:pt x="165" y="2226"/>
                    </a:lnTo>
                    <a:lnTo>
                      <a:pt x="167" y="2218"/>
                    </a:lnTo>
                    <a:lnTo>
                      <a:pt x="170" y="2215"/>
                    </a:lnTo>
                    <a:lnTo>
                      <a:pt x="173" y="2215"/>
                    </a:lnTo>
                    <a:lnTo>
                      <a:pt x="175" y="2214"/>
                    </a:lnTo>
                    <a:lnTo>
                      <a:pt x="181" y="2212"/>
                    </a:lnTo>
                    <a:lnTo>
                      <a:pt x="183" y="2212"/>
                    </a:lnTo>
                    <a:lnTo>
                      <a:pt x="184" y="2211"/>
                    </a:lnTo>
                    <a:lnTo>
                      <a:pt x="185" y="2209"/>
                    </a:lnTo>
                    <a:lnTo>
                      <a:pt x="187" y="2206"/>
                    </a:lnTo>
                    <a:lnTo>
                      <a:pt x="191" y="2206"/>
                    </a:lnTo>
                    <a:lnTo>
                      <a:pt x="193" y="2209"/>
                    </a:lnTo>
                    <a:lnTo>
                      <a:pt x="198" y="2209"/>
                    </a:lnTo>
                    <a:lnTo>
                      <a:pt x="199" y="2209"/>
                    </a:lnTo>
                    <a:lnTo>
                      <a:pt x="200" y="2210"/>
                    </a:lnTo>
                    <a:lnTo>
                      <a:pt x="200" y="2210"/>
                    </a:lnTo>
                    <a:lnTo>
                      <a:pt x="199" y="2207"/>
                    </a:lnTo>
                    <a:lnTo>
                      <a:pt x="195" y="2202"/>
                    </a:lnTo>
                    <a:lnTo>
                      <a:pt x="192" y="2196"/>
                    </a:lnTo>
                    <a:lnTo>
                      <a:pt x="190" y="2197"/>
                    </a:lnTo>
                    <a:lnTo>
                      <a:pt x="186" y="2195"/>
                    </a:lnTo>
                    <a:lnTo>
                      <a:pt x="183" y="2196"/>
                    </a:lnTo>
                    <a:lnTo>
                      <a:pt x="186" y="2195"/>
                    </a:lnTo>
                    <a:lnTo>
                      <a:pt x="188" y="2195"/>
                    </a:lnTo>
                    <a:lnTo>
                      <a:pt x="192" y="2195"/>
                    </a:lnTo>
                    <a:lnTo>
                      <a:pt x="192" y="2193"/>
                    </a:lnTo>
                    <a:lnTo>
                      <a:pt x="190" y="2184"/>
                    </a:lnTo>
                    <a:lnTo>
                      <a:pt x="187" y="2185"/>
                    </a:lnTo>
                    <a:lnTo>
                      <a:pt x="186" y="2186"/>
                    </a:lnTo>
                    <a:lnTo>
                      <a:pt x="186" y="2186"/>
                    </a:lnTo>
                    <a:lnTo>
                      <a:pt x="187" y="2185"/>
                    </a:lnTo>
                    <a:lnTo>
                      <a:pt x="188" y="2184"/>
                    </a:lnTo>
                    <a:lnTo>
                      <a:pt x="191" y="2178"/>
                    </a:lnTo>
                    <a:lnTo>
                      <a:pt x="192" y="2176"/>
                    </a:lnTo>
                    <a:lnTo>
                      <a:pt x="193" y="2172"/>
                    </a:lnTo>
                    <a:lnTo>
                      <a:pt x="199" y="2170"/>
                    </a:lnTo>
                    <a:lnTo>
                      <a:pt x="198" y="2167"/>
                    </a:lnTo>
                    <a:lnTo>
                      <a:pt x="193" y="2167"/>
                    </a:lnTo>
                    <a:lnTo>
                      <a:pt x="193" y="2167"/>
                    </a:lnTo>
                    <a:lnTo>
                      <a:pt x="192" y="2167"/>
                    </a:lnTo>
                    <a:lnTo>
                      <a:pt x="193" y="2167"/>
                    </a:lnTo>
                    <a:lnTo>
                      <a:pt x="196" y="2166"/>
                    </a:lnTo>
                    <a:lnTo>
                      <a:pt x="196" y="2164"/>
                    </a:lnTo>
                    <a:lnTo>
                      <a:pt x="196" y="2162"/>
                    </a:lnTo>
                    <a:lnTo>
                      <a:pt x="195" y="2162"/>
                    </a:lnTo>
                    <a:lnTo>
                      <a:pt x="196" y="2162"/>
                    </a:lnTo>
                    <a:lnTo>
                      <a:pt x="199" y="2167"/>
                    </a:lnTo>
                    <a:lnTo>
                      <a:pt x="201" y="2169"/>
                    </a:lnTo>
                    <a:lnTo>
                      <a:pt x="204" y="2168"/>
                    </a:lnTo>
                    <a:lnTo>
                      <a:pt x="207" y="2167"/>
                    </a:lnTo>
                    <a:lnTo>
                      <a:pt x="209" y="2164"/>
                    </a:lnTo>
                    <a:lnTo>
                      <a:pt x="210" y="2156"/>
                    </a:lnTo>
                    <a:lnTo>
                      <a:pt x="210" y="2153"/>
                    </a:lnTo>
                    <a:lnTo>
                      <a:pt x="211" y="2151"/>
                    </a:lnTo>
                    <a:lnTo>
                      <a:pt x="212" y="2149"/>
                    </a:lnTo>
                    <a:lnTo>
                      <a:pt x="213" y="2147"/>
                    </a:lnTo>
                    <a:lnTo>
                      <a:pt x="216" y="2146"/>
                    </a:lnTo>
                    <a:lnTo>
                      <a:pt x="218" y="2143"/>
                    </a:lnTo>
                    <a:lnTo>
                      <a:pt x="226" y="2138"/>
                    </a:lnTo>
                    <a:lnTo>
                      <a:pt x="228" y="2137"/>
                    </a:lnTo>
                    <a:lnTo>
                      <a:pt x="230" y="2135"/>
                    </a:lnTo>
                    <a:lnTo>
                      <a:pt x="234" y="2133"/>
                    </a:lnTo>
                    <a:lnTo>
                      <a:pt x="236" y="2130"/>
                    </a:lnTo>
                    <a:lnTo>
                      <a:pt x="234" y="2127"/>
                    </a:lnTo>
                    <a:lnTo>
                      <a:pt x="228" y="2129"/>
                    </a:lnTo>
                    <a:lnTo>
                      <a:pt x="227" y="2129"/>
                    </a:lnTo>
                    <a:lnTo>
                      <a:pt x="230" y="2128"/>
                    </a:lnTo>
                    <a:lnTo>
                      <a:pt x="233" y="2127"/>
                    </a:lnTo>
                    <a:lnTo>
                      <a:pt x="235" y="2125"/>
                    </a:lnTo>
                    <a:lnTo>
                      <a:pt x="236" y="2119"/>
                    </a:lnTo>
                    <a:lnTo>
                      <a:pt x="235" y="2117"/>
                    </a:lnTo>
                    <a:lnTo>
                      <a:pt x="233" y="2115"/>
                    </a:lnTo>
                    <a:lnTo>
                      <a:pt x="230" y="2116"/>
                    </a:lnTo>
                    <a:lnTo>
                      <a:pt x="222" y="2115"/>
                    </a:lnTo>
                    <a:lnTo>
                      <a:pt x="219" y="2111"/>
                    </a:lnTo>
                    <a:lnTo>
                      <a:pt x="213" y="2107"/>
                    </a:lnTo>
                    <a:lnTo>
                      <a:pt x="212" y="2104"/>
                    </a:lnTo>
                    <a:lnTo>
                      <a:pt x="211" y="2101"/>
                    </a:lnTo>
                    <a:lnTo>
                      <a:pt x="211" y="2099"/>
                    </a:lnTo>
                    <a:lnTo>
                      <a:pt x="211" y="2096"/>
                    </a:lnTo>
                    <a:lnTo>
                      <a:pt x="215" y="2092"/>
                    </a:lnTo>
                    <a:lnTo>
                      <a:pt x="218" y="2086"/>
                    </a:lnTo>
                    <a:lnTo>
                      <a:pt x="221" y="2083"/>
                    </a:lnTo>
                    <a:lnTo>
                      <a:pt x="224" y="2083"/>
                    </a:lnTo>
                    <a:lnTo>
                      <a:pt x="226" y="2082"/>
                    </a:lnTo>
                    <a:lnTo>
                      <a:pt x="229" y="2079"/>
                    </a:lnTo>
                    <a:lnTo>
                      <a:pt x="233" y="2079"/>
                    </a:lnTo>
                    <a:lnTo>
                      <a:pt x="238" y="2081"/>
                    </a:lnTo>
                    <a:lnTo>
                      <a:pt x="238" y="2079"/>
                    </a:lnTo>
                    <a:lnTo>
                      <a:pt x="237" y="2077"/>
                    </a:lnTo>
                    <a:lnTo>
                      <a:pt x="237" y="2075"/>
                    </a:lnTo>
                    <a:lnTo>
                      <a:pt x="241" y="2073"/>
                    </a:lnTo>
                    <a:lnTo>
                      <a:pt x="242" y="2070"/>
                    </a:lnTo>
                    <a:lnTo>
                      <a:pt x="243" y="2067"/>
                    </a:lnTo>
                    <a:lnTo>
                      <a:pt x="244" y="2065"/>
                    </a:lnTo>
                    <a:lnTo>
                      <a:pt x="242" y="2059"/>
                    </a:lnTo>
                    <a:lnTo>
                      <a:pt x="243" y="2057"/>
                    </a:lnTo>
                    <a:lnTo>
                      <a:pt x="245" y="2053"/>
                    </a:lnTo>
                    <a:lnTo>
                      <a:pt x="246" y="2051"/>
                    </a:lnTo>
                    <a:lnTo>
                      <a:pt x="249" y="2049"/>
                    </a:lnTo>
                    <a:lnTo>
                      <a:pt x="254" y="2048"/>
                    </a:lnTo>
                    <a:lnTo>
                      <a:pt x="249" y="2043"/>
                    </a:lnTo>
                    <a:lnTo>
                      <a:pt x="247" y="2041"/>
                    </a:lnTo>
                    <a:lnTo>
                      <a:pt x="252" y="2039"/>
                    </a:lnTo>
                    <a:lnTo>
                      <a:pt x="255" y="2039"/>
                    </a:lnTo>
                    <a:lnTo>
                      <a:pt x="258" y="2041"/>
                    </a:lnTo>
                    <a:lnTo>
                      <a:pt x="258" y="2044"/>
                    </a:lnTo>
                    <a:lnTo>
                      <a:pt x="261" y="2044"/>
                    </a:lnTo>
                    <a:lnTo>
                      <a:pt x="263" y="2043"/>
                    </a:lnTo>
                    <a:lnTo>
                      <a:pt x="266" y="2041"/>
                    </a:lnTo>
                    <a:lnTo>
                      <a:pt x="266" y="2038"/>
                    </a:lnTo>
                    <a:lnTo>
                      <a:pt x="266" y="2035"/>
                    </a:lnTo>
                    <a:lnTo>
                      <a:pt x="264" y="2033"/>
                    </a:lnTo>
                    <a:lnTo>
                      <a:pt x="262" y="2032"/>
                    </a:lnTo>
                    <a:lnTo>
                      <a:pt x="259" y="2033"/>
                    </a:lnTo>
                    <a:lnTo>
                      <a:pt x="256" y="2033"/>
                    </a:lnTo>
                    <a:lnTo>
                      <a:pt x="259" y="2034"/>
                    </a:lnTo>
                    <a:lnTo>
                      <a:pt x="259" y="2036"/>
                    </a:lnTo>
                    <a:lnTo>
                      <a:pt x="253" y="2036"/>
                    </a:lnTo>
                    <a:lnTo>
                      <a:pt x="254" y="2034"/>
                    </a:lnTo>
                    <a:lnTo>
                      <a:pt x="249" y="2033"/>
                    </a:lnTo>
                    <a:lnTo>
                      <a:pt x="245" y="2030"/>
                    </a:lnTo>
                    <a:lnTo>
                      <a:pt x="246" y="2022"/>
                    </a:lnTo>
                    <a:lnTo>
                      <a:pt x="244" y="2016"/>
                    </a:lnTo>
                    <a:lnTo>
                      <a:pt x="244" y="2014"/>
                    </a:lnTo>
                    <a:lnTo>
                      <a:pt x="245" y="2012"/>
                    </a:lnTo>
                    <a:lnTo>
                      <a:pt x="247" y="2009"/>
                    </a:lnTo>
                    <a:lnTo>
                      <a:pt x="250" y="2009"/>
                    </a:lnTo>
                    <a:lnTo>
                      <a:pt x="253" y="2012"/>
                    </a:lnTo>
                    <a:lnTo>
                      <a:pt x="261" y="2014"/>
                    </a:lnTo>
                    <a:lnTo>
                      <a:pt x="263" y="2016"/>
                    </a:lnTo>
                    <a:lnTo>
                      <a:pt x="269" y="2016"/>
                    </a:lnTo>
                    <a:lnTo>
                      <a:pt x="275" y="2015"/>
                    </a:lnTo>
                    <a:lnTo>
                      <a:pt x="283" y="2012"/>
                    </a:lnTo>
                    <a:lnTo>
                      <a:pt x="284" y="2009"/>
                    </a:lnTo>
                    <a:lnTo>
                      <a:pt x="284" y="2006"/>
                    </a:lnTo>
                    <a:lnTo>
                      <a:pt x="281" y="2004"/>
                    </a:lnTo>
                    <a:lnTo>
                      <a:pt x="281" y="2001"/>
                    </a:lnTo>
                    <a:lnTo>
                      <a:pt x="284" y="1995"/>
                    </a:lnTo>
                    <a:lnTo>
                      <a:pt x="286" y="1995"/>
                    </a:lnTo>
                    <a:lnTo>
                      <a:pt x="287" y="1989"/>
                    </a:lnTo>
                    <a:lnTo>
                      <a:pt x="284" y="1987"/>
                    </a:lnTo>
                    <a:lnTo>
                      <a:pt x="287" y="1988"/>
                    </a:lnTo>
                    <a:lnTo>
                      <a:pt x="284" y="1985"/>
                    </a:lnTo>
                    <a:lnTo>
                      <a:pt x="283" y="1983"/>
                    </a:lnTo>
                    <a:lnTo>
                      <a:pt x="283" y="1980"/>
                    </a:lnTo>
                    <a:lnTo>
                      <a:pt x="286" y="1979"/>
                    </a:lnTo>
                    <a:lnTo>
                      <a:pt x="288" y="1981"/>
                    </a:lnTo>
                    <a:lnTo>
                      <a:pt x="292" y="1981"/>
                    </a:lnTo>
                    <a:lnTo>
                      <a:pt x="294" y="1981"/>
                    </a:lnTo>
                    <a:lnTo>
                      <a:pt x="296" y="1981"/>
                    </a:lnTo>
                    <a:lnTo>
                      <a:pt x="299" y="1981"/>
                    </a:lnTo>
                    <a:lnTo>
                      <a:pt x="304" y="1981"/>
                    </a:lnTo>
                    <a:lnTo>
                      <a:pt x="315" y="1979"/>
                    </a:lnTo>
                    <a:lnTo>
                      <a:pt x="329" y="1976"/>
                    </a:lnTo>
                    <a:lnTo>
                      <a:pt x="339" y="1972"/>
                    </a:lnTo>
                    <a:lnTo>
                      <a:pt x="346" y="1970"/>
                    </a:lnTo>
                    <a:lnTo>
                      <a:pt x="348" y="1967"/>
                    </a:lnTo>
                    <a:lnTo>
                      <a:pt x="348" y="1964"/>
                    </a:lnTo>
                    <a:lnTo>
                      <a:pt x="350" y="1962"/>
                    </a:lnTo>
                    <a:lnTo>
                      <a:pt x="355" y="1956"/>
                    </a:lnTo>
                    <a:lnTo>
                      <a:pt x="358" y="1950"/>
                    </a:lnTo>
                    <a:lnTo>
                      <a:pt x="361" y="1948"/>
                    </a:lnTo>
                    <a:lnTo>
                      <a:pt x="361" y="1942"/>
                    </a:lnTo>
                    <a:lnTo>
                      <a:pt x="360" y="1939"/>
                    </a:lnTo>
                    <a:lnTo>
                      <a:pt x="360" y="1939"/>
                    </a:lnTo>
                    <a:lnTo>
                      <a:pt x="356" y="1939"/>
                    </a:lnTo>
                    <a:lnTo>
                      <a:pt x="354" y="1938"/>
                    </a:lnTo>
                    <a:lnTo>
                      <a:pt x="352" y="1935"/>
                    </a:lnTo>
                    <a:lnTo>
                      <a:pt x="350" y="1932"/>
                    </a:lnTo>
                    <a:lnTo>
                      <a:pt x="352" y="1930"/>
                    </a:lnTo>
                    <a:lnTo>
                      <a:pt x="354" y="1924"/>
                    </a:lnTo>
                    <a:lnTo>
                      <a:pt x="353" y="1922"/>
                    </a:lnTo>
                    <a:lnTo>
                      <a:pt x="349" y="1919"/>
                    </a:lnTo>
                    <a:lnTo>
                      <a:pt x="345" y="1916"/>
                    </a:lnTo>
                    <a:lnTo>
                      <a:pt x="340" y="1914"/>
                    </a:lnTo>
                    <a:lnTo>
                      <a:pt x="337" y="1912"/>
                    </a:lnTo>
                    <a:lnTo>
                      <a:pt x="335" y="1907"/>
                    </a:lnTo>
                    <a:lnTo>
                      <a:pt x="337" y="1906"/>
                    </a:lnTo>
                    <a:lnTo>
                      <a:pt x="337" y="1906"/>
                    </a:lnTo>
                    <a:lnTo>
                      <a:pt x="336" y="1903"/>
                    </a:lnTo>
                    <a:lnTo>
                      <a:pt x="336" y="1901"/>
                    </a:lnTo>
                    <a:lnTo>
                      <a:pt x="335" y="1897"/>
                    </a:lnTo>
                    <a:lnTo>
                      <a:pt x="335" y="1895"/>
                    </a:lnTo>
                    <a:lnTo>
                      <a:pt x="337" y="1891"/>
                    </a:lnTo>
                    <a:lnTo>
                      <a:pt x="337" y="1889"/>
                    </a:lnTo>
                    <a:lnTo>
                      <a:pt x="339" y="1889"/>
                    </a:lnTo>
                    <a:lnTo>
                      <a:pt x="339" y="1888"/>
                    </a:lnTo>
                    <a:lnTo>
                      <a:pt x="340" y="1886"/>
                    </a:lnTo>
                    <a:lnTo>
                      <a:pt x="339" y="1880"/>
                    </a:lnTo>
                    <a:lnTo>
                      <a:pt x="339" y="1879"/>
                    </a:lnTo>
                    <a:lnTo>
                      <a:pt x="341" y="1887"/>
                    </a:lnTo>
                    <a:lnTo>
                      <a:pt x="339" y="1888"/>
                    </a:lnTo>
                    <a:lnTo>
                      <a:pt x="339" y="1889"/>
                    </a:lnTo>
                    <a:lnTo>
                      <a:pt x="339" y="1889"/>
                    </a:lnTo>
                    <a:lnTo>
                      <a:pt x="337" y="1894"/>
                    </a:lnTo>
                    <a:lnTo>
                      <a:pt x="337" y="1899"/>
                    </a:lnTo>
                    <a:lnTo>
                      <a:pt x="337" y="1901"/>
                    </a:lnTo>
                    <a:lnTo>
                      <a:pt x="339" y="1904"/>
                    </a:lnTo>
                    <a:lnTo>
                      <a:pt x="344" y="1908"/>
                    </a:lnTo>
                    <a:lnTo>
                      <a:pt x="345" y="1911"/>
                    </a:lnTo>
                    <a:lnTo>
                      <a:pt x="347" y="1910"/>
                    </a:lnTo>
                    <a:lnTo>
                      <a:pt x="354" y="1910"/>
                    </a:lnTo>
                    <a:lnTo>
                      <a:pt x="360" y="1914"/>
                    </a:lnTo>
                    <a:lnTo>
                      <a:pt x="365" y="1915"/>
                    </a:lnTo>
                    <a:lnTo>
                      <a:pt x="367" y="1918"/>
                    </a:lnTo>
                    <a:lnTo>
                      <a:pt x="372" y="1915"/>
                    </a:lnTo>
                    <a:lnTo>
                      <a:pt x="374" y="1914"/>
                    </a:lnTo>
                    <a:lnTo>
                      <a:pt x="379" y="1915"/>
                    </a:lnTo>
                    <a:lnTo>
                      <a:pt x="381" y="1916"/>
                    </a:lnTo>
                    <a:lnTo>
                      <a:pt x="383" y="1918"/>
                    </a:lnTo>
                    <a:lnTo>
                      <a:pt x="387" y="1916"/>
                    </a:lnTo>
                    <a:lnTo>
                      <a:pt x="396" y="1913"/>
                    </a:lnTo>
                    <a:lnTo>
                      <a:pt x="398" y="1910"/>
                    </a:lnTo>
                    <a:lnTo>
                      <a:pt x="400" y="1908"/>
                    </a:lnTo>
                    <a:lnTo>
                      <a:pt x="401" y="1906"/>
                    </a:lnTo>
                    <a:lnTo>
                      <a:pt x="404" y="1903"/>
                    </a:lnTo>
                    <a:lnTo>
                      <a:pt x="405" y="1901"/>
                    </a:lnTo>
                    <a:lnTo>
                      <a:pt x="406" y="1898"/>
                    </a:lnTo>
                    <a:lnTo>
                      <a:pt x="414" y="1891"/>
                    </a:lnTo>
                    <a:lnTo>
                      <a:pt x="416" y="1889"/>
                    </a:lnTo>
                    <a:lnTo>
                      <a:pt x="417" y="1886"/>
                    </a:lnTo>
                    <a:lnTo>
                      <a:pt x="418" y="1884"/>
                    </a:lnTo>
                    <a:lnTo>
                      <a:pt x="418" y="1881"/>
                    </a:lnTo>
                    <a:lnTo>
                      <a:pt x="423" y="1873"/>
                    </a:lnTo>
                    <a:lnTo>
                      <a:pt x="422" y="1870"/>
                    </a:lnTo>
                    <a:lnTo>
                      <a:pt x="422" y="1869"/>
                    </a:lnTo>
                    <a:lnTo>
                      <a:pt x="424" y="1863"/>
                    </a:lnTo>
                    <a:lnTo>
                      <a:pt x="427" y="1861"/>
                    </a:lnTo>
                    <a:lnTo>
                      <a:pt x="429" y="1861"/>
                    </a:lnTo>
                    <a:lnTo>
                      <a:pt x="431" y="1859"/>
                    </a:lnTo>
                    <a:lnTo>
                      <a:pt x="432" y="1856"/>
                    </a:lnTo>
                    <a:lnTo>
                      <a:pt x="434" y="1851"/>
                    </a:lnTo>
                    <a:lnTo>
                      <a:pt x="437" y="1847"/>
                    </a:lnTo>
                    <a:lnTo>
                      <a:pt x="434" y="1845"/>
                    </a:lnTo>
                    <a:lnTo>
                      <a:pt x="434" y="1843"/>
                    </a:lnTo>
                    <a:lnTo>
                      <a:pt x="435" y="1843"/>
                    </a:lnTo>
                    <a:lnTo>
                      <a:pt x="435" y="1845"/>
                    </a:lnTo>
                    <a:lnTo>
                      <a:pt x="439" y="1848"/>
                    </a:lnTo>
                    <a:lnTo>
                      <a:pt x="441" y="1846"/>
                    </a:lnTo>
                    <a:lnTo>
                      <a:pt x="444" y="1845"/>
                    </a:lnTo>
                    <a:lnTo>
                      <a:pt x="444" y="1848"/>
                    </a:lnTo>
                    <a:lnTo>
                      <a:pt x="442" y="1852"/>
                    </a:lnTo>
                    <a:lnTo>
                      <a:pt x="442" y="1854"/>
                    </a:lnTo>
                    <a:lnTo>
                      <a:pt x="439" y="1855"/>
                    </a:lnTo>
                    <a:lnTo>
                      <a:pt x="439" y="1858"/>
                    </a:lnTo>
                    <a:lnTo>
                      <a:pt x="435" y="1858"/>
                    </a:lnTo>
                    <a:lnTo>
                      <a:pt x="437" y="1861"/>
                    </a:lnTo>
                    <a:lnTo>
                      <a:pt x="435" y="1863"/>
                    </a:lnTo>
                    <a:lnTo>
                      <a:pt x="432" y="1864"/>
                    </a:lnTo>
                    <a:lnTo>
                      <a:pt x="431" y="1868"/>
                    </a:lnTo>
                    <a:lnTo>
                      <a:pt x="425" y="1870"/>
                    </a:lnTo>
                    <a:lnTo>
                      <a:pt x="424" y="1872"/>
                    </a:lnTo>
                    <a:lnTo>
                      <a:pt x="432" y="1868"/>
                    </a:lnTo>
                    <a:lnTo>
                      <a:pt x="438" y="1863"/>
                    </a:lnTo>
                    <a:lnTo>
                      <a:pt x="442" y="1858"/>
                    </a:lnTo>
                    <a:lnTo>
                      <a:pt x="447" y="1851"/>
                    </a:lnTo>
                    <a:lnTo>
                      <a:pt x="448" y="1847"/>
                    </a:lnTo>
                    <a:lnTo>
                      <a:pt x="451" y="1839"/>
                    </a:lnTo>
                    <a:lnTo>
                      <a:pt x="455" y="1834"/>
                    </a:lnTo>
                    <a:lnTo>
                      <a:pt x="460" y="1826"/>
                    </a:lnTo>
                    <a:lnTo>
                      <a:pt x="468" y="1820"/>
                    </a:lnTo>
                    <a:lnTo>
                      <a:pt x="468" y="1819"/>
                    </a:lnTo>
                    <a:lnTo>
                      <a:pt x="468" y="1818"/>
                    </a:lnTo>
                    <a:lnTo>
                      <a:pt x="469" y="1819"/>
                    </a:lnTo>
                    <a:lnTo>
                      <a:pt x="471" y="1817"/>
                    </a:lnTo>
                    <a:lnTo>
                      <a:pt x="471" y="1813"/>
                    </a:lnTo>
                    <a:lnTo>
                      <a:pt x="471" y="1811"/>
                    </a:lnTo>
                    <a:lnTo>
                      <a:pt x="472" y="1798"/>
                    </a:lnTo>
                    <a:lnTo>
                      <a:pt x="471" y="1792"/>
                    </a:lnTo>
                    <a:lnTo>
                      <a:pt x="471" y="1788"/>
                    </a:lnTo>
                    <a:lnTo>
                      <a:pt x="469" y="1785"/>
                    </a:lnTo>
                    <a:lnTo>
                      <a:pt x="472" y="1783"/>
                    </a:lnTo>
                    <a:lnTo>
                      <a:pt x="472" y="1779"/>
                    </a:lnTo>
                    <a:lnTo>
                      <a:pt x="474" y="1777"/>
                    </a:lnTo>
                    <a:lnTo>
                      <a:pt x="473" y="1777"/>
                    </a:lnTo>
                    <a:lnTo>
                      <a:pt x="472" y="1776"/>
                    </a:lnTo>
                    <a:lnTo>
                      <a:pt x="469" y="1775"/>
                    </a:lnTo>
                    <a:lnTo>
                      <a:pt x="472" y="1775"/>
                    </a:lnTo>
                    <a:lnTo>
                      <a:pt x="473" y="1773"/>
                    </a:lnTo>
                    <a:lnTo>
                      <a:pt x="478" y="1773"/>
                    </a:lnTo>
                    <a:lnTo>
                      <a:pt x="480" y="1771"/>
                    </a:lnTo>
                    <a:lnTo>
                      <a:pt x="478" y="1768"/>
                    </a:lnTo>
                    <a:lnTo>
                      <a:pt x="480" y="1769"/>
                    </a:lnTo>
                    <a:lnTo>
                      <a:pt x="482" y="1766"/>
                    </a:lnTo>
                    <a:lnTo>
                      <a:pt x="485" y="1765"/>
                    </a:lnTo>
                    <a:lnTo>
                      <a:pt x="491" y="1761"/>
                    </a:lnTo>
                    <a:lnTo>
                      <a:pt x="495" y="1757"/>
                    </a:lnTo>
                    <a:lnTo>
                      <a:pt x="499" y="1754"/>
                    </a:lnTo>
                    <a:lnTo>
                      <a:pt x="501" y="1753"/>
                    </a:lnTo>
                    <a:lnTo>
                      <a:pt x="501" y="1752"/>
                    </a:lnTo>
                    <a:lnTo>
                      <a:pt x="502" y="1752"/>
                    </a:lnTo>
                    <a:lnTo>
                      <a:pt x="503" y="1753"/>
                    </a:lnTo>
                    <a:lnTo>
                      <a:pt x="506" y="1751"/>
                    </a:lnTo>
                    <a:lnTo>
                      <a:pt x="508" y="1750"/>
                    </a:lnTo>
                    <a:lnTo>
                      <a:pt x="511" y="1750"/>
                    </a:lnTo>
                    <a:lnTo>
                      <a:pt x="514" y="1751"/>
                    </a:lnTo>
                    <a:lnTo>
                      <a:pt x="515" y="1749"/>
                    </a:lnTo>
                    <a:lnTo>
                      <a:pt x="517" y="1748"/>
                    </a:lnTo>
                    <a:lnTo>
                      <a:pt x="520" y="1745"/>
                    </a:lnTo>
                    <a:lnTo>
                      <a:pt x="520" y="1745"/>
                    </a:lnTo>
                    <a:lnTo>
                      <a:pt x="527" y="1743"/>
                    </a:lnTo>
                    <a:lnTo>
                      <a:pt x="525" y="1741"/>
                    </a:lnTo>
                    <a:lnTo>
                      <a:pt x="529" y="1739"/>
                    </a:lnTo>
                    <a:lnTo>
                      <a:pt x="533" y="1740"/>
                    </a:lnTo>
                    <a:lnTo>
                      <a:pt x="535" y="1737"/>
                    </a:lnTo>
                    <a:lnTo>
                      <a:pt x="538" y="1739"/>
                    </a:lnTo>
                    <a:lnTo>
                      <a:pt x="540" y="1740"/>
                    </a:lnTo>
                    <a:lnTo>
                      <a:pt x="534" y="1741"/>
                    </a:lnTo>
                    <a:lnTo>
                      <a:pt x="545" y="1739"/>
                    </a:lnTo>
                    <a:lnTo>
                      <a:pt x="545" y="1737"/>
                    </a:lnTo>
                    <a:lnTo>
                      <a:pt x="544" y="1737"/>
                    </a:lnTo>
                    <a:lnTo>
                      <a:pt x="546" y="1734"/>
                    </a:lnTo>
                    <a:lnTo>
                      <a:pt x="546" y="1737"/>
                    </a:lnTo>
                    <a:lnTo>
                      <a:pt x="549" y="1739"/>
                    </a:lnTo>
                    <a:lnTo>
                      <a:pt x="555" y="1739"/>
                    </a:lnTo>
                    <a:lnTo>
                      <a:pt x="561" y="1739"/>
                    </a:lnTo>
                    <a:lnTo>
                      <a:pt x="561" y="1739"/>
                    </a:lnTo>
                    <a:lnTo>
                      <a:pt x="562" y="1736"/>
                    </a:lnTo>
                    <a:lnTo>
                      <a:pt x="561" y="1734"/>
                    </a:lnTo>
                    <a:lnTo>
                      <a:pt x="563" y="1731"/>
                    </a:lnTo>
                    <a:lnTo>
                      <a:pt x="567" y="1728"/>
                    </a:lnTo>
                    <a:lnTo>
                      <a:pt x="575" y="1725"/>
                    </a:lnTo>
                    <a:lnTo>
                      <a:pt x="575" y="1723"/>
                    </a:lnTo>
                    <a:lnTo>
                      <a:pt x="575" y="1716"/>
                    </a:lnTo>
                    <a:lnTo>
                      <a:pt x="577" y="1711"/>
                    </a:lnTo>
                    <a:lnTo>
                      <a:pt x="578" y="1709"/>
                    </a:lnTo>
                    <a:lnTo>
                      <a:pt x="580" y="1708"/>
                    </a:lnTo>
                    <a:lnTo>
                      <a:pt x="583" y="1705"/>
                    </a:lnTo>
                    <a:lnTo>
                      <a:pt x="585" y="1702"/>
                    </a:lnTo>
                    <a:lnTo>
                      <a:pt x="584" y="1700"/>
                    </a:lnTo>
                    <a:lnTo>
                      <a:pt x="586" y="1700"/>
                    </a:lnTo>
                    <a:lnTo>
                      <a:pt x="587" y="1696"/>
                    </a:lnTo>
                    <a:lnTo>
                      <a:pt x="588" y="1692"/>
                    </a:lnTo>
                    <a:lnTo>
                      <a:pt x="592" y="1691"/>
                    </a:lnTo>
                    <a:lnTo>
                      <a:pt x="593" y="1689"/>
                    </a:lnTo>
                    <a:lnTo>
                      <a:pt x="593" y="1685"/>
                    </a:lnTo>
                    <a:lnTo>
                      <a:pt x="592" y="1677"/>
                    </a:lnTo>
                    <a:lnTo>
                      <a:pt x="593" y="1672"/>
                    </a:lnTo>
                    <a:lnTo>
                      <a:pt x="595" y="1670"/>
                    </a:lnTo>
                    <a:lnTo>
                      <a:pt x="601" y="1664"/>
                    </a:lnTo>
                    <a:lnTo>
                      <a:pt x="600" y="1656"/>
                    </a:lnTo>
                    <a:lnTo>
                      <a:pt x="602" y="1645"/>
                    </a:lnTo>
                    <a:lnTo>
                      <a:pt x="604" y="1638"/>
                    </a:lnTo>
                    <a:lnTo>
                      <a:pt x="603" y="1634"/>
                    </a:lnTo>
                    <a:lnTo>
                      <a:pt x="602" y="1622"/>
                    </a:lnTo>
                    <a:lnTo>
                      <a:pt x="603" y="1615"/>
                    </a:lnTo>
                    <a:lnTo>
                      <a:pt x="603" y="1613"/>
                    </a:lnTo>
                    <a:lnTo>
                      <a:pt x="602" y="1610"/>
                    </a:lnTo>
                    <a:lnTo>
                      <a:pt x="603" y="1607"/>
                    </a:lnTo>
                    <a:lnTo>
                      <a:pt x="602" y="1604"/>
                    </a:lnTo>
                    <a:lnTo>
                      <a:pt x="601" y="1606"/>
                    </a:lnTo>
                    <a:lnTo>
                      <a:pt x="602" y="1603"/>
                    </a:lnTo>
                    <a:lnTo>
                      <a:pt x="605" y="1598"/>
                    </a:lnTo>
                    <a:lnTo>
                      <a:pt x="604" y="1594"/>
                    </a:lnTo>
                    <a:lnTo>
                      <a:pt x="606" y="1594"/>
                    </a:lnTo>
                    <a:lnTo>
                      <a:pt x="609" y="1594"/>
                    </a:lnTo>
                    <a:lnTo>
                      <a:pt x="610" y="1597"/>
                    </a:lnTo>
                    <a:lnTo>
                      <a:pt x="612" y="1596"/>
                    </a:lnTo>
                    <a:lnTo>
                      <a:pt x="614" y="1594"/>
                    </a:lnTo>
                    <a:lnTo>
                      <a:pt x="620" y="1586"/>
                    </a:lnTo>
                    <a:lnTo>
                      <a:pt x="623" y="1579"/>
                    </a:lnTo>
                    <a:lnTo>
                      <a:pt x="625" y="1578"/>
                    </a:lnTo>
                    <a:lnTo>
                      <a:pt x="623" y="1577"/>
                    </a:lnTo>
                    <a:lnTo>
                      <a:pt x="625" y="1574"/>
                    </a:lnTo>
                    <a:lnTo>
                      <a:pt x="627" y="1573"/>
                    </a:lnTo>
                    <a:lnTo>
                      <a:pt x="626" y="1570"/>
                    </a:lnTo>
                    <a:lnTo>
                      <a:pt x="629" y="1570"/>
                    </a:lnTo>
                    <a:lnTo>
                      <a:pt x="628" y="1566"/>
                    </a:lnTo>
                    <a:lnTo>
                      <a:pt x="631" y="1568"/>
                    </a:lnTo>
                    <a:lnTo>
                      <a:pt x="636" y="1563"/>
                    </a:lnTo>
                    <a:lnTo>
                      <a:pt x="638" y="1563"/>
                    </a:lnTo>
                    <a:lnTo>
                      <a:pt x="639" y="1561"/>
                    </a:lnTo>
                    <a:lnTo>
                      <a:pt x="646" y="1553"/>
                    </a:lnTo>
                    <a:lnTo>
                      <a:pt x="646" y="1552"/>
                    </a:lnTo>
                    <a:lnTo>
                      <a:pt x="647" y="1552"/>
                    </a:lnTo>
                    <a:lnTo>
                      <a:pt x="647" y="1552"/>
                    </a:lnTo>
                    <a:lnTo>
                      <a:pt x="653" y="1546"/>
                    </a:lnTo>
                    <a:lnTo>
                      <a:pt x="655" y="1540"/>
                    </a:lnTo>
                    <a:lnTo>
                      <a:pt x="657" y="1536"/>
                    </a:lnTo>
                    <a:lnTo>
                      <a:pt x="657" y="1534"/>
                    </a:lnTo>
                    <a:lnTo>
                      <a:pt x="659" y="1529"/>
                    </a:lnTo>
                    <a:lnTo>
                      <a:pt x="660" y="1527"/>
                    </a:lnTo>
                    <a:lnTo>
                      <a:pt x="659" y="1526"/>
                    </a:lnTo>
                    <a:lnTo>
                      <a:pt x="660" y="1522"/>
                    </a:lnTo>
                    <a:lnTo>
                      <a:pt x="659" y="1522"/>
                    </a:lnTo>
                    <a:lnTo>
                      <a:pt x="660" y="1521"/>
                    </a:lnTo>
                    <a:lnTo>
                      <a:pt x="660" y="1518"/>
                    </a:lnTo>
                    <a:lnTo>
                      <a:pt x="660" y="1516"/>
                    </a:lnTo>
                    <a:lnTo>
                      <a:pt x="659" y="1517"/>
                    </a:lnTo>
                    <a:close/>
                    <a:moveTo>
                      <a:pt x="195" y="1646"/>
                    </a:moveTo>
                    <a:lnTo>
                      <a:pt x="193" y="1646"/>
                    </a:lnTo>
                    <a:lnTo>
                      <a:pt x="193" y="1646"/>
                    </a:lnTo>
                    <a:lnTo>
                      <a:pt x="194" y="1648"/>
                    </a:lnTo>
                    <a:lnTo>
                      <a:pt x="192" y="1648"/>
                    </a:lnTo>
                    <a:lnTo>
                      <a:pt x="192" y="1645"/>
                    </a:lnTo>
                    <a:lnTo>
                      <a:pt x="192" y="1642"/>
                    </a:lnTo>
                    <a:lnTo>
                      <a:pt x="191" y="1642"/>
                    </a:lnTo>
                    <a:lnTo>
                      <a:pt x="191" y="1642"/>
                    </a:lnTo>
                    <a:lnTo>
                      <a:pt x="187" y="1643"/>
                    </a:lnTo>
                    <a:lnTo>
                      <a:pt x="185" y="1642"/>
                    </a:lnTo>
                    <a:lnTo>
                      <a:pt x="186" y="1640"/>
                    </a:lnTo>
                    <a:lnTo>
                      <a:pt x="183" y="1639"/>
                    </a:lnTo>
                    <a:lnTo>
                      <a:pt x="181" y="1637"/>
                    </a:lnTo>
                    <a:lnTo>
                      <a:pt x="178" y="1638"/>
                    </a:lnTo>
                    <a:lnTo>
                      <a:pt x="178" y="1636"/>
                    </a:lnTo>
                    <a:lnTo>
                      <a:pt x="181" y="1636"/>
                    </a:lnTo>
                    <a:lnTo>
                      <a:pt x="179" y="1633"/>
                    </a:lnTo>
                    <a:lnTo>
                      <a:pt x="181" y="1630"/>
                    </a:lnTo>
                    <a:lnTo>
                      <a:pt x="184" y="1631"/>
                    </a:lnTo>
                    <a:lnTo>
                      <a:pt x="186" y="1632"/>
                    </a:lnTo>
                    <a:lnTo>
                      <a:pt x="187" y="1633"/>
                    </a:lnTo>
                    <a:lnTo>
                      <a:pt x="190" y="1634"/>
                    </a:lnTo>
                    <a:lnTo>
                      <a:pt x="192" y="1638"/>
                    </a:lnTo>
                    <a:lnTo>
                      <a:pt x="194" y="1639"/>
                    </a:lnTo>
                    <a:lnTo>
                      <a:pt x="193" y="1641"/>
                    </a:lnTo>
                    <a:lnTo>
                      <a:pt x="194" y="1642"/>
                    </a:lnTo>
                    <a:lnTo>
                      <a:pt x="196" y="1642"/>
                    </a:lnTo>
                    <a:lnTo>
                      <a:pt x="195" y="1646"/>
                    </a:lnTo>
                    <a:close/>
                    <a:moveTo>
                      <a:pt x="344" y="2192"/>
                    </a:moveTo>
                    <a:lnTo>
                      <a:pt x="340" y="2192"/>
                    </a:lnTo>
                    <a:lnTo>
                      <a:pt x="338" y="2193"/>
                    </a:lnTo>
                    <a:lnTo>
                      <a:pt x="339" y="2196"/>
                    </a:lnTo>
                    <a:lnTo>
                      <a:pt x="337" y="2193"/>
                    </a:lnTo>
                    <a:lnTo>
                      <a:pt x="336" y="2190"/>
                    </a:lnTo>
                    <a:lnTo>
                      <a:pt x="333" y="2190"/>
                    </a:lnTo>
                    <a:lnTo>
                      <a:pt x="331" y="2192"/>
                    </a:lnTo>
                    <a:lnTo>
                      <a:pt x="329" y="2194"/>
                    </a:lnTo>
                    <a:lnTo>
                      <a:pt x="327" y="2194"/>
                    </a:lnTo>
                    <a:lnTo>
                      <a:pt x="329" y="2196"/>
                    </a:lnTo>
                    <a:lnTo>
                      <a:pt x="329" y="2200"/>
                    </a:lnTo>
                    <a:lnTo>
                      <a:pt x="326" y="2197"/>
                    </a:lnTo>
                    <a:lnTo>
                      <a:pt x="323" y="2200"/>
                    </a:lnTo>
                    <a:lnTo>
                      <a:pt x="322" y="2202"/>
                    </a:lnTo>
                    <a:lnTo>
                      <a:pt x="319" y="2205"/>
                    </a:lnTo>
                    <a:lnTo>
                      <a:pt x="321" y="2207"/>
                    </a:lnTo>
                    <a:lnTo>
                      <a:pt x="323" y="2209"/>
                    </a:lnTo>
                    <a:lnTo>
                      <a:pt x="324" y="2205"/>
                    </a:lnTo>
                    <a:lnTo>
                      <a:pt x="327" y="2205"/>
                    </a:lnTo>
                    <a:lnTo>
                      <a:pt x="326" y="2203"/>
                    </a:lnTo>
                    <a:lnTo>
                      <a:pt x="328" y="2203"/>
                    </a:lnTo>
                    <a:lnTo>
                      <a:pt x="331" y="2204"/>
                    </a:lnTo>
                    <a:lnTo>
                      <a:pt x="333" y="2205"/>
                    </a:lnTo>
                    <a:lnTo>
                      <a:pt x="331" y="2202"/>
                    </a:lnTo>
                    <a:lnTo>
                      <a:pt x="329" y="2200"/>
                    </a:lnTo>
                    <a:lnTo>
                      <a:pt x="332" y="2201"/>
                    </a:lnTo>
                    <a:lnTo>
                      <a:pt x="335" y="2201"/>
                    </a:lnTo>
                    <a:lnTo>
                      <a:pt x="337" y="2201"/>
                    </a:lnTo>
                    <a:lnTo>
                      <a:pt x="339" y="2198"/>
                    </a:lnTo>
                    <a:lnTo>
                      <a:pt x="339" y="2198"/>
                    </a:lnTo>
                    <a:lnTo>
                      <a:pt x="343" y="2198"/>
                    </a:lnTo>
                    <a:lnTo>
                      <a:pt x="345" y="2196"/>
                    </a:lnTo>
                    <a:lnTo>
                      <a:pt x="343" y="2194"/>
                    </a:lnTo>
                    <a:lnTo>
                      <a:pt x="345" y="2194"/>
                    </a:lnTo>
                    <a:lnTo>
                      <a:pt x="344" y="2192"/>
                    </a:lnTo>
                    <a:close/>
                    <a:moveTo>
                      <a:pt x="444" y="1443"/>
                    </a:moveTo>
                    <a:lnTo>
                      <a:pt x="447" y="1444"/>
                    </a:lnTo>
                    <a:lnTo>
                      <a:pt x="448" y="1443"/>
                    </a:lnTo>
                    <a:lnTo>
                      <a:pt x="447" y="1443"/>
                    </a:lnTo>
                    <a:lnTo>
                      <a:pt x="449" y="1443"/>
                    </a:lnTo>
                    <a:lnTo>
                      <a:pt x="452" y="1443"/>
                    </a:lnTo>
                    <a:lnTo>
                      <a:pt x="455" y="1443"/>
                    </a:lnTo>
                    <a:lnTo>
                      <a:pt x="457" y="1443"/>
                    </a:lnTo>
                    <a:lnTo>
                      <a:pt x="460" y="1441"/>
                    </a:lnTo>
                    <a:lnTo>
                      <a:pt x="463" y="1441"/>
                    </a:lnTo>
                    <a:lnTo>
                      <a:pt x="465" y="1440"/>
                    </a:lnTo>
                    <a:lnTo>
                      <a:pt x="468" y="1437"/>
                    </a:lnTo>
                    <a:lnTo>
                      <a:pt x="468" y="1435"/>
                    </a:lnTo>
                    <a:lnTo>
                      <a:pt x="471" y="1433"/>
                    </a:lnTo>
                    <a:lnTo>
                      <a:pt x="472" y="1431"/>
                    </a:lnTo>
                    <a:lnTo>
                      <a:pt x="474" y="1425"/>
                    </a:lnTo>
                    <a:lnTo>
                      <a:pt x="472" y="1422"/>
                    </a:lnTo>
                    <a:lnTo>
                      <a:pt x="463" y="1420"/>
                    </a:lnTo>
                    <a:lnTo>
                      <a:pt x="460" y="1422"/>
                    </a:lnTo>
                    <a:lnTo>
                      <a:pt x="448" y="1420"/>
                    </a:lnTo>
                    <a:lnTo>
                      <a:pt x="444" y="1420"/>
                    </a:lnTo>
                    <a:lnTo>
                      <a:pt x="442" y="1424"/>
                    </a:lnTo>
                    <a:lnTo>
                      <a:pt x="442" y="1426"/>
                    </a:lnTo>
                    <a:lnTo>
                      <a:pt x="444" y="1428"/>
                    </a:lnTo>
                    <a:lnTo>
                      <a:pt x="442" y="1427"/>
                    </a:lnTo>
                    <a:lnTo>
                      <a:pt x="441" y="1428"/>
                    </a:lnTo>
                    <a:lnTo>
                      <a:pt x="442" y="1429"/>
                    </a:lnTo>
                    <a:lnTo>
                      <a:pt x="441" y="1431"/>
                    </a:lnTo>
                    <a:lnTo>
                      <a:pt x="442" y="1434"/>
                    </a:lnTo>
                    <a:lnTo>
                      <a:pt x="444" y="1433"/>
                    </a:lnTo>
                    <a:lnTo>
                      <a:pt x="446" y="1433"/>
                    </a:lnTo>
                    <a:lnTo>
                      <a:pt x="444" y="1435"/>
                    </a:lnTo>
                    <a:lnTo>
                      <a:pt x="441" y="1435"/>
                    </a:lnTo>
                    <a:lnTo>
                      <a:pt x="441" y="1439"/>
                    </a:lnTo>
                    <a:lnTo>
                      <a:pt x="442" y="1440"/>
                    </a:lnTo>
                    <a:lnTo>
                      <a:pt x="444" y="14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30" name="Freeform 226">
                <a:extLst>
                  <a:ext uri="{FF2B5EF4-FFF2-40B4-BE49-F238E27FC236}">
                    <a16:creationId xmlns:a16="http://schemas.microsoft.com/office/drawing/2014/main" id="{A2F17409-3C4C-4891-DB02-1F2BB768FAD9}"/>
                  </a:ext>
                </a:extLst>
              </p:cNvPr>
              <p:cNvSpPr>
                <a:spLocks noEditPoints="1"/>
              </p:cNvSpPr>
              <p:nvPr/>
            </p:nvSpPr>
            <p:spPr bwMode="auto">
              <a:xfrm>
                <a:off x="4057650" y="4014788"/>
                <a:ext cx="704850" cy="419100"/>
              </a:xfrm>
              <a:custGeom>
                <a:avLst/>
                <a:gdLst>
                  <a:gd name="T0" fmla="*/ 79 w 444"/>
                  <a:gd name="T1" fmla="*/ 28 h 264"/>
                  <a:gd name="T2" fmla="*/ 80 w 444"/>
                  <a:gd name="T3" fmla="*/ 28 h 264"/>
                  <a:gd name="T4" fmla="*/ 83 w 444"/>
                  <a:gd name="T5" fmla="*/ 26 h 264"/>
                  <a:gd name="T6" fmla="*/ 76 w 444"/>
                  <a:gd name="T7" fmla="*/ 22 h 264"/>
                  <a:gd name="T8" fmla="*/ 68 w 444"/>
                  <a:gd name="T9" fmla="*/ 21 h 264"/>
                  <a:gd name="T10" fmla="*/ 63 w 444"/>
                  <a:gd name="T11" fmla="*/ 20 h 264"/>
                  <a:gd name="T12" fmla="*/ 56 w 444"/>
                  <a:gd name="T13" fmla="*/ 24 h 264"/>
                  <a:gd name="T14" fmla="*/ 58 w 444"/>
                  <a:gd name="T15" fmla="*/ 25 h 264"/>
                  <a:gd name="T16" fmla="*/ 64 w 444"/>
                  <a:gd name="T17" fmla="*/ 29 h 264"/>
                  <a:gd name="T18" fmla="*/ 69 w 444"/>
                  <a:gd name="T19" fmla="*/ 30 h 264"/>
                  <a:gd name="T20" fmla="*/ 76 w 444"/>
                  <a:gd name="T21" fmla="*/ 28 h 264"/>
                  <a:gd name="T22" fmla="*/ 170 w 444"/>
                  <a:gd name="T23" fmla="*/ 21 h 264"/>
                  <a:gd name="T24" fmla="*/ 177 w 444"/>
                  <a:gd name="T25" fmla="*/ 22 h 264"/>
                  <a:gd name="T26" fmla="*/ 184 w 444"/>
                  <a:gd name="T27" fmla="*/ 22 h 264"/>
                  <a:gd name="T28" fmla="*/ 190 w 444"/>
                  <a:gd name="T29" fmla="*/ 22 h 264"/>
                  <a:gd name="T30" fmla="*/ 188 w 444"/>
                  <a:gd name="T31" fmla="*/ 16 h 264"/>
                  <a:gd name="T32" fmla="*/ 180 w 444"/>
                  <a:gd name="T33" fmla="*/ 13 h 264"/>
                  <a:gd name="T34" fmla="*/ 176 w 444"/>
                  <a:gd name="T35" fmla="*/ 10 h 264"/>
                  <a:gd name="T36" fmla="*/ 179 w 444"/>
                  <a:gd name="T37" fmla="*/ 9 h 264"/>
                  <a:gd name="T38" fmla="*/ 171 w 444"/>
                  <a:gd name="T39" fmla="*/ 7 h 264"/>
                  <a:gd name="T40" fmla="*/ 166 w 444"/>
                  <a:gd name="T41" fmla="*/ 4 h 264"/>
                  <a:gd name="T42" fmla="*/ 158 w 444"/>
                  <a:gd name="T43" fmla="*/ 1 h 264"/>
                  <a:gd name="T44" fmla="*/ 150 w 444"/>
                  <a:gd name="T45" fmla="*/ 1 h 264"/>
                  <a:gd name="T46" fmla="*/ 145 w 444"/>
                  <a:gd name="T47" fmla="*/ 3 h 264"/>
                  <a:gd name="T48" fmla="*/ 140 w 444"/>
                  <a:gd name="T49" fmla="*/ 2 h 264"/>
                  <a:gd name="T50" fmla="*/ 132 w 444"/>
                  <a:gd name="T51" fmla="*/ 0 h 264"/>
                  <a:gd name="T52" fmla="*/ 124 w 444"/>
                  <a:gd name="T53" fmla="*/ 2 h 264"/>
                  <a:gd name="T54" fmla="*/ 131 w 444"/>
                  <a:gd name="T55" fmla="*/ 5 h 264"/>
                  <a:gd name="T56" fmla="*/ 132 w 444"/>
                  <a:gd name="T57" fmla="*/ 11 h 264"/>
                  <a:gd name="T58" fmla="*/ 136 w 444"/>
                  <a:gd name="T59" fmla="*/ 17 h 264"/>
                  <a:gd name="T60" fmla="*/ 133 w 444"/>
                  <a:gd name="T61" fmla="*/ 21 h 264"/>
                  <a:gd name="T62" fmla="*/ 125 w 444"/>
                  <a:gd name="T63" fmla="*/ 20 h 264"/>
                  <a:gd name="T64" fmla="*/ 117 w 444"/>
                  <a:gd name="T65" fmla="*/ 19 h 264"/>
                  <a:gd name="T66" fmla="*/ 109 w 444"/>
                  <a:gd name="T67" fmla="*/ 20 h 264"/>
                  <a:gd name="T68" fmla="*/ 115 w 444"/>
                  <a:gd name="T69" fmla="*/ 25 h 264"/>
                  <a:gd name="T70" fmla="*/ 120 w 444"/>
                  <a:gd name="T71" fmla="*/ 25 h 264"/>
                  <a:gd name="T72" fmla="*/ 127 w 444"/>
                  <a:gd name="T73" fmla="*/ 25 h 264"/>
                  <a:gd name="T74" fmla="*/ 135 w 444"/>
                  <a:gd name="T75" fmla="*/ 25 h 264"/>
                  <a:gd name="T76" fmla="*/ 143 w 444"/>
                  <a:gd name="T77" fmla="*/ 25 h 264"/>
                  <a:gd name="T78" fmla="*/ 149 w 444"/>
                  <a:gd name="T79" fmla="*/ 32 h 264"/>
                  <a:gd name="T80" fmla="*/ 153 w 444"/>
                  <a:gd name="T81" fmla="*/ 29 h 264"/>
                  <a:gd name="T82" fmla="*/ 157 w 444"/>
                  <a:gd name="T83" fmla="*/ 24 h 264"/>
                  <a:gd name="T84" fmla="*/ 162 w 444"/>
                  <a:gd name="T85" fmla="*/ 24 h 264"/>
                  <a:gd name="T86" fmla="*/ 170 w 444"/>
                  <a:gd name="T87" fmla="*/ 21 h 264"/>
                  <a:gd name="T88" fmla="*/ 0 w 444"/>
                  <a:gd name="T89" fmla="*/ 164 h 264"/>
                  <a:gd name="T90" fmla="*/ 0 w 444"/>
                  <a:gd name="T91" fmla="*/ 163 h 264"/>
                  <a:gd name="T92" fmla="*/ 444 w 444"/>
                  <a:gd name="T93" fmla="*/ 263 h 264"/>
                  <a:gd name="T94" fmla="*/ 444 w 444"/>
                  <a:gd name="T95" fmla="*/ 26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4" h="264">
                    <a:moveTo>
                      <a:pt x="76" y="28"/>
                    </a:moveTo>
                    <a:lnTo>
                      <a:pt x="77" y="28"/>
                    </a:lnTo>
                    <a:lnTo>
                      <a:pt x="79" y="28"/>
                    </a:lnTo>
                    <a:lnTo>
                      <a:pt x="77" y="28"/>
                    </a:lnTo>
                    <a:lnTo>
                      <a:pt x="79" y="28"/>
                    </a:lnTo>
                    <a:lnTo>
                      <a:pt x="80" y="28"/>
                    </a:lnTo>
                    <a:lnTo>
                      <a:pt x="82" y="29"/>
                    </a:lnTo>
                    <a:lnTo>
                      <a:pt x="84" y="27"/>
                    </a:lnTo>
                    <a:lnTo>
                      <a:pt x="83" y="26"/>
                    </a:lnTo>
                    <a:lnTo>
                      <a:pt x="81" y="25"/>
                    </a:lnTo>
                    <a:lnTo>
                      <a:pt x="79" y="24"/>
                    </a:lnTo>
                    <a:lnTo>
                      <a:pt x="76" y="22"/>
                    </a:lnTo>
                    <a:lnTo>
                      <a:pt x="73" y="21"/>
                    </a:lnTo>
                    <a:lnTo>
                      <a:pt x="71" y="21"/>
                    </a:lnTo>
                    <a:lnTo>
                      <a:pt x="68" y="21"/>
                    </a:lnTo>
                    <a:lnTo>
                      <a:pt x="67" y="20"/>
                    </a:lnTo>
                    <a:lnTo>
                      <a:pt x="64" y="20"/>
                    </a:lnTo>
                    <a:lnTo>
                      <a:pt x="63" y="20"/>
                    </a:lnTo>
                    <a:lnTo>
                      <a:pt x="60" y="21"/>
                    </a:lnTo>
                    <a:lnTo>
                      <a:pt x="58" y="21"/>
                    </a:lnTo>
                    <a:lnTo>
                      <a:pt x="56" y="24"/>
                    </a:lnTo>
                    <a:lnTo>
                      <a:pt x="56" y="24"/>
                    </a:lnTo>
                    <a:lnTo>
                      <a:pt x="56" y="25"/>
                    </a:lnTo>
                    <a:lnTo>
                      <a:pt x="58" y="25"/>
                    </a:lnTo>
                    <a:lnTo>
                      <a:pt x="62" y="27"/>
                    </a:lnTo>
                    <a:lnTo>
                      <a:pt x="62" y="27"/>
                    </a:lnTo>
                    <a:lnTo>
                      <a:pt x="64" y="29"/>
                    </a:lnTo>
                    <a:lnTo>
                      <a:pt x="66" y="29"/>
                    </a:lnTo>
                    <a:lnTo>
                      <a:pt x="68" y="29"/>
                    </a:lnTo>
                    <a:lnTo>
                      <a:pt x="69" y="30"/>
                    </a:lnTo>
                    <a:lnTo>
                      <a:pt x="73" y="29"/>
                    </a:lnTo>
                    <a:lnTo>
                      <a:pt x="74" y="29"/>
                    </a:lnTo>
                    <a:lnTo>
                      <a:pt x="76" y="28"/>
                    </a:lnTo>
                    <a:lnTo>
                      <a:pt x="76" y="28"/>
                    </a:lnTo>
                    <a:lnTo>
                      <a:pt x="76" y="28"/>
                    </a:lnTo>
                    <a:close/>
                    <a:moveTo>
                      <a:pt x="170" y="21"/>
                    </a:moveTo>
                    <a:lnTo>
                      <a:pt x="171" y="21"/>
                    </a:lnTo>
                    <a:lnTo>
                      <a:pt x="174" y="21"/>
                    </a:lnTo>
                    <a:lnTo>
                      <a:pt x="177" y="22"/>
                    </a:lnTo>
                    <a:lnTo>
                      <a:pt x="179" y="21"/>
                    </a:lnTo>
                    <a:lnTo>
                      <a:pt x="182" y="21"/>
                    </a:lnTo>
                    <a:lnTo>
                      <a:pt x="184" y="22"/>
                    </a:lnTo>
                    <a:lnTo>
                      <a:pt x="186" y="24"/>
                    </a:lnTo>
                    <a:lnTo>
                      <a:pt x="190" y="22"/>
                    </a:lnTo>
                    <a:lnTo>
                      <a:pt x="190" y="22"/>
                    </a:lnTo>
                    <a:lnTo>
                      <a:pt x="192" y="20"/>
                    </a:lnTo>
                    <a:lnTo>
                      <a:pt x="192" y="18"/>
                    </a:lnTo>
                    <a:lnTo>
                      <a:pt x="188" y="16"/>
                    </a:lnTo>
                    <a:lnTo>
                      <a:pt x="186" y="13"/>
                    </a:lnTo>
                    <a:lnTo>
                      <a:pt x="184" y="13"/>
                    </a:lnTo>
                    <a:lnTo>
                      <a:pt x="180" y="13"/>
                    </a:lnTo>
                    <a:lnTo>
                      <a:pt x="178" y="12"/>
                    </a:lnTo>
                    <a:lnTo>
                      <a:pt x="175" y="10"/>
                    </a:lnTo>
                    <a:lnTo>
                      <a:pt x="176" y="10"/>
                    </a:lnTo>
                    <a:lnTo>
                      <a:pt x="179" y="10"/>
                    </a:lnTo>
                    <a:lnTo>
                      <a:pt x="182" y="9"/>
                    </a:lnTo>
                    <a:lnTo>
                      <a:pt x="179" y="9"/>
                    </a:lnTo>
                    <a:lnTo>
                      <a:pt x="176" y="9"/>
                    </a:lnTo>
                    <a:lnTo>
                      <a:pt x="174" y="9"/>
                    </a:lnTo>
                    <a:lnTo>
                      <a:pt x="171" y="7"/>
                    </a:lnTo>
                    <a:lnTo>
                      <a:pt x="170" y="4"/>
                    </a:lnTo>
                    <a:lnTo>
                      <a:pt x="169" y="4"/>
                    </a:lnTo>
                    <a:lnTo>
                      <a:pt x="166" y="4"/>
                    </a:lnTo>
                    <a:lnTo>
                      <a:pt x="163" y="2"/>
                    </a:lnTo>
                    <a:lnTo>
                      <a:pt x="160" y="2"/>
                    </a:lnTo>
                    <a:lnTo>
                      <a:pt x="158" y="1"/>
                    </a:lnTo>
                    <a:lnTo>
                      <a:pt x="156" y="1"/>
                    </a:lnTo>
                    <a:lnTo>
                      <a:pt x="152" y="1"/>
                    </a:lnTo>
                    <a:lnTo>
                      <a:pt x="150" y="1"/>
                    </a:lnTo>
                    <a:lnTo>
                      <a:pt x="148" y="1"/>
                    </a:lnTo>
                    <a:lnTo>
                      <a:pt x="147" y="3"/>
                    </a:lnTo>
                    <a:lnTo>
                      <a:pt x="145" y="3"/>
                    </a:lnTo>
                    <a:lnTo>
                      <a:pt x="143" y="3"/>
                    </a:lnTo>
                    <a:lnTo>
                      <a:pt x="142" y="3"/>
                    </a:lnTo>
                    <a:lnTo>
                      <a:pt x="140" y="2"/>
                    </a:lnTo>
                    <a:lnTo>
                      <a:pt x="136" y="2"/>
                    </a:lnTo>
                    <a:lnTo>
                      <a:pt x="134" y="1"/>
                    </a:lnTo>
                    <a:lnTo>
                      <a:pt x="132" y="0"/>
                    </a:lnTo>
                    <a:lnTo>
                      <a:pt x="130" y="1"/>
                    </a:lnTo>
                    <a:lnTo>
                      <a:pt x="127" y="0"/>
                    </a:lnTo>
                    <a:lnTo>
                      <a:pt x="124" y="2"/>
                    </a:lnTo>
                    <a:lnTo>
                      <a:pt x="125" y="4"/>
                    </a:lnTo>
                    <a:lnTo>
                      <a:pt x="127" y="4"/>
                    </a:lnTo>
                    <a:lnTo>
                      <a:pt x="131" y="5"/>
                    </a:lnTo>
                    <a:lnTo>
                      <a:pt x="133" y="7"/>
                    </a:lnTo>
                    <a:lnTo>
                      <a:pt x="132" y="10"/>
                    </a:lnTo>
                    <a:lnTo>
                      <a:pt x="132" y="11"/>
                    </a:lnTo>
                    <a:lnTo>
                      <a:pt x="133" y="12"/>
                    </a:lnTo>
                    <a:lnTo>
                      <a:pt x="134" y="15"/>
                    </a:lnTo>
                    <a:lnTo>
                      <a:pt x="136" y="17"/>
                    </a:lnTo>
                    <a:lnTo>
                      <a:pt x="137" y="20"/>
                    </a:lnTo>
                    <a:lnTo>
                      <a:pt x="135" y="20"/>
                    </a:lnTo>
                    <a:lnTo>
                      <a:pt x="133" y="21"/>
                    </a:lnTo>
                    <a:lnTo>
                      <a:pt x="131" y="21"/>
                    </a:lnTo>
                    <a:lnTo>
                      <a:pt x="127" y="21"/>
                    </a:lnTo>
                    <a:lnTo>
                      <a:pt x="125" y="20"/>
                    </a:lnTo>
                    <a:lnTo>
                      <a:pt x="123" y="20"/>
                    </a:lnTo>
                    <a:lnTo>
                      <a:pt x="119" y="19"/>
                    </a:lnTo>
                    <a:lnTo>
                      <a:pt x="117" y="19"/>
                    </a:lnTo>
                    <a:lnTo>
                      <a:pt x="114" y="18"/>
                    </a:lnTo>
                    <a:lnTo>
                      <a:pt x="113" y="18"/>
                    </a:lnTo>
                    <a:lnTo>
                      <a:pt x="109" y="20"/>
                    </a:lnTo>
                    <a:lnTo>
                      <a:pt x="109" y="22"/>
                    </a:lnTo>
                    <a:lnTo>
                      <a:pt x="111" y="24"/>
                    </a:lnTo>
                    <a:lnTo>
                      <a:pt x="115" y="25"/>
                    </a:lnTo>
                    <a:lnTo>
                      <a:pt x="117" y="27"/>
                    </a:lnTo>
                    <a:lnTo>
                      <a:pt x="118" y="26"/>
                    </a:lnTo>
                    <a:lnTo>
                      <a:pt x="120" y="25"/>
                    </a:lnTo>
                    <a:lnTo>
                      <a:pt x="123" y="24"/>
                    </a:lnTo>
                    <a:lnTo>
                      <a:pt x="124" y="25"/>
                    </a:lnTo>
                    <a:lnTo>
                      <a:pt x="127" y="25"/>
                    </a:lnTo>
                    <a:lnTo>
                      <a:pt x="130" y="25"/>
                    </a:lnTo>
                    <a:lnTo>
                      <a:pt x="132" y="25"/>
                    </a:lnTo>
                    <a:lnTo>
                      <a:pt x="135" y="25"/>
                    </a:lnTo>
                    <a:lnTo>
                      <a:pt x="137" y="25"/>
                    </a:lnTo>
                    <a:lnTo>
                      <a:pt x="141" y="25"/>
                    </a:lnTo>
                    <a:lnTo>
                      <a:pt x="143" y="25"/>
                    </a:lnTo>
                    <a:lnTo>
                      <a:pt x="145" y="27"/>
                    </a:lnTo>
                    <a:lnTo>
                      <a:pt x="148" y="28"/>
                    </a:lnTo>
                    <a:lnTo>
                      <a:pt x="149" y="32"/>
                    </a:lnTo>
                    <a:lnTo>
                      <a:pt x="151" y="32"/>
                    </a:lnTo>
                    <a:lnTo>
                      <a:pt x="152" y="32"/>
                    </a:lnTo>
                    <a:lnTo>
                      <a:pt x="153" y="29"/>
                    </a:lnTo>
                    <a:lnTo>
                      <a:pt x="156" y="26"/>
                    </a:lnTo>
                    <a:lnTo>
                      <a:pt x="156" y="24"/>
                    </a:lnTo>
                    <a:lnTo>
                      <a:pt x="157" y="24"/>
                    </a:lnTo>
                    <a:lnTo>
                      <a:pt x="159" y="22"/>
                    </a:lnTo>
                    <a:lnTo>
                      <a:pt x="162" y="24"/>
                    </a:lnTo>
                    <a:lnTo>
                      <a:pt x="162" y="24"/>
                    </a:lnTo>
                    <a:lnTo>
                      <a:pt x="165" y="25"/>
                    </a:lnTo>
                    <a:lnTo>
                      <a:pt x="168" y="25"/>
                    </a:lnTo>
                    <a:lnTo>
                      <a:pt x="170" y="21"/>
                    </a:lnTo>
                    <a:lnTo>
                      <a:pt x="170" y="21"/>
                    </a:lnTo>
                    <a:close/>
                    <a:moveTo>
                      <a:pt x="0" y="164"/>
                    </a:moveTo>
                    <a:lnTo>
                      <a:pt x="0" y="164"/>
                    </a:lnTo>
                    <a:lnTo>
                      <a:pt x="2" y="163"/>
                    </a:lnTo>
                    <a:lnTo>
                      <a:pt x="0" y="163"/>
                    </a:lnTo>
                    <a:lnTo>
                      <a:pt x="0" y="163"/>
                    </a:lnTo>
                    <a:lnTo>
                      <a:pt x="0" y="164"/>
                    </a:lnTo>
                    <a:lnTo>
                      <a:pt x="0" y="164"/>
                    </a:lnTo>
                    <a:close/>
                    <a:moveTo>
                      <a:pt x="444" y="263"/>
                    </a:moveTo>
                    <a:lnTo>
                      <a:pt x="444" y="264"/>
                    </a:lnTo>
                    <a:lnTo>
                      <a:pt x="444" y="263"/>
                    </a:lnTo>
                    <a:lnTo>
                      <a:pt x="444"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31" name="Freeform 227">
                <a:extLst>
                  <a:ext uri="{FF2B5EF4-FFF2-40B4-BE49-F238E27FC236}">
                    <a16:creationId xmlns:a16="http://schemas.microsoft.com/office/drawing/2014/main" id="{B2EED651-29B8-E899-F63E-4E1B687BEE80}"/>
                  </a:ext>
                </a:extLst>
              </p:cNvPr>
              <p:cNvSpPr>
                <a:spLocks/>
              </p:cNvSpPr>
              <p:nvPr/>
            </p:nvSpPr>
            <p:spPr bwMode="auto">
              <a:xfrm>
                <a:off x="4003675" y="3940175"/>
                <a:ext cx="234950" cy="76200"/>
              </a:xfrm>
              <a:custGeom>
                <a:avLst/>
                <a:gdLst>
                  <a:gd name="T0" fmla="*/ 102 w 148"/>
                  <a:gd name="T1" fmla="*/ 48 h 48"/>
                  <a:gd name="T2" fmla="*/ 108 w 148"/>
                  <a:gd name="T3" fmla="*/ 48 h 48"/>
                  <a:gd name="T4" fmla="*/ 117 w 148"/>
                  <a:gd name="T5" fmla="*/ 47 h 48"/>
                  <a:gd name="T6" fmla="*/ 125 w 148"/>
                  <a:gd name="T7" fmla="*/ 47 h 48"/>
                  <a:gd name="T8" fmla="*/ 133 w 148"/>
                  <a:gd name="T9" fmla="*/ 48 h 48"/>
                  <a:gd name="T10" fmla="*/ 134 w 148"/>
                  <a:gd name="T11" fmla="*/ 46 h 48"/>
                  <a:gd name="T12" fmla="*/ 135 w 148"/>
                  <a:gd name="T13" fmla="*/ 48 h 48"/>
                  <a:gd name="T14" fmla="*/ 140 w 148"/>
                  <a:gd name="T15" fmla="*/ 46 h 48"/>
                  <a:gd name="T16" fmla="*/ 148 w 148"/>
                  <a:gd name="T17" fmla="*/ 42 h 48"/>
                  <a:gd name="T18" fmla="*/ 140 w 148"/>
                  <a:gd name="T19" fmla="*/ 39 h 48"/>
                  <a:gd name="T20" fmla="*/ 134 w 148"/>
                  <a:gd name="T21" fmla="*/ 37 h 48"/>
                  <a:gd name="T22" fmla="*/ 127 w 148"/>
                  <a:gd name="T23" fmla="*/ 37 h 48"/>
                  <a:gd name="T24" fmla="*/ 127 w 148"/>
                  <a:gd name="T25" fmla="*/ 33 h 48"/>
                  <a:gd name="T26" fmla="*/ 123 w 148"/>
                  <a:gd name="T27" fmla="*/ 30 h 48"/>
                  <a:gd name="T28" fmla="*/ 117 w 148"/>
                  <a:gd name="T29" fmla="*/ 28 h 48"/>
                  <a:gd name="T30" fmla="*/ 109 w 148"/>
                  <a:gd name="T31" fmla="*/ 25 h 48"/>
                  <a:gd name="T32" fmla="*/ 105 w 148"/>
                  <a:gd name="T33" fmla="*/ 24 h 48"/>
                  <a:gd name="T34" fmla="*/ 103 w 148"/>
                  <a:gd name="T35" fmla="*/ 21 h 48"/>
                  <a:gd name="T36" fmla="*/ 96 w 148"/>
                  <a:gd name="T37" fmla="*/ 19 h 48"/>
                  <a:gd name="T38" fmla="*/ 90 w 148"/>
                  <a:gd name="T39" fmla="*/ 15 h 48"/>
                  <a:gd name="T40" fmla="*/ 82 w 148"/>
                  <a:gd name="T41" fmla="*/ 12 h 48"/>
                  <a:gd name="T42" fmla="*/ 75 w 148"/>
                  <a:gd name="T43" fmla="*/ 11 h 48"/>
                  <a:gd name="T44" fmla="*/ 69 w 148"/>
                  <a:gd name="T45" fmla="*/ 5 h 48"/>
                  <a:gd name="T46" fmla="*/ 64 w 148"/>
                  <a:gd name="T47" fmla="*/ 4 h 48"/>
                  <a:gd name="T48" fmla="*/ 57 w 148"/>
                  <a:gd name="T49" fmla="*/ 2 h 48"/>
                  <a:gd name="T50" fmla="*/ 48 w 148"/>
                  <a:gd name="T51" fmla="*/ 2 h 48"/>
                  <a:gd name="T52" fmla="*/ 41 w 148"/>
                  <a:gd name="T53" fmla="*/ 0 h 48"/>
                  <a:gd name="T54" fmla="*/ 36 w 148"/>
                  <a:gd name="T55" fmla="*/ 0 h 48"/>
                  <a:gd name="T56" fmla="*/ 26 w 148"/>
                  <a:gd name="T57" fmla="*/ 4 h 48"/>
                  <a:gd name="T58" fmla="*/ 21 w 148"/>
                  <a:gd name="T59" fmla="*/ 5 h 48"/>
                  <a:gd name="T60" fmla="*/ 13 w 148"/>
                  <a:gd name="T61" fmla="*/ 8 h 48"/>
                  <a:gd name="T62" fmla="*/ 6 w 148"/>
                  <a:gd name="T63" fmla="*/ 14 h 48"/>
                  <a:gd name="T64" fmla="*/ 3 w 148"/>
                  <a:gd name="T65" fmla="*/ 19 h 48"/>
                  <a:gd name="T66" fmla="*/ 5 w 148"/>
                  <a:gd name="T67" fmla="*/ 19 h 48"/>
                  <a:gd name="T68" fmla="*/ 13 w 148"/>
                  <a:gd name="T69" fmla="*/ 16 h 48"/>
                  <a:gd name="T70" fmla="*/ 19 w 148"/>
                  <a:gd name="T71" fmla="*/ 15 h 48"/>
                  <a:gd name="T72" fmla="*/ 26 w 148"/>
                  <a:gd name="T73" fmla="*/ 9 h 48"/>
                  <a:gd name="T74" fmla="*/ 33 w 148"/>
                  <a:gd name="T75" fmla="*/ 8 h 48"/>
                  <a:gd name="T76" fmla="*/ 39 w 148"/>
                  <a:gd name="T77" fmla="*/ 8 h 48"/>
                  <a:gd name="T78" fmla="*/ 45 w 148"/>
                  <a:gd name="T79" fmla="*/ 9 h 48"/>
                  <a:gd name="T80" fmla="*/ 40 w 148"/>
                  <a:gd name="T81" fmla="*/ 13 h 48"/>
                  <a:gd name="T82" fmla="*/ 48 w 148"/>
                  <a:gd name="T83" fmla="*/ 15 h 48"/>
                  <a:gd name="T84" fmla="*/ 54 w 148"/>
                  <a:gd name="T85" fmla="*/ 17 h 48"/>
                  <a:gd name="T86" fmla="*/ 60 w 148"/>
                  <a:gd name="T87" fmla="*/ 16 h 48"/>
                  <a:gd name="T88" fmla="*/ 63 w 148"/>
                  <a:gd name="T89" fmla="*/ 19 h 48"/>
                  <a:gd name="T90" fmla="*/ 67 w 148"/>
                  <a:gd name="T91" fmla="*/ 22 h 48"/>
                  <a:gd name="T92" fmla="*/ 71 w 148"/>
                  <a:gd name="T93" fmla="*/ 22 h 48"/>
                  <a:gd name="T94" fmla="*/ 76 w 148"/>
                  <a:gd name="T95" fmla="*/ 23 h 48"/>
                  <a:gd name="T96" fmla="*/ 83 w 148"/>
                  <a:gd name="T97" fmla="*/ 23 h 48"/>
                  <a:gd name="T98" fmla="*/ 86 w 148"/>
                  <a:gd name="T99" fmla="*/ 26 h 48"/>
                  <a:gd name="T100" fmla="*/ 91 w 148"/>
                  <a:gd name="T101" fmla="*/ 34 h 48"/>
                  <a:gd name="T102" fmla="*/ 98 w 148"/>
                  <a:gd name="T103" fmla="*/ 37 h 48"/>
                  <a:gd name="T104" fmla="*/ 105 w 148"/>
                  <a:gd name="T105" fmla="*/ 39 h 48"/>
                  <a:gd name="T106" fmla="*/ 106 w 148"/>
                  <a:gd name="T107" fmla="*/ 42 h 48"/>
                  <a:gd name="T108" fmla="*/ 100 w 148"/>
                  <a:gd name="T109" fmla="*/ 4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48">
                    <a:moveTo>
                      <a:pt x="100" y="46"/>
                    </a:moveTo>
                    <a:lnTo>
                      <a:pt x="100" y="48"/>
                    </a:lnTo>
                    <a:lnTo>
                      <a:pt x="102" y="48"/>
                    </a:lnTo>
                    <a:lnTo>
                      <a:pt x="105" y="48"/>
                    </a:lnTo>
                    <a:lnTo>
                      <a:pt x="108" y="48"/>
                    </a:lnTo>
                    <a:lnTo>
                      <a:pt x="108" y="48"/>
                    </a:lnTo>
                    <a:lnTo>
                      <a:pt x="111" y="47"/>
                    </a:lnTo>
                    <a:lnTo>
                      <a:pt x="114" y="47"/>
                    </a:lnTo>
                    <a:lnTo>
                      <a:pt x="117" y="47"/>
                    </a:lnTo>
                    <a:lnTo>
                      <a:pt x="119" y="47"/>
                    </a:lnTo>
                    <a:lnTo>
                      <a:pt x="123" y="47"/>
                    </a:lnTo>
                    <a:lnTo>
                      <a:pt x="125" y="47"/>
                    </a:lnTo>
                    <a:lnTo>
                      <a:pt x="127" y="48"/>
                    </a:lnTo>
                    <a:lnTo>
                      <a:pt x="131" y="48"/>
                    </a:lnTo>
                    <a:lnTo>
                      <a:pt x="133" y="48"/>
                    </a:lnTo>
                    <a:lnTo>
                      <a:pt x="133" y="47"/>
                    </a:lnTo>
                    <a:lnTo>
                      <a:pt x="133" y="46"/>
                    </a:lnTo>
                    <a:lnTo>
                      <a:pt x="134" y="46"/>
                    </a:lnTo>
                    <a:lnTo>
                      <a:pt x="134" y="47"/>
                    </a:lnTo>
                    <a:lnTo>
                      <a:pt x="134" y="48"/>
                    </a:lnTo>
                    <a:lnTo>
                      <a:pt x="135" y="48"/>
                    </a:lnTo>
                    <a:lnTo>
                      <a:pt x="137" y="46"/>
                    </a:lnTo>
                    <a:lnTo>
                      <a:pt x="137" y="46"/>
                    </a:lnTo>
                    <a:lnTo>
                      <a:pt x="140" y="46"/>
                    </a:lnTo>
                    <a:lnTo>
                      <a:pt x="143" y="46"/>
                    </a:lnTo>
                    <a:lnTo>
                      <a:pt x="145" y="46"/>
                    </a:lnTo>
                    <a:lnTo>
                      <a:pt x="148" y="42"/>
                    </a:lnTo>
                    <a:lnTo>
                      <a:pt x="144" y="42"/>
                    </a:lnTo>
                    <a:lnTo>
                      <a:pt x="142" y="41"/>
                    </a:lnTo>
                    <a:lnTo>
                      <a:pt x="140" y="39"/>
                    </a:lnTo>
                    <a:lnTo>
                      <a:pt x="140" y="38"/>
                    </a:lnTo>
                    <a:lnTo>
                      <a:pt x="136" y="37"/>
                    </a:lnTo>
                    <a:lnTo>
                      <a:pt x="134" y="37"/>
                    </a:lnTo>
                    <a:lnTo>
                      <a:pt x="133" y="36"/>
                    </a:lnTo>
                    <a:lnTo>
                      <a:pt x="131" y="36"/>
                    </a:lnTo>
                    <a:lnTo>
                      <a:pt x="127" y="37"/>
                    </a:lnTo>
                    <a:lnTo>
                      <a:pt x="125" y="36"/>
                    </a:lnTo>
                    <a:lnTo>
                      <a:pt x="126" y="33"/>
                    </a:lnTo>
                    <a:lnTo>
                      <a:pt x="127" y="33"/>
                    </a:lnTo>
                    <a:lnTo>
                      <a:pt x="126" y="30"/>
                    </a:lnTo>
                    <a:lnTo>
                      <a:pt x="123" y="30"/>
                    </a:lnTo>
                    <a:lnTo>
                      <a:pt x="123" y="30"/>
                    </a:lnTo>
                    <a:lnTo>
                      <a:pt x="120" y="31"/>
                    </a:lnTo>
                    <a:lnTo>
                      <a:pt x="117" y="29"/>
                    </a:lnTo>
                    <a:lnTo>
                      <a:pt x="117" y="28"/>
                    </a:lnTo>
                    <a:lnTo>
                      <a:pt x="115" y="28"/>
                    </a:lnTo>
                    <a:lnTo>
                      <a:pt x="111" y="26"/>
                    </a:lnTo>
                    <a:lnTo>
                      <a:pt x="109" y="25"/>
                    </a:lnTo>
                    <a:lnTo>
                      <a:pt x="108" y="24"/>
                    </a:lnTo>
                    <a:lnTo>
                      <a:pt x="106" y="25"/>
                    </a:lnTo>
                    <a:lnTo>
                      <a:pt x="105" y="24"/>
                    </a:lnTo>
                    <a:lnTo>
                      <a:pt x="103" y="23"/>
                    </a:lnTo>
                    <a:lnTo>
                      <a:pt x="106" y="24"/>
                    </a:lnTo>
                    <a:lnTo>
                      <a:pt x="103" y="21"/>
                    </a:lnTo>
                    <a:lnTo>
                      <a:pt x="101" y="21"/>
                    </a:lnTo>
                    <a:lnTo>
                      <a:pt x="99" y="21"/>
                    </a:lnTo>
                    <a:lnTo>
                      <a:pt x="96" y="19"/>
                    </a:lnTo>
                    <a:lnTo>
                      <a:pt x="93" y="16"/>
                    </a:lnTo>
                    <a:lnTo>
                      <a:pt x="92" y="16"/>
                    </a:lnTo>
                    <a:lnTo>
                      <a:pt x="90" y="15"/>
                    </a:lnTo>
                    <a:lnTo>
                      <a:pt x="86" y="13"/>
                    </a:lnTo>
                    <a:lnTo>
                      <a:pt x="84" y="13"/>
                    </a:lnTo>
                    <a:lnTo>
                      <a:pt x="82" y="12"/>
                    </a:lnTo>
                    <a:lnTo>
                      <a:pt x="81" y="12"/>
                    </a:lnTo>
                    <a:lnTo>
                      <a:pt x="79" y="12"/>
                    </a:lnTo>
                    <a:lnTo>
                      <a:pt x="75" y="11"/>
                    </a:lnTo>
                    <a:lnTo>
                      <a:pt x="74" y="11"/>
                    </a:lnTo>
                    <a:lnTo>
                      <a:pt x="72" y="7"/>
                    </a:lnTo>
                    <a:lnTo>
                      <a:pt x="69" y="5"/>
                    </a:lnTo>
                    <a:lnTo>
                      <a:pt x="67" y="4"/>
                    </a:lnTo>
                    <a:lnTo>
                      <a:pt x="67" y="4"/>
                    </a:lnTo>
                    <a:lnTo>
                      <a:pt x="64" y="4"/>
                    </a:lnTo>
                    <a:lnTo>
                      <a:pt x="62" y="4"/>
                    </a:lnTo>
                    <a:lnTo>
                      <a:pt x="59" y="3"/>
                    </a:lnTo>
                    <a:lnTo>
                      <a:pt x="57" y="2"/>
                    </a:lnTo>
                    <a:lnTo>
                      <a:pt x="54" y="3"/>
                    </a:lnTo>
                    <a:lnTo>
                      <a:pt x="51" y="0"/>
                    </a:lnTo>
                    <a:lnTo>
                      <a:pt x="48" y="2"/>
                    </a:lnTo>
                    <a:lnTo>
                      <a:pt x="47" y="2"/>
                    </a:lnTo>
                    <a:lnTo>
                      <a:pt x="45" y="0"/>
                    </a:lnTo>
                    <a:lnTo>
                      <a:pt x="41" y="0"/>
                    </a:lnTo>
                    <a:lnTo>
                      <a:pt x="39" y="0"/>
                    </a:lnTo>
                    <a:lnTo>
                      <a:pt x="38" y="0"/>
                    </a:lnTo>
                    <a:lnTo>
                      <a:pt x="36" y="0"/>
                    </a:lnTo>
                    <a:lnTo>
                      <a:pt x="32" y="3"/>
                    </a:lnTo>
                    <a:lnTo>
                      <a:pt x="30" y="3"/>
                    </a:lnTo>
                    <a:lnTo>
                      <a:pt x="26" y="4"/>
                    </a:lnTo>
                    <a:lnTo>
                      <a:pt x="25" y="3"/>
                    </a:lnTo>
                    <a:lnTo>
                      <a:pt x="23" y="4"/>
                    </a:lnTo>
                    <a:lnTo>
                      <a:pt x="21" y="5"/>
                    </a:lnTo>
                    <a:lnTo>
                      <a:pt x="17" y="6"/>
                    </a:lnTo>
                    <a:lnTo>
                      <a:pt x="15" y="6"/>
                    </a:lnTo>
                    <a:lnTo>
                      <a:pt x="13" y="8"/>
                    </a:lnTo>
                    <a:lnTo>
                      <a:pt x="9" y="9"/>
                    </a:lnTo>
                    <a:lnTo>
                      <a:pt x="7" y="12"/>
                    </a:lnTo>
                    <a:lnTo>
                      <a:pt x="6" y="14"/>
                    </a:lnTo>
                    <a:lnTo>
                      <a:pt x="8" y="17"/>
                    </a:lnTo>
                    <a:lnTo>
                      <a:pt x="5" y="17"/>
                    </a:lnTo>
                    <a:lnTo>
                      <a:pt x="3" y="19"/>
                    </a:lnTo>
                    <a:lnTo>
                      <a:pt x="0" y="20"/>
                    </a:lnTo>
                    <a:lnTo>
                      <a:pt x="2" y="20"/>
                    </a:lnTo>
                    <a:lnTo>
                      <a:pt x="5" y="19"/>
                    </a:lnTo>
                    <a:lnTo>
                      <a:pt x="7" y="20"/>
                    </a:lnTo>
                    <a:lnTo>
                      <a:pt x="9" y="19"/>
                    </a:lnTo>
                    <a:lnTo>
                      <a:pt x="13" y="16"/>
                    </a:lnTo>
                    <a:lnTo>
                      <a:pt x="15" y="15"/>
                    </a:lnTo>
                    <a:lnTo>
                      <a:pt x="16" y="15"/>
                    </a:lnTo>
                    <a:lnTo>
                      <a:pt x="19" y="15"/>
                    </a:lnTo>
                    <a:lnTo>
                      <a:pt x="22" y="14"/>
                    </a:lnTo>
                    <a:lnTo>
                      <a:pt x="24" y="13"/>
                    </a:lnTo>
                    <a:lnTo>
                      <a:pt x="26" y="9"/>
                    </a:lnTo>
                    <a:lnTo>
                      <a:pt x="29" y="8"/>
                    </a:lnTo>
                    <a:lnTo>
                      <a:pt x="30" y="7"/>
                    </a:lnTo>
                    <a:lnTo>
                      <a:pt x="33" y="8"/>
                    </a:lnTo>
                    <a:lnTo>
                      <a:pt x="36" y="8"/>
                    </a:lnTo>
                    <a:lnTo>
                      <a:pt x="39" y="8"/>
                    </a:lnTo>
                    <a:lnTo>
                      <a:pt x="39" y="8"/>
                    </a:lnTo>
                    <a:lnTo>
                      <a:pt x="42" y="8"/>
                    </a:lnTo>
                    <a:lnTo>
                      <a:pt x="45" y="9"/>
                    </a:lnTo>
                    <a:lnTo>
                      <a:pt x="45" y="9"/>
                    </a:lnTo>
                    <a:lnTo>
                      <a:pt x="43" y="11"/>
                    </a:lnTo>
                    <a:lnTo>
                      <a:pt x="42" y="12"/>
                    </a:lnTo>
                    <a:lnTo>
                      <a:pt x="40" y="13"/>
                    </a:lnTo>
                    <a:lnTo>
                      <a:pt x="42" y="15"/>
                    </a:lnTo>
                    <a:lnTo>
                      <a:pt x="46" y="15"/>
                    </a:lnTo>
                    <a:lnTo>
                      <a:pt x="48" y="15"/>
                    </a:lnTo>
                    <a:lnTo>
                      <a:pt x="50" y="17"/>
                    </a:lnTo>
                    <a:lnTo>
                      <a:pt x="51" y="14"/>
                    </a:lnTo>
                    <a:lnTo>
                      <a:pt x="54" y="17"/>
                    </a:lnTo>
                    <a:lnTo>
                      <a:pt x="59" y="17"/>
                    </a:lnTo>
                    <a:lnTo>
                      <a:pt x="59" y="16"/>
                    </a:lnTo>
                    <a:lnTo>
                      <a:pt x="60" y="16"/>
                    </a:lnTo>
                    <a:lnTo>
                      <a:pt x="60" y="15"/>
                    </a:lnTo>
                    <a:lnTo>
                      <a:pt x="62" y="17"/>
                    </a:lnTo>
                    <a:lnTo>
                      <a:pt x="63" y="19"/>
                    </a:lnTo>
                    <a:lnTo>
                      <a:pt x="66" y="20"/>
                    </a:lnTo>
                    <a:lnTo>
                      <a:pt x="66" y="21"/>
                    </a:lnTo>
                    <a:lnTo>
                      <a:pt x="67" y="22"/>
                    </a:lnTo>
                    <a:lnTo>
                      <a:pt x="67" y="21"/>
                    </a:lnTo>
                    <a:lnTo>
                      <a:pt x="67" y="22"/>
                    </a:lnTo>
                    <a:lnTo>
                      <a:pt x="71" y="22"/>
                    </a:lnTo>
                    <a:lnTo>
                      <a:pt x="73" y="23"/>
                    </a:lnTo>
                    <a:lnTo>
                      <a:pt x="74" y="23"/>
                    </a:lnTo>
                    <a:lnTo>
                      <a:pt x="76" y="23"/>
                    </a:lnTo>
                    <a:lnTo>
                      <a:pt x="79" y="24"/>
                    </a:lnTo>
                    <a:lnTo>
                      <a:pt x="81" y="23"/>
                    </a:lnTo>
                    <a:lnTo>
                      <a:pt x="83" y="23"/>
                    </a:lnTo>
                    <a:lnTo>
                      <a:pt x="85" y="23"/>
                    </a:lnTo>
                    <a:lnTo>
                      <a:pt x="85" y="24"/>
                    </a:lnTo>
                    <a:lnTo>
                      <a:pt x="86" y="26"/>
                    </a:lnTo>
                    <a:lnTo>
                      <a:pt x="88" y="30"/>
                    </a:lnTo>
                    <a:lnTo>
                      <a:pt x="89" y="32"/>
                    </a:lnTo>
                    <a:lnTo>
                      <a:pt x="91" y="34"/>
                    </a:lnTo>
                    <a:lnTo>
                      <a:pt x="94" y="37"/>
                    </a:lnTo>
                    <a:lnTo>
                      <a:pt x="97" y="36"/>
                    </a:lnTo>
                    <a:lnTo>
                      <a:pt x="98" y="37"/>
                    </a:lnTo>
                    <a:lnTo>
                      <a:pt x="101" y="37"/>
                    </a:lnTo>
                    <a:lnTo>
                      <a:pt x="103" y="36"/>
                    </a:lnTo>
                    <a:lnTo>
                      <a:pt x="105" y="39"/>
                    </a:lnTo>
                    <a:lnTo>
                      <a:pt x="107" y="39"/>
                    </a:lnTo>
                    <a:lnTo>
                      <a:pt x="107" y="41"/>
                    </a:lnTo>
                    <a:lnTo>
                      <a:pt x="106" y="42"/>
                    </a:lnTo>
                    <a:lnTo>
                      <a:pt x="103" y="43"/>
                    </a:lnTo>
                    <a:lnTo>
                      <a:pt x="102" y="43"/>
                    </a:lnTo>
                    <a:lnTo>
                      <a:pt x="100" y="46"/>
                    </a:lnTo>
                    <a:lnTo>
                      <a:pt x="100"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32" name="Freeform 228">
                <a:extLst>
                  <a:ext uri="{FF2B5EF4-FFF2-40B4-BE49-F238E27FC236}">
                    <a16:creationId xmlns:a16="http://schemas.microsoft.com/office/drawing/2014/main" id="{D9AAC430-2F13-D8FE-C7B9-27BEF04BB16E}"/>
                  </a:ext>
                </a:extLst>
              </p:cNvPr>
              <p:cNvSpPr>
                <a:spLocks noEditPoints="1"/>
              </p:cNvSpPr>
              <p:nvPr/>
            </p:nvSpPr>
            <p:spPr bwMode="auto">
              <a:xfrm>
                <a:off x="3236913" y="3219450"/>
                <a:ext cx="1468437" cy="684213"/>
              </a:xfrm>
              <a:custGeom>
                <a:avLst/>
                <a:gdLst>
                  <a:gd name="T0" fmla="*/ 913 w 925"/>
                  <a:gd name="T1" fmla="*/ 80 h 431"/>
                  <a:gd name="T2" fmla="*/ 918 w 925"/>
                  <a:gd name="T3" fmla="*/ 87 h 431"/>
                  <a:gd name="T4" fmla="*/ 923 w 925"/>
                  <a:gd name="T5" fmla="*/ 77 h 431"/>
                  <a:gd name="T6" fmla="*/ 918 w 925"/>
                  <a:gd name="T7" fmla="*/ 74 h 431"/>
                  <a:gd name="T8" fmla="*/ 921 w 925"/>
                  <a:gd name="T9" fmla="*/ 63 h 431"/>
                  <a:gd name="T10" fmla="*/ 910 w 925"/>
                  <a:gd name="T11" fmla="*/ 73 h 431"/>
                  <a:gd name="T12" fmla="*/ 910 w 925"/>
                  <a:gd name="T13" fmla="*/ 65 h 431"/>
                  <a:gd name="T14" fmla="*/ 915 w 925"/>
                  <a:gd name="T15" fmla="*/ 59 h 431"/>
                  <a:gd name="T16" fmla="*/ 914 w 925"/>
                  <a:gd name="T17" fmla="*/ 55 h 431"/>
                  <a:gd name="T18" fmla="*/ 905 w 925"/>
                  <a:gd name="T19" fmla="*/ 58 h 431"/>
                  <a:gd name="T20" fmla="*/ 907 w 925"/>
                  <a:gd name="T21" fmla="*/ 54 h 431"/>
                  <a:gd name="T22" fmla="*/ 909 w 925"/>
                  <a:gd name="T23" fmla="*/ 47 h 431"/>
                  <a:gd name="T24" fmla="*/ 906 w 925"/>
                  <a:gd name="T25" fmla="*/ 40 h 431"/>
                  <a:gd name="T26" fmla="*/ 900 w 925"/>
                  <a:gd name="T27" fmla="*/ 38 h 431"/>
                  <a:gd name="T28" fmla="*/ 890 w 925"/>
                  <a:gd name="T29" fmla="*/ 46 h 431"/>
                  <a:gd name="T30" fmla="*/ 888 w 925"/>
                  <a:gd name="T31" fmla="*/ 41 h 431"/>
                  <a:gd name="T32" fmla="*/ 880 w 925"/>
                  <a:gd name="T33" fmla="*/ 39 h 431"/>
                  <a:gd name="T34" fmla="*/ 881 w 925"/>
                  <a:gd name="T35" fmla="*/ 33 h 431"/>
                  <a:gd name="T36" fmla="*/ 881 w 925"/>
                  <a:gd name="T37" fmla="*/ 30 h 431"/>
                  <a:gd name="T38" fmla="*/ 871 w 925"/>
                  <a:gd name="T39" fmla="*/ 32 h 431"/>
                  <a:gd name="T40" fmla="*/ 869 w 925"/>
                  <a:gd name="T41" fmla="*/ 30 h 431"/>
                  <a:gd name="T42" fmla="*/ 876 w 925"/>
                  <a:gd name="T43" fmla="*/ 18 h 431"/>
                  <a:gd name="T44" fmla="*/ 879 w 925"/>
                  <a:gd name="T45" fmla="*/ 7 h 431"/>
                  <a:gd name="T46" fmla="*/ 887 w 925"/>
                  <a:gd name="T47" fmla="*/ 1 h 431"/>
                  <a:gd name="T48" fmla="*/ 873 w 925"/>
                  <a:gd name="T49" fmla="*/ 4 h 431"/>
                  <a:gd name="T50" fmla="*/ 863 w 925"/>
                  <a:gd name="T51" fmla="*/ 16 h 431"/>
                  <a:gd name="T52" fmla="*/ 855 w 925"/>
                  <a:gd name="T53" fmla="*/ 30 h 431"/>
                  <a:gd name="T54" fmla="*/ 852 w 925"/>
                  <a:gd name="T55" fmla="*/ 38 h 431"/>
                  <a:gd name="T56" fmla="*/ 850 w 925"/>
                  <a:gd name="T57" fmla="*/ 47 h 431"/>
                  <a:gd name="T58" fmla="*/ 844 w 925"/>
                  <a:gd name="T59" fmla="*/ 49 h 431"/>
                  <a:gd name="T60" fmla="*/ 837 w 925"/>
                  <a:gd name="T61" fmla="*/ 54 h 431"/>
                  <a:gd name="T62" fmla="*/ 842 w 925"/>
                  <a:gd name="T63" fmla="*/ 56 h 431"/>
                  <a:gd name="T64" fmla="*/ 838 w 925"/>
                  <a:gd name="T65" fmla="*/ 63 h 431"/>
                  <a:gd name="T66" fmla="*/ 837 w 925"/>
                  <a:gd name="T67" fmla="*/ 73 h 431"/>
                  <a:gd name="T68" fmla="*/ 849 w 925"/>
                  <a:gd name="T69" fmla="*/ 71 h 431"/>
                  <a:gd name="T70" fmla="*/ 862 w 925"/>
                  <a:gd name="T71" fmla="*/ 72 h 431"/>
                  <a:gd name="T72" fmla="*/ 873 w 925"/>
                  <a:gd name="T73" fmla="*/ 72 h 431"/>
                  <a:gd name="T74" fmla="*/ 881 w 925"/>
                  <a:gd name="T75" fmla="*/ 69 h 431"/>
                  <a:gd name="T76" fmla="*/ 887 w 925"/>
                  <a:gd name="T77" fmla="*/ 74 h 431"/>
                  <a:gd name="T78" fmla="*/ 896 w 925"/>
                  <a:gd name="T79" fmla="*/ 72 h 431"/>
                  <a:gd name="T80" fmla="*/ 883 w 925"/>
                  <a:gd name="T81" fmla="*/ 81 h 431"/>
                  <a:gd name="T82" fmla="*/ 888 w 925"/>
                  <a:gd name="T83" fmla="*/ 84 h 431"/>
                  <a:gd name="T84" fmla="*/ 898 w 925"/>
                  <a:gd name="T85" fmla="*/ 75 h 431"/>
                  <a:gd name="T86" fmla="*/ 904 w 925"/>
                  <a:gd name="T87" fmla="*/ 67 h 431"/>
                  <a:gd name="T88" fmla="*/ 905 w 925"/>
                  <a:gd name="T89" fmla="*/ 80 h 431"/>
                  <a:gd name="T90" fmla="*/ 827 w 925"/>
                  <a:gd name="T91" fmla="*/ 98 h 431"/>
                  <a:gd name="T92" fmla="*/ 813 w 925"/>
                  <a:gd name="T93" fmla="*/ 107 h 431"/>
                  <a:gd name="T94" fmla="*/ 804 w 925"/>
                  <a:gd name="T95" fmla="*/ 102 h 431"/>
                  <a:gd name="T96" fmla="*/ 810 w 925"/>
                  <a:gd name="T97" fmla="*/ 89 h 431"/>
                  <a:gd name="T98" fmla="*/ 819 w 925"/>
                  <a:gd name="T99" fmla="*/ 87 h 431"/>
                  <a:gd name="T100" fmla="*/ 815 w 925"/>
                  <a:gd name="T101" fmla="*/ 98 h 431"/>
                  <a:gd name="T102" fmla="*/ 808 w 925"/>
                  <a:gd name="T103" fmla="*/ 104 h 431"/>
                  <a:gd name="T104" fmla="*/ 816 w 925"/>
                  <a:gd name="T105" fmla="*/ 101 h 431"/>
                  <a:gd name="T106" fmla="*/ 816 w 925"/>
                  <a:gd name="T107" fmla="*/ 97 h 431"/>
                  <a:gd name="T108" fmla="*/ 2 w 925"/>
                  <a:gd name="T109" fmla="*/ 295 h 431"/>
                  <a:gd name="T110" fmla="*/ 164 w 925"/>
                  <a:gd name="T111" fmla="*/ 428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5" h="431">
                    <a:moveTo>
                      <a:pt x="904" y="85"/>
                    </a:moveTo>
                    <a:lnTo>
                      <a:pt x="905" y="85"/>
                    </a:lnTo>
                    <a:lnTo>
                      <a:pt x="907" y="84"/>
                    </a:lnTo>
                    <a:lnTo>
                      <a:pt x="910" y="82"/>
                    </a:lnTo>
                    <a:lnTo>
                      <a:pt x="913" y="80"/>
                    </a:lnTo>
                    <a:lnTo>
                      <a:pt x="913" y="83"/>
                    </a:lnTo>
                    <a:lnTo>
                      <a:pt x="912" y="85"/>
                    </a:lnTo>
                    <a:lnTo>
                      <a:pt x="914" y="89"/>
                    </a:lnTo>
                    <a:lnTo>
                      <a:pt x="916" y="87"/>
                    </a:lnTo>
                    <a:lnTo>
                      <a:pt x="918" y="87"/>
                    </a:lnTo>
                    <a:lnTo>
                      <a:pt x="921" y="85"/>
                    </a:lnTo>
                    <a:lnTo>
                      <a:pt x="922" y="83"/>
                    </a:lnTo>
                    <a:lnTo>
                      <a:pt x="922" y="80"/>
                    </a:lnTo>
                    <a:lnTo>
                      <a:pt x="923" y="77"/>
                    </a:lnTo>
                    <a:lnTo>
                      <a:pt x="923" y="77"/>
                    </a:lnTo>
                    <a:lnTo>
                      <a:pt x="924" y="75"/>
                    </a:lnTo>
                    <a:lnTo>
                      <a:pt x="925" y="72"/>
                    </a:lnTo>
                    <a:lnTo>
                      <a:pt x="923" y="69"/>
                    </a:lnTo>
                    <a:lnTo>
                      <a:pt x="922" y="72"/>
                    </a:lnTo>
                    <a:lnTo>
                      <a:pt x="918" y="74"/>
                    </a:lnTo>
                    <a:lnTo>
                      <a:pt x="916" y="73"/>
                    </a:lnTo>
                    <a:lnTo>
                      <a:pt x="917" y="71"/>
                    </a:lnTo>
                    <a:lnTo>
                      <a:pt x="918" y="67"/>
                    </a:lnTo>
                    <a:lnTo>
                      <a:pt x="921" y="65"/>
                    </a:lnTo>
                    <a:lnTo>
                      <a:pt x="921" y="63"/>
                    </a:lnTo>
                    <a:lnTo>
                      <a:pt x="918" y="64"/>
                    </a:lnTo>
                    <a:lnTo>
                      <a:pt x="916" y="65"/>
                    </a:lnTo>
                    <a:lnTo>
                      <a:pt x="914" y="68"/>
                    </a:lnTo>
                    <a:lnTo>
                      <a:pt x="914" y="71"/>
                    </a:lnTo>
                    <a:lnTo>
                      <a:pt x="910" y="73"/>
                    </a:lnTo>
                    <a:lnTo>
                      <a:pt x="910" y="73"/>
                    </a:lnTo>
                    <a:lnTo>
                      <a:pt x="908" y="71"/>
                    </a:lnTo>
                    <a:lnTo>
                      <a:pt x="907" y="67"/>
                    </a:lnTo>
                    <a:lnTo>
                      <a:pt x="909" y="67"/>
                    </a:lnTo>
                    <a:lnTo>
                      <a:pt x="910" y="65"/>
                    </a:lnTo>
                    <a:lnTo>
                      <a:pt x="908" y="65"/>
                    </a:lnTo>
                    <a:lnTo>
                      <a:pt x="910" y="64"/>
                    </a:lnTo>
                    <a:lnTo>
                      <a:pt x="909" y="61"/>
                    </a:lnTo>
                    <a:lnTo>
                      <a:pt x="912" y="61"/>
                    </a:lnTo>
                    <a:lnTo>
                      <a:pt x="915" y="59"/>
                    </a:lnTo>
                    <a:lnTo>
                      <a:pt x="917" y="58"/>
                    </a:lnTo>
                    <a:lnTo>
                      <a:pt x="920" y="56"/>
                    </a:lnTo>
                    <a:lnTo>
                      <a:pt x="918" y="54"/>
                    </a:lnTo>
                    <a:lnTo>
                      <a:pt x="916" y="56"/>
                    </a:lnTo>
                    <a:lnTo>
                      <a:pt x="914" y="55"/>
                    </a:lnTo>
                    <a:lnTo>
                      <a:pt x="913" y="57"/>
                    </a:lnTo>
                    <a:lnTo>
                      <a:pt x="909" y="56"/>
                    </a:lnTo>
                    <a:lnTo>
                      <a:pt x="907" y="57"/>
                    </a:lnTo>
                    <a:lnTo>
                      <a:pt x="905" y="59"/>
                    </a:lnTo>
                    <a:lnTo>
                      <a:pt x="905" y="58"/>
                    </a:lnTo>
                    <a:lnTo>
                      <a:pt x="907" y="57"/>
                    </a:lnTo>
                    <a:lnTo>
                      <a:pt x="909" y="55"/>
                    </a:lnTo>
                    <a:lnTo>
                      <a:pt x="907" y="55"/>
                    </a:lnTo>
                    <a:lnTo>
                      <a:pt x="909" y="52"/>
                    </a:lnTo>
                    <a:lnTo>
                      <a:pt x="907" y="54"/>
                    </a:lnTo>
                    <a:lnTo>
                      <a:pt x="907" y="54"/>
                    </a:lnTo>
                    <a:lnTo>
                      <a:pt x="907" y="50"/>
                    </a:lnTo>
                    <a:lnTo>
                      <a:pt x="905" y="50"/>
                    </a:lnTo>
                    <a:lnTo>
                      <a:pt x="907" y="50"/>
                    </a:lnTo>
                    <a:lnTo>
                      <a:pt x="909" y="47"/>
                    </a:lnTo>
                    <a:lnTo>
                      <a:pt x="912" y="46"/>
                    </a:lnTo>
                    <a:lnTo>
                      <a:pt x="914" y="43"/>
                    </a:lnTo>
                    <a:lnTo>
                      <a:pt x="912" y="41"/>
                    </a:lnTo>
                    <a:lnTo>
                      <a:pt x="909" y="40"/>
                    </a:lnTo>
                    <a:lnTo>
                      <a:pt x="906" y="40"/>
                    </a:lnTo>
                    <a:lnTo>
                      <a:pt x="904" y="41"/>
                    </a:lnTo>
                    <a:lnTo>
                      <a:pt x="901" y="40"/>
                    </a:lnTo>
                    <a:lnTo>
                      <a:pt x="899" y="42"/>
                    </a:lnTo>
                    <a:lnTo>
                      <a:pt x="899" y="40"/>
                    </a:lnTo>
                    <a:lnTo>
                      <a:pt x="900" y="38"/>
                    </a:lnTo>
                    <a:lnTo>
                      <a:pt x="897" y="40"/>
                    </a:lnTo>
                    <a:lnTo>
                      <a:pt x="895" y="40"/>
                    </a:lnTo>
                    <a:lnTo>
                      <a:pt x="892" y="43"/>
                    </a:lnTo>
                    <a:lnTo>
                      <a:pt x="891" y="42"/>
                    </a:lnTo>
                    <a:lnTo>
                      <a:pt x="890" y="46"/>
                    </a:lnTo>
                    <a:lnTo>
                      <a:pt x="888" y="47"/>
                    </a:lnTo>
                    <a:lnTo>
                      <a:pt x="888" y="44"/>
                    </a:lnTo>
                    <a:lnTo>
                      <a:pt x="889" y="41"/>
                    </a:lnTo>
                    <a:lnTo>
                      <a:pt x="889" y="39"/>
                    </a:lnTo>
                    <a:lnTo>
                      <a:pt x="888" y="41"/>
                    </a:lnTo>
                    <a:lnTo>
                      <a:pt x="888" y="39"/>
                    </a:lnTo>
                    <a:lnTo>
                      <a:pt x="884" y="41"/>
                    </a:lnTo>
                    <a:lnTo>
                      <a:pt x="886" y="39"/>
                    </a:lnTo>
                    <a:lnTo>
                      <a:pt x="882" y="39"/>
                    </a:lnTo>
                    <a:lnTo>
                      <a:pt x="880" y="39"/>
                    </a:lnTo>
                    <a:lnTo>
                      <a:pt x="878" y="40"/>
                    </a:lnTo>
                    <a:lnTo>
                      <a:pt x="880" y="38"/>
                    </a:lnTo>
                    <a:lnTo>
                      <a:pt x="881" y="35"/>
                    </a:lnTo>
                    <a:lnTo>
                      <a:pt x="879" y="35"/>
                    </a:lnTo>
                    <a:lnTo>
                      <a:pt x="881" y="33"/>
                    </a:lnTo>
                    <a:lnTo>
                      <a:pt x="883" y="32"/>
                    </a:lnTo>
                    <a:lnTo>
                      <a:pt x="886" y="30"/>
                    </a:lnTo>
                    <a:lnTo>
                      <a:pt x="886" y="30"/>
                    </a:lnTo>
                    <a:lnTo>
                      <a:pt x="883" y="30"/>
                    </a:lnTo>
                    <a:lnTo>
                      <a:pt x="881" y="30"/>
                    </a:lnTo>
                    <a:lnTo>
                      <a:pt x="878" y="30"/>
                    </a:lnTo>
                    <a:lnTo>
                      <a:pt x="876" y="27"/>
                    </a:lnTo>
                    <a:lnTo>
                      <a:pt x="874" y="30"/>
                    </a:lnTo>
                    <a:lnTo>
                      <a:pt x="874" y="30"/>
                    </a:lnTo>
                    <a:lnTo>
                      <a:pt x="871" y="32"/>
                    </a:lnTo>
                    <a:lnTo>
                      <a:pt x="869" y="35"/>
                    </a:lnTo>
                    <a:lnTo>
                      <a:pt x="867" y="38"/>
                    </a:lnTo>
                    <a:lnTo>
                      <a:pt x="869" y="35"/>
                    </a:lnTo>
                    <a:lnTo>
                      <a:pt x="869" y="32"/>
                    </a:lnTo>
                    <a:lnTo>
                      <a:pt x="869" y="30"/>
                    </a:lnTo>
                    <a:lnTo>
                      <a:pt x="870" y="27"/>
                    </a:lnTo>
                    <a:lnTo>
                      <a:pt x="872" y="25"/>
                    </a:lnTo>
                    <a:lnTo>
                      <a:pt x="872" y="23"/>
                    </a:lnTo>
                    <a:lnTo>
                      <a:pt x="875" y="21"/>
                    </a:lnTo>
                    <a:lnTo>
                      <a:pt x="876" y="18"/>
                    </a:lnTo>
                    <a:lnTo>
                      <a:pt x="879" y="15"/>
                    </a:lnTo>
                    <a:lnTo>
                      <a:pt x="881" y="13"/>
                    </a:lnTo>
                    <a:lnTo>
                      <a:pt x="882" y="10"/>
                    </a:lnTo>
                    <a:lnTo>
                      <a:pt x="881" y="7"/>
                    </a:lnTo>
                    <a:lnTo>
                      <a:pt x="879" y="7"/>
                    </a:lnTo>
                    <a:lnTo>
                      <a:pt x="878" y="5"/>
                    </a:lnTo>
                    <a:lnTo>
                      <a:pt x="881" y="6"/>
                    </a:lnTo>
                    <a:lnTo>
                      <a:pt x="883" y="6"/>
                    </a:lnTo>
                    <a:lnTo>
                      <a:pt x="887" y="4"/>
                    </a:lnTo>
                    <a:lnTo>
                      <a:pt x="887" y="1"/>
                    </a:lnTo>
                    <a:lnTo>
                      <a:pt x="883" y="3"/>
                    </a:lnTo>
                    <a:lnTo>
                      <a:pt x="881" y="0"/>
                    </a:lnTo>
                    <a:lnTo>
                      <a:pt x="878" y="1"/>
                    </a:lnTo>
                    <a:lnTo>
                      <a:pt x="875" y="3"/>
                    </a:lnTo>
                    <a:lnTo>
                      <a:pt x="873" y="4"/>
                    </a:lnTo>
                    <a:lnTo>
                      <a:pt x="870" y="5"/>
                    </a:lnTo>
                    <a:lnTo>
                      <a:pt x="869" y="8"/>
                    </a:lnTo>
                    <a:lnTo>
                      <a:pt x="866" y="10"/>
                    </a:lnTo>
                    <a:lnTo>
                      <a:pt x="865" y="14"/>
                    </a:lnTo>
                    <a:lnTo>
                      <a:pt x="863" y="16"/>
                    </a:lnTo>
                    <a:lnTo>
                      <a:pt x="861" y="18"/>
                    </a:lnTo>
                    <a:lnTo>
                      <a:pt x="858" y="22"/>
                    </a:lnTo>
                    <a:lnTo>
                      <a:pt x="857" y="24"/>
                    </a:lnTo>
                    <a:lnTo>
                      <a:pt x="856" y="27"/>
                    </a:lnTo>
                    <a:lnTo>
                      <a:pt x="855" y="30"/>
                    </a:lnTo>
                    <a:lnTo>
                      <a:pt x="855" y="31"/>
                    </a:lnTo>
                    <a:lnTo>
                      <a:pt x="853" y="33"/>
                    </a:lnTo>
                    <a:lnTo>
                      <a:pt x="853" y="37"/>
                    </a:lnTo>
                    <a:lnTo>
                      <a:pt x="855" y="39"/>
                    </a:lnTo>
                    <a:lnTo>
                      <a:pt x="852" y="38"/>
                    </a:lnTo>
                    <a:lnTo>
                      <a:pt x="849" y="40"/>
                    </a:lnTo>
                    <a:lnTo>
                      <a:pt x="848" y="42"/>
                    </a:lnTo>
                    <a:lnTo>
                      <a:pt x="850" y="44"/>
                    </a:lnTo>
                    <a:lnTo>
                      <a:pt x="853" y="44"/>
                    </a:lnTo>
                    <a:lnTo>
                      <a:pt x="850" y="47"/>
                    </a:lnTo>
                    <a:lnTo>
                      <a:pt x="853" y="48"/>
                    </a:lnTo>
                    <a:lnTo>
                      <a:pt x="850" y="48"/>
                    </a:lnTo>
                    <a:lnTo>
                      <a:pt x="848" y="46"/>
                    </a:lnTo>
                    <a:lnTo>
                      <a:pt x="845" y="47"/>
                    </a:lnTo>
                    <a:lnTo>
                      <a:pt x="844" y="49"/>
                    </a:lnTo>
                    <a:lnTo>
                      <a:pt x="842" y="52"/>
                    </a:lnTo>
                    <a:lnTo>
                      <a:pt x="841" y="55"/>
                    </a:lnTo>
                    <a:lnTo>
                      <a:pt x="839" y="55"/>
                    </a:lnTo>
                    <a:lnTo>
                      <a:pt x="839" y="52"/>
                    </a:lnTo>
                    <a:lnTo>
                      <a:pt x="837" y="54"/>
                    </a:lnTo>
                    <a:lnTo>
                      <a:pt x="835" y="57"/>
                    </a:lnTo>
                    <a:lnTo>
                      <a:pt x="837" y="56"/>
                    </a:lnTo>
                    <a:lnTo>
                      <a:pt x="840" y="56"/>
                    </a:lnTo>
                    <a:lnTo>
                      <a:pt x="842" y="56"/>
                    </a:lnTo>
                    <a:lnTo>
                      <a:pt x="842" y="56"/>
                    </a:lnTo>
                    <a:lnTo>
                      <a:pt x="846" y="56"/>
                    </a:lnTo>
                    <a:lnTo>
                      <a:pt x="846" y="57"/>
                    </a:lnTo>
                    <a:lnTo>
                      <a:pt x="844" y="58"/>
                    </a:lnTo>
                    <a:lnTo>
                      <a:pt x="840" y="60"/>
                    </a:lnTo>
                    <a:lnTo>
                      <a:pt x="838" y="63"/>
                    </a:lnTo>
                    <a:lnTo>
                      <a:pt x="835" y="65"/>
                    </a:lnTo>
                    <a:lnTo>
                      <a:pt x="832" y="67"/>
                    </a:lnTo>
                    <a:lnTo>
                      <a:pt x="833" y="69"/>
                    </a:lnTo>
                    <a:lnTo>
                      <a:pt x="835" y="73"/>
                    </a:lnTo>
                    <a:lnTo>
                      <a:pt x="837" y="73"/>
                    </a:lnTo>
                    <a:lnTo>
                      <a:pt x="840" y="72"/>
                    </a:lnTo>
                    <a:lnTo>
                      <a:pt x="842" y="72"/>
                    </a:lnTo>
                    <a:lnTo>
                      <a:pt x="846" y="72"/>
                    </a:lnTo>
                    <a:lnTo>
                      <a:pt x="847" y="71"/>
                    </a:lnTo>
                    <a:lnTo>
                      <a:pt x="849" y="71"/>
                    </a:lnTo>
                    <a:lnTo>
                      <a:pt x="853" y="71"/>
                    </a:lnTo>
                    <a:lnTo>
                      <a:pt x="855" y="71"/>
                    </a:lnTo>
                    <a:lnTo>
                      <a:pt x="858" y="72"/>
                    </a:lnTo>
                    <a:lnTo>
                      <a:pt x="861" y="72"/>
                    </a:lnTo>
                    <a:lnTo>
                      <a:pt x="862" y="72"/>
                    </a:lnTo>
                    <a:lnTo>
                      <a:pt x="864" y="73"/>
                    </a:lnTo>
                    <a:lnTo>
                      <a:pt x="867" y="73"/>
                    </a:lnTo>
                    <a:lnTo>
                      <a:pt x="870" y="73"/>
                    </a:lnTo>
                    <a:lnTo>
                      <a:pt x="870" y="72"/>
                    </a:lnTo>
                    <a:lnTo>
                      <a:pt x="873" y="72"/>
                    </a:lnTo>
                    <a:lnTo>
                      <a:pt x="875" y="72"/>
                    </a:lnTo>
                    <a:lnTo>
                      <a:pt x="878" y="68"/>
                    </a:lnTo>
                    <a:lnTo>
                      <a:pt x="880" y="69"/>
                    </a:lnTo>
                    <a:lnTo>
                      <a:pt x="882" y="66"/>
                    </a:lnTo>
                    <a:lnTo>
                      <a:pt x="881" y="69"/>
                    </a:lnTo>
                    <a:lnTo>
                      <a:pt x="881" y="72"/>
                    </a:lnTo>
                    <a:lnTo>
                      <a:pt x="879" y="74"/>
                    </a:lnTo>
                    <a:lnTo>
                      <a:pt x="882" y="74"/>
                    </a:lnTo>
                    <a:lnTo>
                      <a:pt x="884" y="75"/>
                    </a:lnTo>
                    <a:lnTo>
                      <a:pt x="887" y="74"/>
                    </a:lnTo>
                    <a:lnTo>
                      <a:pt x="888" y="71"/>
                    </a:lnTo>
                    <a:lnTo>
                      <a:pt x="891" y="72"/>
                    </a:lnTo>
                    <a:lnTo>
                      <a:pt x="893" y="69"/>
                    </a:lnTo>
                    <a:lnTo>
                      <a:pt x="892" y="72"/>
                    </a:lnTo>
                    <a:lnTo>
                      <a:pt x="896" y="72"/>
                    </a:lnTo>
                    <a:lnTo>
                      <a:pt x="892" y="74"/>
                    </a:lnTo>
                    <a:lnTo>
                      <a:pt x="890" y="75"/>
                    </a:lnTo>
                    <a:lnTo>
                      <a:pt x="889" y="77"/>
                    </a:lnTo>
                    <a:lnTo>
                      <a:pt x="886" y="80"/>
                    </a:lnTo>
                    <a:lnTo>
                      <a:pt x="883" y="81"/>
                    </a:lnTo>
                    <a:lnTo>
                      <a:pt x="881" y="81"/>
                    </a:lnTo>
                    <a:lnTo>
                      <a:pt x="879" y="84"/>
                    </a:lnTo>
                    <a:lnTo>
                      <a:pt x="882" y="84"/>
                    </a:lnTo>
                    <a:lnTo>
                      <a:pt x="884" y="84"/>
                    </a:lnTo>
                    <a:lnTo>
                      <a:pt x="888" y="84"/>
                    </a:lnTo>
                    <a:lnTo>
                      <a:pt x="889" y="84"/>
                    </a:lnTo>
                    <a:lnTo>
                      <a:pt x="891" y="81"/>
                    </a:lnTo>
                    <a:lnTo>
                      <a:pt x="892" y="78"/>
                    </a:lnTo>
                    <a:lnTo>
                      <a:pt x="895" y="76"/>
                    </a:lnTo>
                    <a:lnTo>
                      <a:pt x="898" y="75"/>
                    </a:lnTo>
                    <a:lnTo>
                      <a:pt x="900" y="73"/>
                    </a:lnTo>
                    <a:lnTo>
                      <a:pt x="899" y="75"/>
                    </a:lnTo>
                    <a:lnTo>
                      <a:pt x="900" y="73"/>
                    </a:lnTo>
                    <a:lnTo>
                      <a:pt x="903" y="71"/>
                    </a:lnTo>
                    <a:lnTo>
                      <a:pt x="904" y="67"/>
                    </a:lnTo>
                    <a:lnTo>
                      <a:pt x="907" y="69"/>
                    </a:lnTo>
                    <a:lnTo>
                      <a:pt x="908" y="72"/>
                    </a:lnTo>
                    <a:lnTo>
                      <a:pt x="907" y="75"/>
                    </a:lnTo>
                    <a:lnTo>
                      <a:pt x="906" y="77"/>
                    </a:lnTo>
                    <a:lnTo>
                      <a:pt x="905" y="80"/>
                    </a:lnTo>
                    <a:lnTo>
                      <a:pt x="904" y="83"/>
                    </a:lnTo>
                    <a:lnTo>
                      <a:pt x="904" y="85"/>
                    </a:lnTo>
                    <a:lnTo>
                      <a:pt x="904" y="85"/>
                    </a:lnTo>
                    <a:close/>
                    <a:moveTo>
                      <a:pt x="824" y="97"/>
                    </a:moveTo>
                    <a:lnTo>
                      <a:pt x="827" y="98"/>
                    </a:lnTo>
                    <a:lnTo>
                      <a:pt x="827" y="101"/>
                    </a:lnTo>
                    <a:lnTo>
                      <a:pt x="824" y="101"/>
                    </a:lnTo>
                    <a:lnTo>
                      <a:pt x="822" y="103"/>
                    </a:lnTo>
                    <a:lnTo>
                      <a:pt x="819" y="106"/>
                    </a:lnTo>
                    <a:lnTo>
                      <a:pt x="813" y="107"/>
                    </a:lnTo>
                    <a:lnTo>
                      <a:pt x="811" y="106"/>
                    </a:lnTo>
                    <a:lnTo>
                      <a:pt x="808" y="107"/>
                    </a:lnTo>
                    <a:lnTo>
                      <a:pt x="805" y="107"/>
                    </a:lnTo>
                    <a:lnTo>
                      <a:pt x="804" y="104"/>
                    </a:lnTo>
                    <a:lnTo>
                      <a:pt x="804" y="102"/>
                    </a:lnTo>
                    <a:lnTo>
                      <a:pt x="803" y="99"/>
                    </a:lnTo>
                    <a:lnTo>
                      <a:pt x="805" y="97"/>
                    </a:lnTo>
                    <a:lnTo>
                      <a:pt x="807" y="94"/>
                    </a:lnTo>
                    <a:lnTo>
                      <a:pt x="810" y="92"/>
                    </a:lnTo>
                    <a:lnTo>
                      <a:pt x="810" y="89"/>
                    </a:lnTo>
                    <a:lnTo>
                      <a:pt x="812" y="86"/>
                    </a:lnTo>
                    <a:lnTo>
                      <a:pt x="814" y="84"/>
                    </a:lnTo>
                    <a:lnTo>
                      <a:pt x="818" y="84"/>
                    </a:lnTo>
                    <a:lnTo>
                      <a:pt x="820" y="85"/>
                    </a:lnTo>
                    <a:lnTo>
                      <a:pt x="819" y="87"/>
                    </a:lnTo>
                    <a:lnTo>
                      <a:pt x="819" y="91"/>
                    </a:lnTo>
                    <a:lnTo>
                      <a:pt x="818" y="93"/>
                    </a:lnTo>
                    <a:lnTo>
                      <a:pt x="815" y="97"/>
                    </a:lnTo>
                    <a:lnTo>
                      <a:pt x="819" y="94"/>
                    </a:lnTo>
                    <a:lnTo>
                      <a:pt x="815" y="98"/>
                    </a:lnTo>
                    <a:lnTo>
                      <a:pt x="813" y="99"/>
                    </a:lnTo>
                    <a:lnTo>
                      <a:pt x="811" y="101"/>
                    </a:lnTo>
                    <a:lnTo>
                      <a:pt x="813" y="101"/>
                    </a:lnTo>
                    <a:lnTo>
                      <a:pt x="811" y="102"/>
                    </a:lnTo>
                    <a:lnTo>
                      <a:pt x="808" y="104"/>
                    </a:lnTo>
                    <a:lnTo>
                      <a:pt x="811" y="103"/>
                    </a:lnTo>
                    <a:lnTo>
                      <a:pt x="814" y="104"/>
                    </a:lnTo>
                    <a:lnTo>
                      <a:pt x="816" y="101"/>
                    </a:lnTo>
                    <a:lnTo>
                      <a:pt x="819" y="100"/>
                    </a:lnTo>
                    <a:lnTo>
                      <a:pt x="816" y="101"/>
                    </a:lnTo>
                    <a:lnTo>
                      <a:pt x="813" y="101"/>
                    </a:lnTo>
                    <a:lnTo>
                      <a:pt x="813" y="100"/>
                    </a:lnTo>
                    <a:lnTo>
                      <a:pt x="816" y="99"/>
                    </a:lnTo>
                    <a:lnTo>
                      <a:pt x="819" y="95"/>
                    </a:lnTo>
                    <a:lnTo>
                      <a:pt x="816" y="97"/>
                    </a:lnTo>
                    <a:lnTo>
                      <a:pt x="819" y="94"/>
                    </a:lnTo>
                    <a:lnTo>
                      <a:pt x="821" y="97"/>
                    </a:lnTo>
                    <a:lnTo>
                      <a:pt x="824" y="97"/>
                    </a:lnTo>
                    <a:lnTo>
                      <a:pt x="824" y="97"/>
                    </a:lnTo>
                    <a:close/>
                    <a:moveTo>
                      <a:pt x="2" y="295"/>
                    </a:moveTo>
                    <a:lnTo>
                      <a:pt x="2" y="294"/>
                    </a:lnTo>
                    <a:lnTo>
                      <a:pt x="0" y="294"/>
                    </a:lnTo>
                    <a:lnTo>
                      <a:pt x="2" y="295"/>
                    </a:lnTo>
                    <a:lnTo>
                      <a:pt x="2" y="295"/>
                    </a:lnTo>
                    <a:close/>
                    <a:moveTo>
                      <a:pt x="164" y="428"/>
                    </a:moveTo>
                    <a:lnTo>
                      <a:pt x="165" y="431"/>
                    </a:lnTo>
                    <a:lnTo>
                      <a:pt x="164" y="428"/>
                    </a:lnTo>
                    <a:lnTo>
                      <a:pt x="164" y="428"/>
                    </a:lnTo>
                    <a:lnTo>
                      <a:pt x="164"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33" name="Freeform 229">
                <a:extLst>
                  <a:ext uri="{FF2B5EF4-FFF2-40B4-BE49-F238E27FC236}">
                    <a16:creationId xmlns:a16="http://schemas.microsoft.com/office/drawing/2014/main" id="{E8AF13D8-848E-FD11-5622-AC3BF4C4503A}"/>
                  </a:ext>
                </a:extLst>
              </p:cNvPr>
              <p:cNvSpPr>
                <a:spLocks noEditPoints="1"/>
              </p:cNvSpPr>
              <p:nvPr/>
            </p:nvSpPr>
            <p:spPr bwMode="auto">
              <a:xfrm>
                <a:off x="3059113" y="3241675"/>
                <a:ext cx="898525" cy="166688"/>
              </a:xfrm>
              <a:custGeom>
                <a:avLst/>
                <a:gdLst>
                  <a:gd name="T0" fmla="*/ 44 w 566"/>
                  <a:gd name="T1" fmla="*/ 17 h 105"/>
                  <a:gd name="T2" fmla="*/ 47 w 566"/>
                  <a:gd name="T3" fmla="*/ 23 h 105"/>
                  <a:gd name="T4" fmla="*/ 53 w 566"/>
                  <a:gd name="T5" fmla="*/ 27 h 105"/>
                  <a:gd name="T6" fmla="*/ 57 w 566"/>
                  <a:gd name="T7" fmla="*/ 29 h 105"/>
                  <a:gd name="T8" fmla="*/ 62 w 566"/>
                  <a:gd name="T9" fmla="*/ 34 h 105"/>
                  <a:gd name="T10" fmla="*/ 65 w 566"/>
                  <a:gd name="T11" fmla="*/ 38 h 105"/>
                  <a:gd name="T12" fmla="*/ 68 w 566"/>
                  <a:gd name="T13" fmla="*/ 44 h 105"/>
                  <a:gd name="T14" fmla="*/ 63 w 566"/>
                  <a:gd name="T15" fmla="*/ 44 h 105"/>
                  <a:gd name="T16" fmla="*/ 57 w 566"/>
                  <a:gd name="T17" fmla="*/ 43 h 105"/>
                  <a:gd name="T18" fmla="*/ 52 w 566"/>
                  <a:gd name="T19" fmla="*/ 41 h 105"/>
                  <a:gd name="T20" fmla="*/ 46 w 566"/>
                  <a:gd name="T21" fmla="*/ 38 h 105"/>
                  <a:gd name="T22" fmla="*/ 46 w 566"/>
                  <a:gd name="T23" fmla="*/ 34 h 105"/>
                  <a:gd name="T24" fmla="*/ 46 w 566"/>
                  <a:gd name="T25" fmla="*/ 34 h 105"/>
                  <a:gd name="T26" fmla="*/ 40 w 566"/>
                  <a:gd name="T27" fmla="*/ 35 h 105"/>
                  <a:gd name="T28" fmla="*/ 35 w 566"/>
                  <a:gd name="T29" fmla="*/ 33 h 105"/>
                  <a:gd name="T30" fmla="*/ 35 w 566"/>
                  <a:gd name="T31" fmla="*/ 27 h 105"/>
                  <a:gd name="T32" fmla="*/ 30 w 566"/>
                  <a:gd name="T33" fmla="*/ 26 h 105"/>
                  <a:gd name="T34" fmla="*/ 25 w 566"/>
                  <a:gd name="T35" fmla="*/ 25 h 105"/>
                  <a:gd name="T36" fmla="*/ 28 w 566"/>
                  <a:gd name="T37" fmla="*/ 21 h 105"/>
                  <a:gd name="T38" fmla="*/ 29 w 566"/>
                  <a:gd name="T39" fmla="*/ 21 h 105"/>
                  <a:gd name="T40" fmla="*/ 23 w 566"/>
                  <a:gd name="T41" fmla="*/ 20 h 105"/>
                  <a:gd name="T42" fmla="*/ 19 w 566"/>
                  <a:gd name="T43" fmla="*/ 18 h 105"/>
                  <a:gd name="T44" fmla="*/ 13 w 566"/>
                  <a:gd name="T45" fmla="*/ 15 h 105"/>
                  <a:gd name="T46" fmla="*/ 10 w 566"/>
                  <a:gd name="T47" fmla="*/ 13 h 105"/>
                  <a:gd name="T48" fmla="*/ 9 w 566"/>
                  <a:gd name="T49" fmla="*/ 11 h 105"/>
                  <a:gd name="T50" fmla="*/ 6 w 566"/>
                  <a:gd name="T51" fmla="*/ 7 h 105"/>
                  <a:gd name="T52" fmla="*/ 12 w 566"/>
                  <a:gd name="T53" fmla="*/ 9 h 105"/>
                  <a:gd name="T54" fmla="*/ 8 w 566"/>
                  <a:gd name="T55" fmla="*/ 4 h 105"/>
                  <a:gd name="T56" fmla="*/ 3 w 566"/>
                  <a:gd name="T57" fmla="*/ 7 h 105"/>
                  <a:gd name="T58" fmla="*/ 0 w 566"/>
                  <a:gd name="T59" fmla="*/ 1 h 105"/>
                  <a:gd name="T60" fmla="*/ 5 w 566"/>
                  <a:gd name="T61" fmla="*/ 0 h 105"/>
                  <a:gd name="T62" fmla="*/ 11 w 566"/>
                  <a:gd name="T63" fmla="*/ 1 h 105"/>
                  <a:gd name="T64" fmla="*/ 15 w 566"/>
                  <a:gd name="T65" fmla="*/ 4 h 105"/>
                  <a:gd name="T66" fmla="*/ 21 w 566"/>
                  <a:gd name="T67" fmla="*/ 6 h 105"/>
                  <a:gd name="T68" fmla="*/ 27 w 566"/>
                  <a:gd name="T69" fmla="*/ 7 h 105"/>
                  <a:gd name="T70" fmla="*/ 32 w 566"/>
                  <a:gd name="T71" fmla="*/ 9 h 105"/>
                  <a:gd name="T72" fmla="*/ 36 w 566"/>
                  <a:gd name="T73" fmla="*/ 9 h 105"/>
                  <a:gd name="T74" fmla="*/ 40 w 566"/>
                  <a:gd name="T75" fmla="*/ 12 h 105"/>
                  <a:gd name="T76" fmla="*/ 43 w 566"/>
                  <a:gd name="T77" fmla="*/ 16 h 105"/>
                  <a:gd name="T78" fmla="*/ 561 w 566"/>
                  <a:gd name="T79" fmla="*/ 103 h 105"/>
                  <a:gd name="T80" fmla="*/ 564 w 566"/>
                  <a:gd name="T81" fmla="*/ 103 h 105"/>
                  <a:gd name="T82" fmla="*/ 566 w 566"/>
                  <a:gd name="T83" fmla="*/ 97 h 105"/>
                  <a:gd name="T84" fmla="*/ 561 w 566"/>
                  <a:gd name="T85" fmla="*/ 10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6" h="105">
                    <a:moveTo>
                      <a:pt x="43" y="16"/>
                    </a:moveTo>
                    <a:lnTo>
                      <a:pt x="44" y="17"/>
                    </a:lnTo>
                    <a:lnTo>
                      <a:pt x="46" y="19"/>
                    </a:lnTo>
                    <a:lnTo>
                      <a:pt x="47" y="23"/>
                    </a:lnTo>
                    <a:lnTo>
                      <a:pt x="49" y="25"/>
                    </a:lnTo>
                    <a:lnTo>
                      <a:pt x="53" y="27"/>
                    </a:lnTo>
                    <a:lnTo>
                      <a:pt x="55" y="27"/>
                    </a:lnTo>
                    <a:lnTo>
                      <a:pt x="57" y="29"/>
                    </a:lnTo>
                    <a:lnTo>
                      <a:pt x="61" y="30"/>
                    </a:lnTo>
                    <a:lnTo>
                      <a:pt x="62" y="34"/>
                    </a:lnTo>
                    <a:lnTo>
                      <a:pt x="64" y="36"/>
                    </a:lnTo>
                    <a:lnTo>
                      <a:pt x="65" y="38"/>
                    </a:lnTo>
                    <a:lnTo>
                      <a:pt x="69" y="41"/>
                    </a:lnTo>
                    <a:lnTo>
                      <a:pt x="68" y="44"/>
                    </a:lnTo>
                    <a:lnTo>
                      <a:pt x="65" y="45"/>
                    </a:lnTo>
                    <a:lnTo>
                      <a:pt x="63" y="44"/>
                    </a:lnTo>
                    <a:lnTo>
                      <a:pt x="60" y="44"/>
                    </a:lnTo>
                    <a:lnTo>
                      <a:pt x="57" y="43"/>
                    </a:lnTo>
                    <a:lnTo>
                      <a:pt x="54" y="42"/>
                    </a:lnTo>
                    <a:lnTo>
                      <a:pt x="52" y="41"/>
                    </a:lnTo>
                    <a:lnTo>
                      <a:pt x="49" y="41"/>
                    </a:lnTo>
                    <a:lnTo>
                      <a:pt x="46" y="38"/>
                    </a:lnTo>
                    <a:lnTo>
                      <a:pt x="44" y="36"/>
                    </a:lnTo>
                    <a:lnTo>
                      <a:pt x="46" y="34"/>
                    </a:lnTo>
                    <a:lnTo>
                      <a:pt x="48" y="32"/>
                    </a:lnTo>
                    <a:lnTo>
                      <a:pt x="46" y="34"/>
                    </a:lnTo>
                    <a:lnTo>
                      <a:pt x="43" y="34"/>
                    </a:lnTo>
                    <a:lnTo>
                      <a:pt x="40" y="35"/>
                    </a:lnTo>
                    <a:lnTo>
                      <a:pt x="37" y="34"/>
                    </a:lnTo>
                    <a:lnTo>
                      <a:pt x="35" y="33"/>
                    </a:lnTo>
                    <a:lnTo>
                      <a:pt x="36" y="29"/>
                    </a:lnTo>
                    <a:lnTo>
                      <a:pt x="35" y="27"/>
                    </a:lnTo>
                    <a:lnTo>
                      <a:pt x="32" y="27"/>
                    </a:lnTo>
                    <a:lnTo>
                      <a:pt x="30" y="26"/>
                    </a:lnTo>
                    <a:lnTo>
                      <a:pt x="27" y="26"/>
                    </a:lnTo>
                    <a:lnTo>
                      <a:pt x="25" y="25"/>
                    </a:lnTo>
                    <a:lnTo>
                      <a:pt x="26" y="23"/>
                    </a:lnTo>
                    <a:lnTo>
                      <a:pt x="28" y="21"/>
                    </a:lnTo>
                    <a:lnTo>
                      <a:pt x="30" y="21"/>
                    </a:lnTo>
                    <a:lnTo>
                      <a:pt x="29" y="21"/>
                    </a:lnTo>
                    <a:lnTo>
                      <a:pt x="27" y="19"/>
                    </a:lnTo>
                    <a:lnTo>
                      <a:pt x="23" y="20"/>
                    </a:lnTo>
                    <a:lnTo>
                      <a:pt x="21" y="17"/>
                    </a:lnTo>
                    <a:lnTo>
                      <a:pt x="19" y="18"/>
                    </a:lnTo>
                    <a:lnTo>
                      <a:pt x="15" y="16"/>
                    </a:lnTo>
                    <a:lnTo>
                      <a:pt x="13" y="15"/>
                    </a:lnTo>
                    <a:lnTo>
                      <a:pt x="12" y="12"/>
                    </a:lnTo>
                    <a:lnTo>
                      <a:pt x="10" y="13"/>
                    </a:lnTo>
                    <a:lnTo>
                      <a:pt x="8" y="13"/>
                    </a:lnTo>
                    <a:lnTo>
                      <a:pt x="9" y="11"/>
                    </a:lnTo>
                    <a:lnTo>
                      <a:pt x="5" y="10"/>
                    </a:lnTo>
                    <a:lnTo>
                      <a:pt x="6" y="7"/>
                    </a:lnTo>
                    <a:lnTo>
                      <a:pt x="10" y="7"/>
                    </a:lnTo>
                    <a:lnTo>
                      <a:pt x="12" y="9"/>
                    </a:lnTo>
                    <a:lnTo>
                      <a:pt x="11" y="7"/>
                    </a:lnTo>
                    <a:lnTo>
                      <a:pt x="8" y="4"/>
                    </a:lnTo>
                    <a:lnTo>
                      <a:pt x="5" y="7"/>
                    </a:lnTo>
                    <a:lnTo>
                      <a:pt x="3" y="7"/>
                    </a:lnTo>
                    <a:lnTo>
                      <a:pt x="1" y="4"/>
                    </a:lnTo>
                    <a:lnTo>
                      <a:pt x="0" y="1"/>
                    </a:lnTo>
                    <a:lnTo>
                      <a:pt x="3" y="0"/>
                    </a:lnTo>
                    <a:lnTo>
                      <a:pt x="5" y="0"/>
                    </a:lnTo>
                    <a:lnTo>
                      <a:pt x="8" y="0"/>
                    </a:lnTo>
                    <a:lnTo>
                      <a:pt x="11" y="1"/>
                    </a:lnTo>
                    <a:lnTo>
                      <a:pt x="13" y="3"/>
                    </a:lnTo>
                    <a:lnTo>
                      <a:pt x="15" y="4"/>
                    </a:lnTo>
                    <a:lnTo>
                      <a:pt x="19" y="6"/>
                    </a:lnTo>
                    <a:lnTo>
                      <a:pt x="21" y="6"/>
                    </a:lnTo>
                    <a:lnTo>
                      <a:pt x="25" y="7"/>
                    </a:lnTo>
                    <a:lnTo>
                      <a:pt x="27" y="7"/>
                    </a:lnTo>
                    <a:lnTo>
                      <a:pt x="29" y="8"/>
                    </a:lnTo>
                    <a:lnTo>
                      <a:pt x="32" y="9"/>
                    </a:lnTo>
                    <a:lnTo>
                      <a:pt x="34" y="9"/>
                    </a:lnTo>
                    <a:lnTo>
                      <a:pt x="36" y="9"/>
                    </a:lnTo>
                    <a:lnTo>
                      <a:pt x="38" y="9"/>
                    </a:lnTo>
                    <a:lnTo>
                      <a:pt x="40" y="12"/>
                    </a:lnTo>
                    <a:lnTo>
                      <a:pt x="43" y="15"/>
                    </a:lnTo>
                    <a:lnTo>
                      <a:pt x="43" y="16"/>
                    </a:lnTo>
                    <a:lnTo>
                      <a:pt x="43" y="16"/>
                    </a:lnTo>
                    <a:close/>
                    <a:moveTo>
                      <a:pt x="561" y="103"/>
                    </a:moveTo>
                    <a:lnTo>
                      <a:pt x="563" y="105"/>
                    </a:lnTo>
                    <a:lnTo>
                      <a:pt x="564" y="103"/>
                    </a:lnTo>
                    <a:lnTo>
                      <a:pt x="565" y="101"/>
                    </a:lnTo>
                    <a:lnTo>
                      <a:pt x="566" y="97"/>
                    </a:lnTo>
                    <a:lnTo>
                      <a:pt x="563" y="100"/>
                    </a:lnTo>
                    <a:lnTo>
                      <a:pt x="561" y="103"/>
                    </a:lnTo>
                    <a:lnTo>
                      <a:pt x="561"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34" name="Freeform 230">
                <a:extLst>
                  <a:ext uri="{FF2B5EF4-FFF2-40B4-BE49-F238E27FC236}">
                    <a16:creationId xmlns:a16="http://schemas.microsoft.com/office/drawing/2014/main" id="{69FA0659-D485-C31A-2482-6F7E6688F763}"/>
                  </a:ext>
                </a:extLst>
              </p:cNvPr>
              <p:cNvSpPr>
                <a:spLocks/>
              </p:cNvSpPr>
              <p:nvPr/>
            </p:nvSpPr>
            <p:spPr bwMode="auto">
              <a:xfrm>
                <a:off x="5316538" y="2740025"/>
                <a:ext cx="239712" cy="109538"/>
              </a:xfrm>
              <a:custGeom>
                <a:avLst/>
                <a:gdLst>
                  <a:gd name="T0" fmla="*/ 142 w 151"/>
                  <a:gd name="T1" fmla="*/ 41 h 69"/>
                  <a:gd name="T2" fmla="*/ 144 w 151"/>
                  <a:gd name="T3" fmla="*/ 34 h 69"/>
                  <a:gd name="T4" fmla="*/ 151 w 151"/>
                  <a:gd name="T5" fmla="*/ 31 h 69"/>
                  <a:gd name="T6" fmla="*/ 148 w 151"/>
                  <a:gd name="T7" fmla="*/ 29 h 69"/>
                  <a:gd name="T8" fmla="*/ 149 w 151"/>
                  <a:gd name="T9" fmla="*/ 23 h 69"/>
                  <a:gd name="T10" fmla="*/ 136 w 151"/>
                  <a:gd name="T11" fmla="*/ 24 h 69"/>
                  <a:gd name="T12" fmla="*/ 133 w 151"/>
                  <a:gd name="T13" fmla="*/ 16 h 69"/>
                  <a:gd name="T14" fmla="*/ 131 w 151"/>
                  <a:gd name="T15" fmla="*/ 8 h 69"/>
                  <a:gd name="T16" fmla="*/ 126 w 151"/>
                  <a:gd name="T17" fmla="*/ 6 h 69"/>
                  <a:gd name="T18" fmla="*/ 117 w 151"/>
                  <a:gd name="T19" fmla="*/ 0 h 69"/>
                  <a:gd name="T20" fmla="*/ 110 w 151"/>
                  <a:gd name="T21" fmla="*/ 6 h 69"/>
                  <a:gd name="T22" fmla="*/ 102 w 151"/>
                  <a:gd name="T23" fmla="*/ 7 h 69"/>
                  <a:gd name="T24" fmla="*/ 91 w 151"/>
                  <a:gd name="T25" fmla="*/ 9 h 69"/>
                  <a:gd name="T26" fmla="*/ 88 w 151"/>
                  <a:gd name="T27" fmla="*/ 14 h 69"/>
                  <a:gd name="T28" fmla="*/ 84 w 151"/>
                  <a:gd name="T29" fmla="*/ 14 h 69"/>
                  <a:gd name="T30" fmla="*/ 74 w 151"/>
                  <a:gd name="T31" fmla="*/ 10 h 69"/>
                  <a:gd name="T32" fmla="*/ 69 w 151"/>
                  <a:gd name="T33" fmla="*/ 18 h 69"/>
                  <a:gd name="T34" fmla="*/ 60 w 151"/>
                  <a:gd name="T35" fmla="*/ 9 h 69"/>
                  <a:gd name="T36" fmla="*/ 58 w 151"/>
                  <a:gd name="T37" fmla="*/ 19 h 69"/>
                  <a:gd name="T38" fmla="*/ 54 w 151"/>
                  <a:gd name="T39" fmla="*/ 21 h 69"/>
                  <a:gd name="T40" fmla="*/ 47 w 151"/>
                  <a:gd name="T41" fmla="*/ 31 h 69"/>
                  <a:gd name="T42" fmla="*/ 39 w 151"/>
                  <a:gd name="T43" fmla="*/ 20 h 69"/>
                  <a:gd name="T44" fmla="*/ 43 w 151"/>
                  <a:gd name="T45" fmla="*/ 12 h 69"/>
                  <a:gd name="T46" fmla="*/ 38 w 151"/>
                  <a:gd name="T47" fmla="*/ 8 h 69"/>
                  <a:gd name="T48" fmla="*/ 27 w 151"/>
                  <a:gd name="T49" fmla="*/ 1 h 69"/>
                  <a:gd name="T50" fmla="*/ 23 w 151"/>
                  <a:gd name="T51" fmla="*/ 3 h 69"/>
                  <a:gd name="T52" fmla="*/ 25 w 151"/>
                  <a:gd name="T53" fmla="*/ 9 h 69"/>
                  <a:gd name="T54" fmla="*/ 26 w 151"/>
                  <a:gd name="T55" fmla="*/ 12 h 69"/>
                  <a:gd name="T56" fmla="*/ 13 w 151"/>
                  <a:gd name="T57" fmla="*/ 8 h 69"/>
                  <a:gd name="T58" fmla="*/ 13 w 151"/>
                  <a:gd name="T59" fmla="*/ 11 h 69"/>
                  <a:gd name="T60" fmla="*/ 14 w 151"/>
                  <a:gd name="T61" fmla="*/ 15 h 69"/>
                  <a:gd name="T62" fmla="*/ 16 w 151"/>
                  <a:gd name="T63" fmla="*/ 18 h 69"/>
                  <a:gd name="T64" fmla="*/ 10 w 151"/>
                  <a:gd name="T65" fmla="*/ 18 h 69"/>
                  <a:gd name="T66" fmla="*/ 5 w 151"/>
                  <a:gd name="T67" fmla="*/ 20 h 69"/>
                  <a:gd name="T68" fmla="*/ 8 w 151"/>
                  <a:gd name="T69" fmla="*/ 25 h 69"/>
                  <a:gd name="T70" fmla="*/ 22 w 151"/>
                  <a:gd name="T71" fmla="*/ 21 h 69"/>
                  <a:gd name="T72" fmla="*/ 30 w 151"/>
                  <a:gd name="T73" fmla="*/ 23 h 69"/>
                  <a:gd name="T74" fmla="*/ 39 w 151"/>
                  <a:gd name="T75" fmla="*/ 25 h 69"/>
                  <a:gd name="T76" fmla="*/ 30 w 151"/>
                  <a:gd name="T77" fmla="*/ 31 h 69"/>
                  <a:gd name="T78" fmla="*/ 34 w 151"/>
                  <a:gd name="T79" fmla="*/ 33 h 69"/>
                  <a:gd name="T80" fmla="*/ 21 w 151"/>
                  <a:gd name="T81" fmla="*/ 34 h 69"/>
                  <a:gd name="T82" fmla="*/ 7 w 151"/>
                  <a:gd name="T83" fmla="*/ 38 h 69"/>
                  <a:gd name="T84" fmla="*/ 21 w 151"/>
                  <a:gd name="T85" fmla="*/ 38 h 69"/>
                  <a:gd name="T86" fmla="*/ 32 w 151"/>
                  <a:gd name="T87" fmla="*/ 41 h 69"/>
                  <a:gd name="T88" fmla="*/ 35 w 151"/>
                  <a:gd name="T89" fmla="*/ 44 h 69"/>
                  <a:gd name="T90" fmla="*/ 40 w 151"/>
                  <a:gd name="T91" fmla="*/ 43 h 69"/>
                  <a:gd name="T92" fmla="*/ 35 w 151"/>
                  <a:gd name="T93" fmla="*/ 50 h 69"/>
                  <a:gd name="T94" fmla="*/ 40 w 151"/>
                  <a:gd name="T95" fmla="*/ 48 h 69"/>
                  <a:gd name="T96" fmla="*/ 35 w 151"/>
                  <a:gd name="T97" fmla="*/ 54 h 69"/>
                  <a:gd name="T98" fmla="*/ 24 w 151"/>
                  <a:gd name="T99" fmla="*/ 59 h 69"/>
                  <a:gd name="T100" fmla="*/ 38 w 151"/>
                  <a:gd name="T101" fmla="*/ 59 h 69"/>
                  <a:gd name="T102" fmla="*/ 47 w 151"/>
                  <a:gd name="T103" fmla="*/ 59 h 69"/>
                  <a:gd name="T104" fmla="*/ 56 w 151"/>
                  <a:gd name="T105" fmla="*/ 60 h 69"/>
                  <a:gd name="T106" fmla="*/ 61 w 151"/>
                  <a:gd name="T107" fmla="*/ 66 h 69"/>
                  <a:gd name="T108" fmla="*/ 72 w 151"/>
                  <a:gd name="T109" fmla="*/ 68 h 69"/>
                  <a:gd name="T110" fmla="*/ 85 w 151"/>
                  <a:gd name="T111" fmla="*/ 67 h 69"/>
                  <a:gd name="T112" fmla="*/ 91 w 151"/>
                  <a:gd name="T113" fmla="*/ 62 h 69"/>
                  <a:gd name="T114" fmla="*/ 103 w 151"/>
                  <a:gd name="T115" fmla="*/ 61 h 69"/>
                  <a:gd name="T116" fmla="*/ 112 w 151"/>
                  <a:gd name="T117" fmla="*/ 57 h 69"/>
                  <a:gd name="T118" fmla="*/ 123 w 151"/>
                  <a:gd name="T119" fmla="*/ 51 h 69"/>
                  <a:gd name="T120" fmla="*/ 132 w 151"/>
                  <a:gd name="T121" fmla="*/ 4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1" h="69">
                    <a:moveTo>
                      <a:pt x="137" y="46"/>
                    </a:moveTo>
                    <a:lnTo>
                      <a:pt x="137" y="46"/>
                    </a:lnTo>
                    <a:lnTo>
                      <a:pt x="136" y="43"/>
                    </a:lnTo>
                    <a:lnTo>
                      <a:pt x="140" y="41"/>
                    </a:lnTo>
                    <a:lnTo>
                      <a:pt x="142" y="41"/>
                    </a:lnTo>
                    <a:lnTo>
                      <a:pt x="145" y="38"/>
                    </a:lnTo>
                    <a:lnTo>
                      <a:pt x="146" y="38"/>
                    </a:lnTo>
                    <a:lnTo>
                      <a:pt x="144" y="36"/>
                    </a:lnTo>
                    <a:lnTo>
                      <a:pt x="148" y="35"/>
                    </a:lnTo>
                    <a:lnTo>
                      <a:pt x="144" y="34"/>
                    </a:lnTo>
                    <a:lnTo>
                      <a:pt x="142" y="34"/>
                    </a:lnTo>
                    <a:lnTo>
                      <a:pt x="145" y="33"/>
                    </a:lnTo>
                    <a:lnTo>
                      <a:pt x="148" y="34"/>
                    </a:lnTo>
                    <a:lnTo>
                      <a:pt x="150" y="33"/>
                    </a:lnTo>
                    <a:lnTo>
                      <a:pt x="151" y="31"/>
                    </a:lnTo>
                    <a:lnTo>
                      <a:pt x="148" y="29"/>
                    </a:lnTo>
                    <a:lnTo>
                      <a:pt x="145" y="29"/>
                    </a:lnTo>
                    <a:lnTo>
                      <a:pt x="144" y="31"/>
                    </a:lnTo>
                    <a:lnTo>
                      <a:pt x="144" y="29"/>
                    </a:lnTo>
                    <a:lnTo>
                      <a:pt x="148" y="29"/>
                    </a:lnTo>
                    <a:lnTo>
                      <a:pt x="150" y="28"/>
                    </a:lnTo>
                    <a:lnTo>
                      <a:pt x="149" y="27"/>
                    </a:lnTo>
                    <a:lnTo>
                      <a:pt x="145" y="27"/>
                    </a:lnTo>
                    <a:lnTo>
                      <a:pt x="149" y="26"/>
                    </a:lnTo>
                    <a:lnTo>
                      <a:pt x="149" y="23"/>
                    </a:lnTo>
                    <a:lnTo>
                      <a:pt x="146" y="23"/>
                    </a:lnTo>
                    <a:lnTo>
                      <a:pt x="144" y="20"/>
                    </a:lnTo>
                    <a:lnTo>
                      <a:pt x="141" y="20"/>
                    </a:lnTo>
                    <a:lnTo>
                      <a:pt x="138" y="20"/>
                    </a:lnTo>
                    <a:lnTo>
                      <a:pt x="136" y="24"/>
                    </a:lnTo>
                    <a:lnTo>
                      <a:pt x="138" y="20"/>
                    </a:lnTo>
                    <a:lnTo>
                      <a:pt x="140" y="19"/>
                    </a:lnTo>
                    <a:lnTo>
                      <a:pt x="137" y="17"/>
                    </a:lnTo>
                    <a:lnTo>
                      <a:pt x="133" y="18"/>
                    </a:lnTo>
                    <a:lnTo>
                      <a:pt x="133" y="16"/>
                    </a:lnTo>
                    <a:lnTo>
                      <a:pt x="135" y="14"/>
                    </a:lnTo>
                    <a:lnTo>
                      <a:pt x="133" y="10"/>
                    </a:lnTo>
                    <a:lnTo>
                      <a:pt x="131" y="11"/>
                    </a:lnTo>
                    <a:lnTo>
                      <a:pt x="131" y="8"/>
                    </a:lnTo>
                    <a:lnTo>
                      <a:pt x="131" y="8"/>
                    </a:lnTo>
                    <a:lnTo>
                      <a:pt x="131" y="6"/>
                    </a:lnTo>
                    <a:lnTo>
                      <a:pt x="134" y="3"/>
                    </a:lnTo>
                    <a:lnTo>
                      <a:pt x="131" y="3"/>
                    </a:lnTo>
                    <a:lnTo>
                      <a:pt x="128" y="6"/>
                    </a:lnTo>
                    <a:lnTo>
                      <a:pt x="126" y="6"/>
                    </a:lnTo>
                    <a:lnTo>
                      <a:pt x="125" y="9"/>
                    </a:lnTo>
                    <a:lnTo>
                      <a:pt x="123" y="7"/>
                    </a:lnTo>
                    <a:lnTo>
                      <a:pt x="119" y="6"/>
                    </a:lnTo>
                    <a:lnTo>
                      <a:pt x="119" y="2"/>
                    </a:lnTo>
                    <a:lnTo>
                      <a:pt x="117" y="0"/>
                    </a:lnTo>
                    <a:lnTo>
                      <a:pt x="114" y="0"/>
                    </a:lnTo>
                    <a:lnTo>
                      <a:pt x="111" y="0"/>
                    </a:lnTo>
                    <a:lnTo>
                      <a:pt x="109" y="1"/>
                    </a:lnTo>
                    <a:lnTo>
                      <a:pt x="109" y="3"/>
                    </a:lnTo>
                    <a:lnTo>
                      <a:pt x="110" y="6"/>
                    </a:lnTo>
                    <a:lnTo>
                      <a:pt x="110" y="7"/>
                    </a:lnTo>
                    <a:lnTo>
                      <a:pt x="109" y="10"/>
                    </a:lnTo>
                    <a:lnTo>
                      <a:pt x="106" y="9"/>
                    </a:lnTo>
                    <a:lnTo>
                      <a:pt x="103" y="7"/>
                    </a:lnTo>
                    <a:lnTo>
                      <a:pt x="102" y="7"/>
                    </a:lnTo>
                    <a:lnTo>
                      <a:pt x="100" y="8"/>
                    </a:lnTo>
                    <a:lnTo>
                      <a:pt x="98" y="11"/>
                    </a:lnTo>
                    <a:lnTo>
                      <a:pt x="95" y="14"/>
                    </a:lnTo>
                    <a:lnTo>
                      <a:pt x="93" y="11"/>
                    </a:lnTo>
                    <a:lnTo>
                      <a:pt x="91" y="9"/>
                    </a:lnTo>
                    <a:lnTo>
                      <a:pt x="90" y="8"/>
                    </a:lnTo>
                    <a:lnTo>
                      <a:pt x="88" y="8"/>
                    </a:lnTo>
                    <a:lnTo>
                      <a:pt x="85" y="8"/>
                    </a:lnTo>
                    <a:lnTo>
                      <a:pt x="85" y="11"/>
                    </a:lnTo>
                    <a:lnTo>
                      <a:pt x="88" y="14"/>
                    </a:lnTo>
                    <a:lnTo>
                      <a:pt x="89" y="16"/>
                    </a:lnTo>
                    <a:lnTo>
                      <a:pt x="89" y="20"/>
                    </a:lnTo>
                    <a:lnTo>
                      <a:pt x="88" y="18"/>
                    </a:lnTo>
                    <a:lnTo>
                      <a:pt x="86" y="16"/>
                    </a:lnTo>
                    <a:lnTo>
                      <a:pt x="84" y="14"/>
                    </a:lnTo>
                    <a:lnTo>
                      <a:pt x="82" y="11"/>
                    </a:lnTo>
                    <a:lnTo>
                      <a:pt x="80" y="8"/>
                    </a:lnTo>
                    <a:lnTo>
                      <a:pt x="76" y="8"/>
                    </a:lnTo>
                    <a:lnTo>
                      <a:pt x="74" y="8"/>
                    </a:lnTo>
                    <a:lnTo>
                      <a:pt x="74" y="10"/>
                    </a:lnTo>
                    <a:lnTo>
                      <a:pt x="72" y="10"/>
                    </a:lnTo>
                    <a:lnTo>
                      <a:pt x="68" y="12"/>
                    </a:lnTo>
                    <a:lnTo>
                      <a:pt x="69" y="16"/>
                    </a:lnTo>
                    <a:lnTo>
                      <a:pt x="69" y="18"/>
                    </a:lnTo>
                    <a:lnTo>
                      <a:pt x="69" y="18"/>
                    </a:lnTo>
                    <a:lnTo>
                      <a:pt x="68" y="18"/>
                    </a:lnTo>
                    <a:lnTo>
                      <a:pt x="66" y="16"/>
                    </a:lnTo>
                    <a:lnTo>
                      <a:pt x="64" y="14"/>
                    </a:lnTo>
                    <a:lnTo>
                      <a:pt x="61" y="11"/>
                    </a:lnTo>
                    <a:lnTo>
                      <a:pt x="60" y="9"/>
                    </a:lnTo>
                    <a:lnTo>
                      <a:pt x="59" y="9"/>
                    </a:lnTo>
                    <a:lnTo>
                      <a:pt x="56" y="11"/>
                    </a:lnTo>
                    <a:lnTo>
                      <a:pt x="57" y="15"/>
                    </a:lnTo>
                    <a:lnTo>
                      <a:pt x="58" y="17"/>
                    </a:lnTo>
                    <a:lnTo>
                      <a:pt x="58" y="19"/>
                    </a:lnTo>
                    <a:lnTo>
                      <a:pt x="57" y="20"/>
                    </a:lnTo>
                    <a:lnTo>
                      <a:pt x="56" y="23"/>
                    </a:lnTo>
                    <a:lnTo>
                      <a:pt x="56" y="24"/>
                    </a:lnTo>
                    <a:lnTo>
                      <a:pt x="55" y="23"/>
                    </a:lnTo>
                    <a:lnTo>
                      <a:pt x="54" y="21"/>
                    </a:lnTo>
                    <a:lnTo>
                      <a:pt x="51" y="20"/>
                    </a:lnTo>
                    <a:lnTo>
                      <a:pt x="48" y="23"/>
                    </a:lnTo>
                    <a:lnTo>
                      <a:pt x="47" y="25"/>
                    </a:lnTo>
                    <a:lnTo>
                      <a:pt x="47" y="28"/>
                    </a:lnTo>
                    <a:lnTo>
                      <a:pt x="47" y="31"/>
                    </a:lnTo>
                    <a:lnTo>
                      <a:pt x="46" y="28"/>
                    </a:lnTo>
                    <a:lnTo>
                      <a:pt x="46" y="25"/>
                    </a:lnTo>
                    <a:lnTo>
                      <a:pt x="43" y="23"/>
                    </a:lnTo>
                    <a:lnTo>
                      <a:pt x="42" y="20"/>
                    </a:lnTo>
                    <a:lnTo>
                      <a:pt x="39" y="20"/>
                    </a:lnTo>
                    <a:lnTo>
                      <a:pt x="38" y="17"/>
                    </a:lnTo>
                    <a:lnTo>
                      <a:pt x="40" y="19"/>
                    </a:lnTo>
                    <a:lnTo>
                      <a:pt x="43" y="18"/>
                    </a:lnTo>
                    <a:lnTo>
                      <a:pt x="44" y="16"/>
                    </a:lnTo>
                    <a:lnTo>
                      <a:pt x="43" y="12"/>
                    </a:lnTo>
                    <a:lnTo>
                      <a:pt x="41" y="12"/>
                    </a:lnTo>
                    <a:lnTo>
                      <a:pt x="43" y="11"/>
                    </a:lnTo>
                    <a:lnTo>
                      <a:pt x="41" y="10"/>
                    </a:lnTo>
                    <a:lnTo>
                      <a:pt x="39" y="10"/>
                    </a:lnTo>
                    <a:lnTo>
                      <a:pt x="38" y="8"/>
                    </a:lnTo>
                    <a:lnTo>
                      <a:pt x="34" y="6"/>
                    </a:lnTo>
                    <a:lnTo>
                      <a:pt x="34" y="6"/>
                    </a:lnTo>
                    <a:lnTo>
                      <a:pt x="31" y="6"/>
                    </a:lnTo>
                    <a:lnTo>
                      <a:pt x="30" y="3"/>
                    </a:lnTo>
                    <a:lnTo>
                      <a:pt x="27" y="1"/>
                    </a:lnTo>
                    <a:lnTo>
                      <a:pt x="24" y="2"/>
                    </a:lnTo>
                    <a:lnTo>
                      <a:pt x="22" y="2"/>
                    </a:lnTo>
                    <a:lnTo>
                      <a:pt x="18" y="2"/>
                    </a:lnTo>
                    <a:lnTo>
                      <a:pt x="20" y="4"/>
                    </a:lnTo>
                    <a:lnTo>
                      <a:pt x="23" y="3"/>
                    </a:lnTo>
                    <a:lnTo>
                      <a:pt x="25" y="6"/>
                    </a:lnTo>
                    <a:lnTo>
                      <a:pt x="29" y="6"/>
                    </a:lnTo>
                    <a:lnTo>
                      <a:pt x="25" y="7"/>
                    </a:lnTo>
                    <a:lnTo>
                      <a:pt x="23" y="8"/>
                    </a:lnTo>
                    <a:lnTo>
                      <a:pt x="25" y="9"/>
                    </a:lnTo>
                    <a:lnTo>
                      <a:pt x="27" y="10"/>
                    </a:lnTo>
                    <a:lnTo>
                      <a:pt x="26" y="14"/>
                    </a:lnTo>
                    <a:lnTo>
                      <a:pt x="25" y="16"/>
                    </a:lnTo>
                    <a:lnTo>
                      <a:pt x="26" y="15"/>
                    </a:lnTo>
                    <a:lnTo>
                      <a:pt x="26" y="12"/>
                    </a:lnTo>
                    <a:lnTo>
                      <a:pt x="24" y="12"/>
                    </a:lnTo>
                    <a:lnTo>
                      <a:pt x="21" y="11"/>
                    </a:lnTo>
                    <a:lnTo>
                      <a:pt x="18" y="9"/>
                    </a:lnTo>
                    <a:lnTo>
                      <a:pt x="16" y="8"/>
                    </a:lnTo>
                    <a:lnTo>
                      <a:pt x="13" y="8"/>
                    </a:lnTo>
                    <a:lnTo>
                      <a:pt x="13" y="9"/>
                    </a:lnTo>
                    <a:lnTo>
                      <a:pt x="15" y="10"/>
                    </a:lnTo>
                    <a:lnTo>
                      <a:pt x="13" y="10"/>
                    </a:lnTo>
                    <a:lnTo>
                      <a:pt x="15" y="12"/>
                    </a:lnTo>
                    <a:lnTo>
                      <a:pt x="13" y="11"/>
                    </a:lnTo>
                    <a:lnTo>
                      <a:pt x="9" y="10"/>
                    </a:lnTo>
                    <a:lnTo>
                      <a:pt x="12" y="14"/>
                    </a:lnTo>
                    <a:lnTo>
                      <a:pt x="14" y="15"/>
                    </a:lnTo>
                    <a:lnTo>
                      <a:pt x="17" y="16"/>
                    </a:lnTo>
                    <a:lnTo>
                      <a:pt x="14" y="15"/>
                    </a:lnTo>
                    <a:lnTo>
                      <a:pt x="12" y="14"/>
                    </a:lnTo>
                    <a:lnTo>
                      <a:pt x="8" y="15"/>
                    </a:lnTo>
                    <a:lnTo>
                      <a:pt x="10" y="17"/>
                    </a:lnTo>
                    <a:lnTo>
                      <a:pt x="13" y="17"/>
                    </a:lnTo>
                    <a:lnTo>
                      <a:pt x="16" y="18"/>
                    </a:lnTo>
                    <a:lnTo>
                      <a:pt x="13" y="18"/>
                    </a:lnTo>
                    <a:lnTo>
                      <a:pt x="14" y="18"/>
                    </a:lnTo>
                    <a:lnTo>
                      <a:pt x="16" y="19"/>
                    </a:lnTo>
                    <a:lnTo>
                      <a:pt x="13" y="20"/>
                    </a:lnTo>
                    <a:lnTo>
                      <a:pt x="10" y="18"/>
                    </a:lnTo>
                    <a:lnTo>
                      <a:pt x="8" y="17"/>
                    </a:lnTo>
                    <a:lnTo>
                      <a:pt x="5" y="17"/>
                    </a:lnTo>
                    <a:lnTo>
                      <a:pt x="7" y="19"/>
                    </a:lnTo>
                    <a:lnTo>
                      <a:pt x="7" y="21"/>
                    </a:lnTo>
                    <a:lnTo>
                      <a:pt x="5" y="20"/>
                    </a:lnTo>
                    <a:lnTo>
                      <a:pt x="1" y="20"/>
                    </a:lnTo>
                    <a:lnTo>
                      <a:pt x="0" y="24"/>
                    </a:lnTo>
                    <a:lnTo>
                      <a:pt x="4" y="24"/>
                    </a:lnTo>
                    <a:lnTo>
                      <a:pt x="6" y="24"/>
                    </a:lnTo>
                    <a:lnTo>
                      <a:pt x="8" y="25"/>
                    </a:lnTo>
                    <a:lnTo>
                      <a:pt x="10" y="25"/>
                    </a:lnTo>
                    <a:lnTo>
                      <a:pt x="13" y="24"/>
                    </a:lnTo>
                    <a:lnTo>
                      <a:pt x="16" y="24"/>
                    </a:lnTo>
                    <a:lnTo>
                      <a:pt x="18" y="21"/>
                    </a:lnTo>
                    <a:lnTo>
                      <a:pt x="22" y="21"/>
                    </a:lnTo>
                    <a:lnTo>
                      <a:pt x="22" y="21"/>
                    </a:lnTo>
                    <a:lnTo>
                      <a:pt x="24" y="23"/>
                    </a:lnTo>
                    <a:lnTo>
                      <a:pt x="24" y="20"/>
                    </a:lnTo>
                    <a:lnTo>
                      <a:pt x="26" y="20"/>
                    </a:lnTo>
                    <a:lnTo>
                      <a:pt x="30" y="23"/>
                    </a:lnTo>
                    <a:lnTo>
                      <a:pt x="32" y="21"/>
                    </a:lnTo>
                    <a:lnTo>
                      <a:pt x="30" y="25"/>
                    </a:lnTo>
                    <a:lnTo>
                      <a:pt x="33" y="23"/>
                    </a:lnTo>
                    <a:lnTo>
                      <a:pt x="35" y="25"/>
                    </a:lnTo>
                    <a:lnTo>
                      <a:pt x="39" y="25"/>
                    </a:lnTo>
                    <a:lnTo>
                      <a:pt x="38" y="25"/>
                    </a:lnTo>
                    <a:lnTo>
                      <a:pt x="34" y="25"/>
                    </a:lnTo>
                    <a:lnTo>
                      <a:pt x="32" y="27"/>
                    </a:lnTo>
                    <a:lnTo>
                      <a:pt x="30" y="28"/>
                    </a:lnTo>
                    <a:lnTo>
                      <a:pt x="30" y="31"/>
                    </a:lnTo>
                    <a:lnTo>
                      <a:pt x="32" y="32"/>
                    </a:lnTo>
                    <a:lnTo>
                      <a:pt x="34" y="32"/>
                    </a:lnTo>
                    <a:lnTo>
                      <a:pt x="38" y="32"/>
                    </a:lnTo>
                    <a:lnTo>
                      <a:pt x="34" y="34"/>
                    </a:lnTo>
                    <a:lnTo>
                      <a:pt x="34" y="33"/>
                    </a:lnTo>
                    <a:lnTo>
                      <a:pt x="31" y="33"/>
                    </a:lnTo>
                    <a:lnTo>
                      <a:pt x="29" y="33"/>
                    </a:lnTo>
                    <a:lnTo>
                      <a:pt x="26" y="34"/>
                    </a:lnTo>
                    <a:lnTo>
                      <a:pt x="23" y="34"/>
                    </a:lnTo>
                    <a:lnTo>
                      <a:pt x="21" y="34"/>
                    </a:lnTo>
                    <a:lnTo>
                      <a:pt x="17" y="34"/>
                    </a:lnTo>
                    <a:lnTo>
                      <a:pt x="15" y="35"/>
                    </a:lnTo>
                    <a:lnTo>
                      <a:pt x="13" y="36"/>
                    </a:lnTo>
                    <a:lnTo>
                      <a:pt x="9" y="36"/>
                    </a:lnTo>
                    <a:lnTo>
                      <a:pt x="7" y="38"/>
                    </a:lnTo>
                    <a:lnTo>
                      <a:pt x="9" y="41"/>
                    </a:lnTo>
                    <a:lnTo>
                      <a:pt x="13" y="38"/>
                    </a:lnTo>
                    <a:lnTo>
                      <a:pt x="15" y="38"/>
                    </a:lnTo>
                    <a:lnTo>
                      <a:pt x="17" y="38"/>
                    </a:lnTo>
                    <a:lnTo>
                      <a:pt x="21" y="38"/>
                    </a:lnTo>
                    <a:lnTo>
                      <a:pt x="23" y="38"/>
                    </a:lnTo>
                    <a:lnTo>
                      <a:pt x="26" y="40"/>
                    </a:lnTo>
                    <a:lnTo>
                      <a:pt x="29" y="38"/>
                    </a:lnTo>
                    <a:lnTo>
                      <a:pt x="30" y="42"/>
                    </a:lnTo>
                    <a:lnTo>
                      <a:pt x="32" y="41"/>
                    </a:lnTo>
                    <a:lnTo>
                      <a:pt x="30" y="41"/>
                    </a:lnTo>
                    <a:lnTo>
                      <a:pt x="30" y="44"/>
                    </a:lnTo>
                    <a:lnTo>
                      <a:pt x="32" y="46"/>
                    </a:lnTo>
                    <a:lnTo>
                      <a:pt x="33" y="46"/>
                    </a:lnTo>
                    <a:lnTo>
                      <a:pt x="35" y="44"/>
                    </a:lnTo>
                    <a:lnTo>
                      <a:pt x="38" y="43"/>
                    </a:lnTo>
                    <a:lnTo>
                      <a:pt x="40" y="42"/>
                    </a:lnTo>
                    <a:lnTo>
                      <a:pt x="41" y="42"/>
                    </a:lnTo>
                    <a:lnTo>
                      <a:pt x="40" y="43"/>
                    </a:lnTo>
                    <a:lnTo>
                      <a:pt x="40" y="43"/>
                    </a:lnTo>
                    <a:lnTo>
                      <a:pt x="39" y="43"/>
                    </a:lnTo>
                    <a:lnTo>
                      <a:pt x="38" y="44"/>
                    </a:lnTo>
                    <a:lnTo>
                      <a:pt x="35" y="45"/>
                    </a:lnTo>
                    <a:lnTo>
                      <a:pt x="34" y="46"/>
                    </a:lnTo>
                    <a:lnTo>
                      <a:pt x="35" y="50"/>
                    </a:lnTo>
                    <a:lnTo>
                      <a:pt x="38" y="48"/>
                    </a:lnTo>
                    <a:lnTo>
                      <a:pt x="40" y="48"/>
                    </a:lnTo>
                    <a:lnTo>
                      <a:pt x="43" y="48"/>
                    </a:lnTo>
                    <a:lnTo>
                      <a:pt x="42" y="49"/>
                    </a:lnTo>
                    <a:lnTo>
                      <a:pt x="40" y="48"/>
                    </a:lnTo>
                    <a:lnTo>
                      <a:pt x="37" y="50"/>
                    </a:lnTo>
                    <a:lnTo>
                      <a:pt x="38" y="52"/>
                    </a:lnTo>
                    <a:lnTo>
                      <a:pt x="37" y="53"/>
                    </a:lnTo>
                    <a:lnTo>
                      <a:pt x="34" y="53"/>
                    </a:lnTo>
                    <a:lnTo>
                      <a:pt x="35" y="54"/>
                    </a:lnTo>
                    <a:lnTo>
                      <a:pt x="33" y="55"/>
                    </a:lnTo>
                    <a:lnTo>
                      <a:pt x="30" y="55"/>
                    </a:lnTo>
                    <a:lnTo>
                      <a:pt x="27" y="57"/>
                    </a:lnTo>
                    <a:lnTo>
                      <a:pt x="25" y="55"/>
                    </a:lnTo>
                    <a:lnTo>
                      <a:pt x="24" y="59"/>
                    </a:lnTo>
                    <a:lnTo>
                      <a:pt x="27" y="60"/>
                    </a:lnTo>
                    <a:lnTo>
                      <a:pt x="30" y="59"/>
                    </a:lnTo>
                    <a:lnTo>
                      <a:pt x="32" y="60"/>
                    </a:lnTo>
                    <a:lnTo>
                      <a:pt x="35" y="60"/>
                    </a:lnTo>
                    <a:lnTo>
                      <a:pt x="38" y="59"/>
                    </a:lnTo>
                    <a:lnTo>
                      <a:pt x="40" y="60"/>
                    </a:lnTo>
                    <a:lnTo>
                      <a:pt x="43" y="60"/>
                    </a:lnTo>
                    <a:lnTo>
                      <a:pt x="44" y="58"/>
                    </a:lnTo>
                    <a:lnTo>
                      <a:pt x="48" y="58"/>
                    </a:lnTo>
                    <a:lnTo>
                      <a:pt x="47" y="59"/>
                    </a:lnTo>
                    <a:lnTo>
                      <a:pt x="49" y="60"/>
                    </a:lnTo>
                    <a:lnTo>
                      <a:pt x="52" y="59"/>
                    </a:lnTo>
                    <a:lnTo>
                      <a:pt x="51" y="61"/>
                    </a:lnTo>
                    <a:lnTo>
                      <a:pt x="54" y="62"/>
                    </a:lnTo>
                    <a:lnTo>
                      <a:pt x="56" y="60"/>
                    </a:lnTo>
                    <a:lnTo>
                      <a:pt x="57" y="62"/>
                    </a:lnTo>
                    <a:lnTo>
                      <a:pt x="56" y="63"/>
                    </a:lnTo>
                    <a:lnTo>
                      <a:pt x="58" y="66"/>
                    </a:lnTo>
                    <a:lnTo>
                      <a:pt x="60" y="66"/>
                    </a:lnTo>
                    <a:lnTo>
                      <a:pt x="61" y="66"/>
                    </a:lnTo>
                    <a:lnTo>
                      <a:pt x="61" y="67"/>
                    </a:lnTo>
                    <a:lnTo>
                      <a:pt x="65" y="67"/>
                    </a:lnTo>
                    <a:lnTo>
                      <a:pt x="67" y="67"/>
                    </a:lnTo>
                    <a:lnTo>
                      <a:pt x="69" y="68"/>
                    </a:lnTo>
                    <a:lnTo>
                      <a:pt x="72" y="68"/>
                    </a:lnTo>
                    <a:lnTo>
                      <a:pt x="74" y="69"/>
                    </a:lnTo>
                    <a:lnTo>
                      <a:pt x="77" y="69"/>
                    </a:lnTo>
                    <a:lnTo>
                      <a:pt x="80" y="69"/>
                    </a:lnTo>
                    <a:lnTo>
                      <a:pt x="82" y="69"/>
                    </a:lnTo>
                    <a:lnTo>
                      <a:pt x="85" y="67"/>
                    </a:lnTo>
                    <a:lnTo>
                      <a:pt x="85" y="67"/>
                    </a:lnTo>
                    <a:lnTo>
                      <a:pt x="89" y="67"/>
                    </a:lnTo>
                    <a:lnTo>
                      <a:pt x="91" y="64"/>
                    </a:lnTo>
                    <a:lnTo>
                      <a:pt x="90" y="64"/>
                    </a:lnTo>
                    <a:lnTo>
                      <a:pt x="91" y="62"/>
                    </a:lnTo>
                    <a:lnTo>
                      <a:pt x="93" y="62"/>
                    </a:lnTo>
                    <a:lnTo>
                      <a:pt x="97" y="61"/>
                    </a:lnTo>
                    <a:lnTo>
                      <a:pt x="99" y="61"/>
                    </a:lnTo>
                    <a:lnTo>
                      <a:pt x="100" y="61"/>
                    </a:lnTo>
                    <a:lnTo>
                      <a:pt x="103" y="61"/>
                    </a:lnTo>
                    <a:lnTo>
                      <a:pt x="103" y="58"/>
                    </a:lnTo>
                    <a:lnTo>
                      <a:pt x="105" y="61"/>
                    </a:lnTo>
                    <a:lnTo>
                      <a:pt x="107" y="59"/>
                    </a:lnTo>
                    <a:lnTo>
                      <a:pt x="109" y="59"/>
                    </a:lnTo>
                    <a:lnTo>
                      <a:pt x="112" y="57"/>
                    </a:lnTo>
                    <a:lnTo>
                      <a:pt x="112" y="57"/>
                    </a:lnTo>
                    <a:lnTo>
                      <a:pt x="115" y="55"/>
                    </a:lnTo>
                    <a:lnTo>
                      <a:pt x="117" y="53"/>
                    </a:lnTo>
                    <a:lnTo>
                      <a:pt x="120" y="52"/>
                    </a:lnTo>
                    <a:lnTo>
                      <a:pt x="123" y="51"/>
                    </a:lnTo>
                    <a:lnTo>
                      <a:pt x="125" y="49"/>
                    </a:lnTo>
                    <a:lnTo>
                      <a:pt x="125" y="49"/>
                    </a:lnTo>
                    <a:lnTo>
                      <a:pt x="126" y="50"/>
                    </a:lnTo>
                    <a:lnTo>
                      <a:pt x="129" y="50"/>
                    </a:lnTo>
                    <a:lnTo>
                      <a:pt x="132" y="49"/>
                    </a:lnTo>
                    <a:lnTo>
                      <a:pt x="134" y="48"/>
                    </a:lnTo>
                    <a:lnTo>
                      <a:pt x="134" y="48"/>
                    </a:lnTo>
                    <a:lnTo>
                      <a:pt x="137" y="46"/>
                    </a:lnTo>
                    <a:lnTo>
                      <a:pt x="13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35" name="Freeform 231">
                <a:extLst>
                  <a:ext uri="{FF2B5EF4-FFF2-40B4-BE49-F238E27FC236}">
                    <a16:creationId xmlns:a16="http://schemas.microsoft.com/office/drawing/2014/main" id="{F99B858C-C777-8DFD-CBD2-E0691D9243F4}"/>
                  </a:ext>
                </a:extLst>
              </p:cNvPr>
              <p:cNvSpPr>
                <a:spLocks/>
              </p:cNvSpPr>
              <p:nvPr/>
            </p:nvSpPr>
            <p:spPr bwMode="auto">
              <a:xfrm>
                <a:off x="3259138" y="2473325"/>
                <a:ext cx="398462" cy="195263"/>
              </a:xfrm>
              <a:custGeom>
                <a:avLst/>
                <a:gdLst>
                  <a:gd name="T0" fmla="*/ 238 w 251"/>
                  <a:gd name="T1" fmla="*/ 93 h 123"/>
                  <a:gd name="T2" fmla="*/ 226 w 251"/>
                  <a:gd name="T3" fmla="*/ 97 h 123"/>
                  <a:gd name="T4" fmla="*/ 220 w 251"/>
                  <a:gd name="T5" fmla="*/ 103 h 123"/>
                  <a:gd name="T6" fmla="*/ 235 w 251"/>
                  <a:gd name="T7" fmla="*/ 99 h 123"/>
                  <a:gd name="T8" fmla="*/ 233 w 251"/>
                  <a:gd name="T9" fmla="*/ 111 h 123"/>
                  <a:gd name="T10" fmla="*/ 211 w 251"/>
                  <a:gd name="T11" fmla="*/ 114 h 123"/>
                  <a:gd name="T12" fmla="*/ 191 w 251"/>
                  <a:gd name="T13" fmla="*/ 110 h 123"/>
                  <a:gd name="T14" fmla="*/ 177 w 251"/>
                  <a:gd name="T15" fmla="*/ 107 h 123"/>
                  <a:gd name="T16" fmla="*/ 167 w 251"/>
                  <a:gd name="T17" fmla="*/ 106 h 123"/>
                  <a:gd name="T18" fmla="*/ 148 w 251"/>
                  <a:gd name="T19" fmla="*/ 111 h 123"/>
                  <a:gd name="T20" fmla="*/ 128 w 251"/>
                  <a:gd name="T21" fmla="*/ 118 h 123"/>
                  <a:gd name="T22" fmla="*/ 109 w 251"/>
                  <a:gd name="T23" fmla="*/ 120 h 123"/>
                  <a:gd name="T24" fmla="*/ 90 w 251"/>
                  <a:gd name="T25" fmla="*/ 122 h 123"/>
                  <a:gd name="T26" fmla="*/ 76 w 251"/>
                  <a:gd name="T27" fmla="*/ 110 h 123"/>
                  <a:gd name="T28" fmla="*/ 63 w 251"/>
                  <a:gd name="T29" fmla="*/ 103 h 123"/>
                  <a:gd name="T30" fmla="*/ 43 w 251"/>
                  <a:gd name="T31" fmla="*/ 102 h 123"/>
                  <a:gd name="T32" fmla="*/ 25 w 251"/>
                  <a:gd name="T33" fmla="*/ 91 h 123"/>
                  <a:gd name="T34" fmla="*/ 38 w 251"/>
                  <a:gd name="T35" fmla="*/ 81 h 123"/>
                  <a:gd name="T36" fmla="*/ 58 w 251"/>
                  <a:gd name="T37" fmla="*/ 78 h 123"/>
                  <a:gd name="T38" fmla="*/ 77 w 251"/>
                  <a:gd name="T39" fmla="*/ 78 h 123"/>
                  <a:gd name="T40" fmla="*/ 97 w 251"/>
                  <a:gd name="T41" fmla="*/ 78 h 123"/>
                  <a:gd name="T42" fmla="*/ 96 w 251"/>
                  <a:gd name="T43" fmla="*/ 73 h 123"/>
                  <a:gd name="T44" fmla="*/ 76 w 251"/>
                  <a:gd name="T45" fmla="*/ 69 h 123"/>
                  <a:gd name="T46" fmla="*/ 56 w 251"/>
                  <a:gd name="T47" fmla="*/ 71 h 123"/>
                  <a:gd name="T48" fmla="*/ 34 w 251"/>
                  <a:gd name="T49" fmla="*/ 71 h 123"/>
                  <a:gd name="T50" fmla="*/ 16 w 251"/>
                  <a:gd name="T51" fmla="*/ 66 h 123"/>
                  <a:gd name="T52" fmla="*/ 23 w 251"/>
                  <a:gd name="T53" fmla="*/ 56 h 123"/>
                  <a:gd name="T54" fmla="*/ 45 w 251"/>
                  <a:gd name="T55" fmla="*/ 51 h 123"/>
                  <a:gd name="T56" fmla="*/ 53 w 251"/>
                  <a:gd name="T57" fmla="*/ 49 h 123"/>
                  <a:gd name="T58" fmla="*/ 33 w 251"/>
                  <a:gd name="T59" fmla="*/ 49 h 123"/>
                  <a:gd name="T60" fmla="*/ 14 w 251"/>
                  <a:gd name="T61" fmla="*/ 51 h 123"/>
                  <a:gd name="T62" fmla="*/ 12 w 251"/>
                  <a:gd name="T63" fmla="*/ 46 h 123"/>
                  <a:gd name="T64" fmla="*/ 4 w 251"/>
                  <a:gd name="T65" fmla="*/ 35 h 123"/>
                  <a:gd name="T66" fmla="*/ 7 w 251"/>
                  <a:gd name="T67" fmla="*/ 24 h 123"/>
                  <a:gd name="T68" fmla="*/ 26 w 251"/>
                  <a:gd name="T69" fmla="*/ 12 h 123"/>
                  <a:gd name="T70" fmla="*/ 46 w 251"/>
                  <a:gd name="T71" fmla="*/ 5 h 123"/>
                  <a:gd name="T72" fmla="*/ 64 w 251"/>
                  <a:gd name="T73" fmla="*/ 0 h 123"/>
                  <a:gd name="T74" fmla="*/ 68 w 251"/>
                  <a:gd name="T75" fmla="*/ 15 h 123"/>
                  <a:gd name="T76" fmla="*/ 71 w 251"/>
                  <a:gd name="T77" fmla="*/ 18 h 123"/>
                  <a:gd name="T78" fmla="*/ 83 w 251"/>
                  <a:gd name="T79" fmla="*/ 9 h 123"/>
                  <a:gd name="T80" fmla="*/ 104 w 251"/>
                  <a:gd name="T81" fmla="*/ 15 h 123"/>
                  <a:gd name="T82" fmla="*/ 100 w 251"/>
                  <a:gd name="T83" fmla="*/ 28 h 123"/>
                  <a:gd name="T84" fmla="*/ 111 w 251"/>
                  <a:gd name="T85" fmla="*/ 23 h 123"/>
                  <a:gd name="T86" fmla="*/ 125 w 251"/>
                  <a:gd name="T87" fmla="*/ 23 h 123"/>
                  <a:gd name="T88" fmla="*/ 125 w 251"/>
                  <a:gd name="T89" fmla="*/ 17 h 123"/>
                  <a:gd name="T90" fmla="*/ 116 w 251"/>
                  <a:gd name="T91" fmla="*/ 12 h 123"/>
                  <a:gd name="T92" fmla="*/ 131 w 251"/>
                  <a:gd name="T93" fmla="*/ 14 h 123"/>
                  <a:gd name="T94" fmla="*/ 144 w 251"/>
                  <a:gd name="T95" fmla="*/ 22 h 123"/>
                  <a:gd name="T96" fmla="*/ 149 w 251"/>
                  <a:gd name="T97" fmla="*/ 40 h 123"/>
                  <a:gd name="T98" fmla="*/ 162 w 251"/>
                  <a:gd name="T99" fmla="*/ 40 h 123"/>
                  <a:gd name="T100" fmla="*/ 154 w 251"/>
                  <a:gd name="T101" fmla="*/ 23 h 123"/>
                  <a:gd name="T102" fmla="*/ 149 w 251"/>
                  <a:gd name="T103" fmla="*/ 6 h 123"/>
                  <a:gd name="T104" fmla="*/ 160 w 251"/>
                  <a:gd name="T105" fmla="*/ 3 h 123"/>
                  <a:gd name="T106" fmla="*/ 177 w 251"/>
                  <a:gd name="T107" fmla="*/ 7 h 123"/>
                  <a:gd name="T108" fmla="*/ 191 w 251"/>
                  <a:gd name="T109" fmla="*/ 23 h 123"/>
                  <a:gd name="T110" fmla="*/ 199 w 251"/>
                  <a:gd name="T111" fmla="*/ 41 h 123"/>
                  <a:gd name="T112" fmla="*/ 199 w 251"/>
                  <a:gd name="T113" fmla="*/ 58 h 123"/>
                  <a:gd name="T114" fmla="*/ 217 w 251"/>
                  <a:gd name="T115" fmla="*/ 71 h 123"/>
                  <a:gd name="T116" fmla="*/ 227 w 251"/>
                  <a:gd name="T117" fmla="*/ 74 h 123"/>
                  <a:gd name="T118" fmla="*/ 243 w 251"/>
                  <a:gd name="T119" fmla="*/ 8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1" h="123">
                    <a:moveTo>
                      <a:pt x="250" y="85"/>
                    </a:moveTo>
                    <a:lnTo>
                      <a:pt x="250" y="89"/>
                    </a:lnTo>
                    <a:lnTo>
                      <a:pt x="251" y="91"/>
                    </a:lnTo>
                    <a:lnTo>
                      <a:pt x="250" y="93"/>
                    </a:lnTo>
                    <a:lnTo>
                      <a:pt x="244" y="93"/>
                    </a:lnTo>
                    <a:lnTo>
                      <a:pt x="242" y="91"/>
                    </a:lnTo>
                    <a:lnTo>
                      <a:pt x="238" y="93"/>
                    </a:lnTo>
                    <a:lnTo>
                      <a:pt x="236" y="92"/>
                    </a:lnTo>
                    <a:lnTo>
                      <a:pt x="234" y="90"/>
                    </a:lnTo>
                    <a:lnTo>
                      <a:pt x="232" y="90"/>
                    </a:lnTo>
                    <a:lnTo>
                      <a:pt x="228" y="91"/>
                    </a:lnTo>
                    <a:lnTo>
                      <a:pt x="226" y="91"/>
                    </a:lnTo>
                    <a:lnTo>
                      <a:pt x="228" y="94"/>
                    </a:lnTo>
                    <a:lnTo>
                      <a:pt x="226" y="97"/>
                    </a:lnTo>
                    <a:lnTo>
                      <a:pt x="224" y="97"/>
                    </a:lnTo>
                    <a:lnTo>
                      <a:pt x="220" y="95"/>
                    </a:lnTo>
                    <a:lnTo>
                      <a:pt x="218" y="94"/>
                    </a:lnTo>
                    <a:lnTo>
                      <a:pt x="216" y="95"/>
                    </a:lnTo>
                    <a:lnTo>
                      <a:pt x="220" y="98"/>
                    </a:lnTo>
                    <a:lnTo>
                      <a:pt x="221" y="100"/>
                    </a:lnTo>
                    <a:lnTo>
                      <a:pt x="220" y="103"/>
                    </a:lnTo>
                    <a:lnTo>
                      <a:pt x="220" y="106"/>
                    </a:lnTo>
                    <a:lnTo>
                      <a:pt x="221" y="103"/>
                    </a:lnTo>
                    <a:lnTo>
                      <a:pt x="225" y="101"/>
                    </a:lnTo>
                    <a:lnTo>
                      <a:pt x="227" y="100"/>
                    </a:lnTo>
                    <a:lnTo>
                      <a:pt x="229" y="99"/>
                    </a:lnTo>
                    <a:lnTo>
                      <a:pt x="233" y="98"/>
                    </a:lnTo>
                    <a:lnTo>
                      <a:pt x="235" y="99"/>
                    </a:lnTo>
                    <a:lnTo>
                      <a:pt x="234" y="102"/>
                    </a:lnTo>
                    <a:lnTo>
                      <a:pt x="233" y="105"/>
                    </a:lnTo>
                    <a:lnTo>
                      <a:pt x="235" y="103"/>
                    </a:lnTo>
                    <a:lnTo>
                      <a:pt x="238" y="106"/>
                    </a:lnTo>
                    <a:lnTo>
                      <a:pt x="237" y="108"/>
                    </a:lnTo>
                    <a:lnTo>
                      <a:pt x="235" y="110"/>
                    </a:lnTo>
                    <a:lnTo>
                      <a:pt x="233" y="111"/>
                    </a:lnTo>
                    <a:lnTo>
                      <a:pt x="229" y="111"/>
                    </a:lnTo>
                    <a:lnTo>
                      <a:pt x="227" y="114"/>
                    </a:lnTo>
                    <a:lnTo>
                      <a:pt x="221" y="115"/>
                    </a:lnTo>
                    <a:lnTo>
                      <a:pt x="219" y="114"/>
                    </a:lnTo>
                    <a:lnTo>
                      <a:pt x="216" y="115"/>
                    </a:lnTo>
                    <a:lnTo>
                      <a:pt x="213" y="114"/>
                    </a:lnTo>
                    <a:lnTo>
                      <a:pt x="211" y="114"/>
                    </a:lnTo>
                    <a:lnTo>
                      <a:pt x="208" y="114"/>
                    </a:lnTo>
                    <a:lnTo>
                      <a:pt x="205" y="112"/>
                    </a:lnTo>
                    <a:lnTo>
                      <a:pt x="202" y="111"/>
                    </a:lnTo>
                    <a:lnTo>
                      <a:pt x="200" y="114"/>
                    </a:lnTo>
                    <a:lnTo>
                      <a:pt x="196" y="114"/>
                    </a:lnTo>
                    <a:lnTo>
                      <a:pt x="194" y="112"/>
                    </a:lnTo>
                    <a:lnTo>
                      <a:pt x="191" y="110"/>
                    </a:lnTo>
                    <a:lnTo>
                      <a:pt x="194" y="108"/>
                    </a:lnTo>
                    <a:lnTo>
                      <a:pt x="191" y="108"/>
                    </a:lnTo>
                    <a:lnTo>
                      <a:pt x="188" y="108"/>
                    </a:lnTo>
                    <a:lnTo>
                      <a:pt x="186" y="106"/>
                    </a:lnTo>
                    <a:lnTo>
                      <a:pt x="183" y="106"/>
                    </a:lnTo>
                    <a:lnTo>
                      <a:pt x="181" y="106"/>
                    </a:lnTo>
                    <a:lnTo>
                      <a:pt x="177" y="107"/>
                    </a:lnTo>
                    <a:lnTo>
                      <a:pt x="175" y="105"/>
                    </a:lnTo>
                    <a:lnTo>
                      <a:pt x="176" y="102"/>
                    </a:lnTo>
                    <a:lnTo>
                      <a:pt x="174" y="99"/>
                    </a:lnTo>
                    <a:lnTo>
                      <a:pt x="171" y="98"/>
                    </a:lnTo>
                    <a:lnTo>
                      <a:pt x="169" y="101"/>
                    </a:lnTo>
                    <a:lnTo>
                      <a:pt x="167" y="102"/>
                    </a:lnTo>
                    <a:lnTo>
                      <a:pt x="167" y="106"/>
                    </a:lnTo>
                    <a:lnTo>
                      <a:pt x="164" y="107"/>
                    </a:lnTo>
                    <a:lnTo>
                      <a:pt x="161" y="109"/>
                    </a:lnTo>
                    <a:lnTo>
                      <a:pt x="159" y="110"/>
                    </a:lnTo>
                    <a:lnTo>
                      <a:pt x="156" y="110"/>
                    </a:lnTo>
                    <a:lnTo>
                      <a:pt x="153" y="111"/>
                    </a:lnTo>
                    <a:lnTo>
                      <a:pt x="150" y="111"/>
                    </a:lnTo>
                    <a:lnTo>
                      <a:pt x="148" y="111"/>
                    </a:lnTo>
                    <a:lnTo>
                      <a:pt x="144" y="114"/>
                    </a:lnTo>
                    <a:lnTo>
                      <a:pt x="142" y="115"/>
                    </a:lnTo>
                    <a:lnTo>
                      <a:pt x="139" y="116"/>
                    </a:lnTo>
                    <a:lnTo>
                      <a:pt x="136" y="117"/>
                    </a:lnTo>
                    <a:lnTo>
                      <a:pt x="134" y="117"/>
                    </a:lnTo>
                    <a:lnTo>
                      <a:pt x="131" y="118"/>
                    </a:lnTo>
                    <a:lnTo>
                      <a:pt x="128" y="118"/>
                    </a:lnTo>
                    <a:lnTo>
                      <a:pt x="125" y="119"/>
                    </a:lnTo>
                    <a:lnTo>
                      <a:pt x="123" y="118"/>
                    </a:lnTo>
                    <a:lnTo>
                      <a:pt x="119" y="119"/>
                    </a:lnTo>
                    <a:lnTo>
                      <a:pt x="117" y="119"/>
                    </a:lnTo>
                    <a:lnTo>
                      <a:pt x="115" y="120"/>
                    </a:lnTo>
                    <a:lnTo>
                      <a:pt x="111" y="119"/>
                    </a:lnTo>
                    <a:lnTo>
                      <a:pt x="109" y="120"/>
                    </a:lnTo>
                    <a:lnTo>
                      <a:pt x="106" y="120"/>
                    </a:lnTo>
                    <a:lnTo>
                      <a:pt x="109" y="122"/>
                    </a:lnTo>
                    <a:lnTo>
                      <a:pt x="106" y="122"/>
                    </a:lnTo>
                    <a:lnTo>
                      <a:pt x="104" y="120"/>
                    </a:lnTo>
                    <a:lnTo>
                      <a:pt x="94" y="122"/>
                    </a:lnTo>
                    <a:lnTo>
                      <a:pt x="92" y="122"/>
                    </a:lnTo>
                    <a:lnTo>
                      <a:pt x="90" y="122"/>
                    </a:lnTo>
                    <a:lnTo>
                      <a:pt x="87" y="123"/>
                    </a:lnTo>
                    <a:lnTo>
                      <a:pt x="84" y="123"/>
                    </a:lnTo>
                    <a:lnTo>
                      <a:pt x="81" y="120"/>
                    </a:lnTo>
                    <a:lnTo>
                      <a:pt x="79" y="119"/>
                    </a:lnTo>
                    <a:lnTo>
                      <a:pt x="76" y="116"/>
                    </a:lnTo>
                    <a:lnTo>
                      <a:pt x="76" y="114"/>
                    </a:lnTo>
                    <a:lnTo>
                      <a:pt x="76" y="110"/>
                    </a:lnTo>
                    <a:lnTo>
                      <a:pt x="75" y="108"/>
                    </a:lnTo>
                    <a:lnTo>
                      <a:pt x="76" y="106"/>
                    </a:lnTo>
                    <a:lnTo>
                      <a:pt x="74" y="105"/>
                    </a:lnTo>
                    <a:lnTo>
                      <a:pt x="71" y="103"/>
                    </a:lnTo>
                    <a:lnTo>
                      <a:pt x="68" y="103"/>
                    </a:lnTo>
                    <a:lnTo>
                      <a:pt x="65" y="103"/>
                    </a:lnTo>
                    <a:lnTo>
                      <a:pt x="63" y="103"/>
                    </a:lnTo>
                    <a:lnTo>
                      <a:pt x="59" y="103"/>
                    </a:lnTo>
                    <a:lnTo>
                      <a:pt x="57" y="103"/>
                    </a:lnTo>
                    <a:lnTo>
                      <a:pt x="55" y="105"/>
                    </a:lnTo>
                    <a:lnTo>
                      <a:pt x="51" y="103"/>
                    </a:lnTo>
                    <a:lnTo>
                      <a:pt x="49" y="103"/>
                    </a:lnTo>
                    <a:lnTo>
                      <a:pt x="46" y="103"/>
                    </a:lnTo>
                    <a:lnTo>
                      <a:pt x="43" y="102"/>
                    </a:lnTo>
                    <a:lnTo>
                      <a:pt x="41" y="101"/>
                    </a:lnTo>
                    <a:lnTo>
                      <a:pt x="38" y="100"/>
                    </a:lnTo>
                    <a:lnTo>
                      <a:pt x="36" y="100"/>
                    </a:lnTo>
                    <a:lnTo>
                      <a:pt x="33" y="97"/>
                    </a:lnTo>
                    <a:lnTo>
                      <a:pt x="31" y="94"/>
                    </a:lnTo>
                    <a:lnTo>
                      <a:pt x="29" y="93"/>
                    </a:lnTo>
                    <a:lnTo>
                      <a:pt x="25" y="91"/>
                    </a:lnTo>
                    <a:lnTo>
                      <a:pt x="25" y="89"/>
                    </a:lnTo>
                    <a:lnTo>
                      <a:pt x="23" y="85"/>
                    </a:lnTo>
                    <a:lnTo>
                      <a:pt x="24" y="84"/>
                    </a:lnTo>
                    <a:lnTo>
                      <a:pt x="28" y="83"/>
                    </a:lnTo>
                    <a:lnTo>
                      <a:pt x="30" y="83"/>
                    </a:lnTo>
                    <a:lnTo>
                      <a:pt x="33" y="82"/>
                    </a:lnTo>
                    <a:lnTo>
                      <a:pt x="38" y="81"/>
                    </a:lnTo>
                    <a:lnTo>
                      <a:pt x="41" y="81"/>
                    </a:lnTo>
                    <a:lnTo>
                      <a:pt x="43" y="80"/>
                    </a:lnTo>
                    <a:lnTo>
                      <a:pt x="47" y="80"/>
                    </a:lnTo>
                    <a:lnTo>
                      <a:pt x="49" y="80"/>
                    </a:lnTo>
                    <a:lnTo>
                      <a:pt x="53" y="78"/>
                    </a:lnTo>
                    <a:lnTo>
                      <a:pt x="55" y="78"/>
                    </a:lnTo>
                    <a:lnTo>
                      <a:pt x="58" y="78"/>
                    </a:lnTo>
                    <a:lnTo>
                      <a:pt x="60" y="78"/>
                    </a:lnTo>
                    <a:lnTo>
                      <a:pt x="64" y="78"/>
                    </a:lnTo>
                    <a:lnTo>
                      <a:pt x="66" y="77"/>
                    </a:lnTo>
                    <a:lnTo>
                      <a:pt x="68" y="78"/>
                    </a:lnTo>
                    <a:lnTo>
                      <a:pt x="72" y="78"/>
                    </a:lnTo>
                    <a:lnTo>
                      <a:pt x="74" y="78"/>
                    </a:lnTo>
                    <a:lnTo>
                      <a:pt x="77" y="78"/>
                    </a:lnTo>
                    <a:lnTo>
                      <a:pt x="80" y="78"/>
                    </a:lnTo>
                    <a:lnTo>
                      <a:pt x="83" y="80"/>
                    </a:lnTo>
                    <a:lnTo>
                      <a:pt x="85" y="80"/>
                    </a:lnTo>
                    <a:lnTo>
                      <a:pt x="89" y="81"/>
                    </a:lnTo>
                    <a:lnTo>
                      <a:pt x="91" y="80"/>
                    </a:lnTo>
                    <a:lnTo>
                      <a:pt x="94" y="78"/>
                    </a:lnTo>
                    <a:lnTo>
                      <a:pt x="97" y="78"/>
                    </a:lnTo>
                    <a:lnTo>
                      <a:pt x="99" y="78"/>
                    </a:lnTo>
                    <a:lnTo>
                      <a:pt x="102" y="78"/>
                    </a:lnTo>
                    <a:lnTo>
                      <a:pt x="105" y="77"/>
                    </a:lnTo>
                    <a:lnTo>
                      <a:pt x="102" y="77"/>
                    </a:lnTo>
                    <a:lnTo>
                      <a:pt x="99" y="76"/>
                    </a:lnTo>
                    <a:lnTo>
                      <a:pt x="98" y="76"/>
                    </a:lnTo>
                    <a:lnTo>
                      <a:pt x="96" y="73"/>
                    </a:lnTo>
                    <a:lnTo>
                      <a:pt x="92" y="73"/>
                    </a:lnTo>
                    <a:lnTo>
                      <a:pt x="90" y="73"/>
                    </a:lnTo>
                    <a:lnTo>
                      <a:pt x="87" y="72"/>
                    </a:lnTo>
                    <a:lnTo>
                      <a:pt x="84" y="72"/>
                    </a:lnTo>
                    <a:lnTo>
                      <a:pt x="82" y="71"/>
                    </a:lnTo>
                    <a:lnTo>
                      <a:pt x="79" y="69"/>
                    </a:lnTo>
                    <a:lnTo>
                      <a:pt x="76" y="69"/>
                    </a:lnTo>
                    <a:lnTo>
                      <a:pt x="73" y="68"/>
                    </a:lnTo>
                    <a:lnTo>
                      <a:pt x="71" y="68"/>
                    </a:lnTo>
                    <a:lnTo>
                      <a:pt x="67" y="69"/>
                    </a:lnTo>
                    <a:lnTo>
                      <a:pt x="65" y="69"/>
                    </a:lnTo>
                    <a:lnTo>
                      <a:pt x="62" y="71"/>
                    </a:lnTo>
                    <a:lnTo>
                      <a:pt x="59" y="71"/>
                    </a:lnTo>
                    <a:lnTo>
                      <a:pt x="56" y="71"/>
                    </a:lnTo>
                    <a:lnTo>
                      <a:pt x="51" y="71"/>
                    </a:lnTo>
                    <a:lnTo>
                      <a:pt x="48" y="71"/>
                    </a:lnTo>
                    <a:lnTo>
                      <a:pt x="46" y="71"/>
                    </a:lnTo>
                    <a:lnTo>
                      <a:pt x="42" y="72"/>
                    </a:lnTo>
                    <a:lnTo>
                      <a:pt x="40" y="71"/>
                    </a:lnTo>
                    <a:lnTo>
                      <a:pt x="37" y="71"/>
                    </a:lnTo>
                    <a:lnTo>
                      <a:pt x="34" y="71"/>
                    </a:lnTo>
                    <a:lnTo>
                      <a:pt x="32" y="71"/>
                    </a:lnTo>
                    <a:lnTo>
                      <a:pt x="29" y="71"/>
                    </a:lnTo>
                    <a:lnTo>
                      <a:pt x="26" y="71"/>
                    </a:lnTo>
                    <a:lnTo>
                      <a:pt x="23" y="71"/>
                    </a:lnTo>
                    <a:lnTo>
                      <a:pt x="21" y="71"/>
                    </a:lnTo>
                    <a:lnTo>
                      <a:pt x="19" y="67"/>
                    </a:lnTo>
                    <a:lnTo>
                      <a:pt x="16" y="66"/>
                    </a:lnTo>
                    <a:lnTo>
                      <a:pt x="13" y="65"/>
                    </a:lnTo>
                    <a:lnTo>
                      <a:pt x="11" y="61"/>
                    </a:lnTo>
                    <a:lnTo>
                      <a:pt x="13" y="59"/>
                    </a:lnTo>
                    <a:lnTo>
                      <a:pt x="15" y="58"/>
                    </a:lnTo>
                    <a:lnTo>
                      <a:pt x="17" y="57"/>
                    </a:lnTo>
                    <a:lnTo>
                      <a:pt x="21" y="57"/>
                    </a:lnTo>
                    <a:lnTo>
                      <a:pt x="23" y="56"/>
                    </a:lnTo>
                    <a:lnTo>
                      <a:pt x="26" y="56"/>
                    </a:lnTo>
                    <a:lnTo>
                      <a:pt x="32" y="55"/>
                    </a:lnTo>
                    <a:lnTo>
                      <a:pt x="33" y="54"/>
                    </a:lnTo>
                    <a:lnTo>
                      <a:pt x="36" y="52"/>
                    </a:lnTo>
                    <a:lnTo>
                      <a:pt x="39" y="52"/>
                    </a:lnTo>
                    <a:lnTo>
                      <a:pt x="41" y="52"/>
                    </a:lnTo>
                    <a:lnTo>
                      <a:pt x="45" y="51"/>
                    </a:lnTo>
                    <a:lnTo>
                      <a:pt x="41" y="50"/>
                    </a:lnTo>
                    <a:lnTo>
                      <a:pt x="45" y="49"/>
                    </a:lnTo>
                    <a:lnTo>
                      <a:pt x="47" y="49"/>
                    </a:lnTo>
                    <a:lnTo>
                      <a:pt x="50" y="49"/>
                    </a:lnTo>
                    <a:lnTo>
                      <a:pt x="53" y="49"/>
                    </a:lnTo>
                    <a:lnTo>
                      <a:pt x="56" y="48"/>
                    </a:lnTo>
                    <a:lnTo>
                      <a:pt x="53" y="49"/>
                    </a:lnTo>
                    <a:lnTo>
                      <a:pt x="50" y="48"/>
                    </a:lnTo>
                    <a:lnTo>
                      <a:pt x="47" y="47"/>
                    </a:lnTo>
                    <a:lnTo>
                      <a:pt x="45" y="48"/>
                    </a:lnTo>
                    <a:lnTo>
                      <a:pt x="42" y="48"/>
                    </a:lnTo>
                    <a:lnTo>
                      <a:pt x="39" y="49"/>
                    </a:lnTo>
                    <a:lnTo>
                      <a:pt x="37" y="49"/>
                    </a:lnTo>
                    <a:lnTo>
                      <a:pt x="33" y="49"/>
                    </a:lnTo>
                    <a:lnTo>
                      <a:pt x="31" y="50"/>
                    </a:lnTo>
                    <a:lnTo>
                      <a:pt x="28" y="50"/>
                    </a:lnTo>
                    <a:lnTo>
                      <a:pt x="25" y="51"/>
                    </a:lnTo>
                    <a:lnTo>
                      <a:pt x="23" y="50"/>
                    </a:lnTo>
                    <a:lnTo>
                      <a:pt x="20" y="51"/>
                    </a:lnTo>
                    <a:lnTo>
                      <a:pt x="17" y="51"/>
                    </a:lnTo>
                    <a:lnTo>
                      <a:pt x="14" y="51"/>
                    </a:lnTo>
                    <a:lnTo>
                      <a:pt x="12" y="49"/>
                    </a:lnTo>
                    <a:lnTo>
                      <a:pt x="14" y="48"/>
                    </a:lnTo>
                    <a:lnTo>
                      <a:pt x="17" y="48"/>
                    </a:lnTo>
                    <a:lnTo>
                      <a:pt x="20" y="47"/>
                    </a:lnTo>
                    <a:lnTo>
                      <a:pt x="17" y="45"/>
                    </a:lnTo>
                    <a:lnTo>
                      <a:pt x="14" y="45"/>
                    </a:lnTo>
                    <a:lnTo>
                      <a:pt x="12" y="46"/>
                    </a:lnTo>
                    <a:lnTo>
                      <a:pt x="10" y="45"/>
                    </a:lnTo>
                    <a:lnTo>
                      <a:pt x="6" y="45"/>
                    </a:lnTo>
                    <a:lnTo>
                      <a:pt x="4" y="47"/>
                    </a:lnTo>
                    <a:lnTo>
                      <a:pt x="0" y="43"/>
                    </a:lnTo>
                    <a:lnTo>
                      <a:pt x="0" y="41"/>
                    </a:lnTo>
                    <a:lnTo>
                      <a:pt x="0" y="39"/>
                    </a:lnTo>
                    <a:lnTo>
                      <a:pt x="4" y="35"/>
                    </a:lnTo>
                    <a:lnTo>
                      <a:pt x="6" y="33"/>
                    </a:lnTo>
                    <a:lnTo>
                      <a:pt x="8" y="31"/>
                    </a:lnTo>
                    <a:lnTo>
                      <a:pt x="12" y="31"/>
                    </a:lnTo>
                    <a:lnTo>
                      <a:pt x="14" y="30"/>
                    </a:lnTo>
                    <a:lnTo>
                      <a:pt x="13" y="26"/>
                    </a:lnTo>
                    <a:lnTo>
                      <a:pt x="11" y="26"/>
                    </a:lnTo>
                    <a:lnTo>
                      <a:pt x="7" y="24"/>
                    </a:lnTo>
                    <a:lnTo>
                      <a:pt x="11" y="22"/>
                    </a:lnTo>
                    <a:lnTo>
                      <a:pt x="13" y="20"/>
                    </a:lnTo>
                    <a:lnTo>
                      <a:pt x="16" y="18"/>
                    </a:lnTo>
                    <a:lnTo>
                      <a:pt x="19" y="16"/>
                    </a:lnTo>
                    <a:lnTo>
                      <a:pt x="21" y="15"/>
                    </a:lnTo>
                    <a:lnTo>
                      <a:pt x="24" y="13"/>
                    </a:lnTo>
                    <a:lnTo>
                      <a:pt x="26" y="12"/>
                    </a:lnTo>
                    <a:lnTo>
                      <a:pt x="30" y="11"/>
                    </a:lnTo>
                    <a:lnTo>
                      <a:pt x="32" y="9"/>
                    </a:lnTo>
                    <a:lnTo>
                      <a:pt x="36" y="8"/>
                    </a:lnTo>
                    <a:lnTo>
                      <a:pt x="38" y="8"/>
                    </a:lnTo>
                    <a:lnTo>
                      <a:pt x="40" y="6"/>
                    </a:lnTo>
                    <a:lnTo>
                      <a:pt x="43" y="6"/>
                    </a:lnTo>
                    <a:lnTo>
                      <a:pt x="46" y="5"/>
                    </a:lnTo>
                    <a:lnTo>
                      <a:pt x="49" y="5"/>
                    </a:lnTo>
                    <a:lnTo>
                      <a:pt x="51" y="4"/>
                    </a:lnTo>
                    <a:lnTo>
                      <a:pt x="55" y="3"/>
                    </a:lnTo>
                    <a:lnTo>
                      <a:pt x="57" y="1"/>
                    </a:lnTo>
                    <a:lnTo>
                      <a:pt x="59" y="0"/>
                    </a:lnTo>
                    <a:lnTo>
                      <a:pt x="62" y="0"/>
                    </a:lnTo>
                    <a:lnTo>
                      <a:pt x="64" y="0"/>
                    </a:lnTo>
                    <a:lnTo>
                      <a:pt x="67" y="1"/>
                    </a:lnTo>
                    <a:lnTo>
                      <a:pt x="70" y="4"/>
                    </a:lnTo>
                    <a:lnTo>
                      <a:pt x="71" y="6"/>
                    </a:lnTo>
                    <a:lnTo>
                      <a:pt x="71" y="9"/>
                    </a:lnTo>
                    <a:lnTo>
                      <a:pt x="70" y="12"/>
                    </a:lnTo>
                    <a:lnTo>
                      <a:pt x="71" y="15"/>
                    </a:lnTo>
                    <a:lnTo>
                      <a:pt x="68" y="15"/>
                    </a:lnTo>
                    <a:lnTo>
                      <a:pt x="66" y="16"/>
                    </a:lnTo>
                    <a:lnTo>
                      <a:pt x="65" y="18"/>
                    </a:lnTo>
                    <a:lnTo>
                      <a:pt x="63" y="20"/>
                    </a:lnTo>
                    <a:lnTo>
                      <a:pt x="63" y="21"/>
                    </a:lnTo>
                    <a:lnTo>
                      <a:pt x="65" y="22"/>
                    </a:lnTo>
                    <a:lnTo>
                      <a:pt x="67" y="21"/>
                    </a:lnTo>
                    <a:lnTo>
                      <a:pt x="71" y="18"/>
                    </a:lnTo>
                    <a:lnTo>
                      <a:pt x="73" y="20"/>
                    </a:lnTo>
                    <a:lnTo>
                      <a:pt x="76" y="20"/>
                    </a:lnTo>
                    <a:lnTo>
                      <a:pt x="79" y="17"/>
                    </a:lnTo>
                    <a:lnTo>
                      <a:pt x="76" y="16"/>
                    </a:lnTo>
                    <a:lnTo>
                      <a:pt x="77" y="14"/>
                    </a:lnTo>
                    <a:lnTo>
                      <a:pt x="81" y="11"/>
                    </a:lnTo>
                    <a:lnTo>
                      <a:pt x="83" y="9"/>
                    </a:lnTo>
                    <a:lnTo>
                      <a:pt x="87" y="9"/>
                    </a:lnTo>
                    <a:lnTo>
                      <a:pt x="89" y="11"/>
                    </a:lnTo>
                    <a:lnTo>
                      <a:pt x="91" y="12"/>
                    </a:lnTo>
                    <a:lnTo>
                      <a:pt x="94" y="13"/>
                    </a:lnTo>
                    <a:lnTo>
                      <a:pt x="97" y="13"/>
                    </a:lnTo>
                    <a:lnTo>
                      <a:pt x="100" y="14"/>
                    </a:lnTo>
                    <a:lnTo>
                      <a:pt x="104" y="15"/>
                    </a:lnTo>
                    <a:lnTo>
                      <a:pt x="106" y="16"/>
                    </a:lnTo>
                    <a:lnTo>
                      <a:pt x="108" y="17"/>
                    </a:lnTo>
                    <a:lnTo>
                      <a:pt x="108" y="18"/>
                    </a:lnTo>
                    <a:lnTo>
                      <a:pt x="108" y="21"/>
                    </a:lnTo>
                    <a:lnTo>
                      <a:pt x="106" y="23"/>
                    </a:lnTo>
                    <a:lnTo>
                      <a:pt x="102" y="25"/>
                    </a:lnTo>
                    <a:lnTo>
                      <a:pt x="100" y="28"/>
                    </a:lnTo>
                    <a:lnTo>
                      <a:pt x="102" y="28"/>
                    </a:lnTo>
                    <a:lnTo>
                      <a:pt x="101" y="30"/>
                    </a:lnTo>
                    <a:lnTo>
                      <a:pt x="104" y="28"/>
                    </a:lnTo>
                    <a:lnTo>
                      <a:pt x="105" y="25"/>
                    </a:lnTo>
                    <a:lnTo>
                      <a:pt x="108" y="26"/>
                    </a:lnTo>
                    <a:lnTo>
                      <a:pt x="110" y="26"/>
                    </a:lnTo>
                    <a:lnTo>
                      <a:pt x="111" y="23"/>
                    </a:lnTo>
                    <a:lnTo>
                      <a:pt x="115" y="22"/>
                    </a:lnTo>
                    <a:lnTo>
                      <a:pt x="117" y="23"/>
                    </a:lnTo>
                    <a:lnTo>
                      <a:pt x="121" y="24"/>
                    </a:lnTo>
                    <a:lnTo>
                      <a:pt x="121" y="22"/>
                    </a:lnTo>
                    <a:lnTo>
                      <a:pt x="125" y="24"/>
                    </a:lnTo>
                    <a:lnTo>
                      <a:pt x="128" y="24"/>
                    </a:lnTo>
                    <a:lnTo>
                      <a:pt x="125" y="23"/>
                    </a:lnTo>
                    <a:lnTo>
                      <a:pt x="123" y="21"/>
                    </a:lnTo>
                    <a:lnTo>
                      <a:pt x="125" y="22"/>
                    </a:lnTo>
                    <a:lnTo>
                      <a:pt x="128" y="23"/>
                    </a:lnTo>
                    <a:lnTo>
                      <a:pt x="125" y="20"/>
                    </a:lnTo>
                    <a:lnTo>
                      <a:pt x="125" y="20"/>
                    </a:lnTo>
                    <a:lnTo>
                      <a:pt x="123" y="17"/>
                    </a:lnTo>
                    <a:lnTo>
                      <a:pt x="125" y="17"/>
                    </a:lnTo>
                    <a:lnTo>
                      <a:pt x="125" y="17"/>
                    </a:lnTo>
                    <a:lnTo>
                      <a:pt x="128" y="17"/>
                    </a:lnTo>
                    <a:lnTo>
                      <a:pt x="125" y="16"/>
                    </a:lnTo>
                    <a:lnTo>
                      <a:pt x="124" y="16"/>
                    </a:lnTo>
                    <a:lnTo>
                      <a:pt x="121" y="14"/>
                    </a:lnTo>
                    <a:lnTo>
                      <a:pt x="118" y="14"/>
                    </a:lnTo>
                    <a:lnTo>
                      <a:pt x="116" y="12"/>
                    </a:lnTo>
                    <a:lnTo>
                      <a:pt x="117" y="9"/>
                    </a:lnTo>
                    <a:lnTo>
                      <a:pt x="119" y="9"/>
                    </a:lnTo>
                    <a:lnTo>
                      <a:pt x="123" y="9"/>
                    </a:lnTo>
                    <a:lnTo>
                      <a:pt x="125" y="11"/>
                    </a:lnTo>
                    <a:lnTo>
                      <a:pt x="127" y="11"/>
                    </a:lnTo>
                    <a:lnTo>
                      <a:pt x="130" y="12"/>
                    </a:lnTo>
                    <a:lnTo>
                      <a:pt x="131" y="14"/>
                    </a:lnTo>
                    <a:lnTo>
                      <a:pt x="134" y="16"/>
                    </a:lnTo>
                    <a:lnTo>
                      <a:pt x="136" y="16"/>
                    </a:lnTo>
                    <a:lnTo>
                      <a:pt x="136" y="17"/>
                    </a:lnTo>
                    <a:lnTo>
                      <a:pt x="140" y="18"/>
                    </a:lnTo>
                    <a:lnTo>
                      <a:pt x="139" y="21"/>
                    </a:lnTo>
                    <a:lnTo>
                      <a:pt x="142" y="21"/>
                    </a:lnTo>
                    <a:lnTo>
                      <a:pt x="144" y="22"/>
                    </a:lnTo>
                    <a:lnTo>
                      <a:pt x="144" y="25"/>
                    </a:lnTo>
                    <a:lnTo>
                      <a:pt x="144" y="28"/>
                    </a:lnTo>
                    <a:lnTo>
                      <a:pt x="145" y="31"/>
                    </a:lnTo>
                    <a:lnTo>
                      <a:pt x="147" y="33"/>
                    </a:lnTo>
                    <a:lnTo>
                      <a:pt x="147" y="35"/>
                    </a:lnTo>
                    <a:lnTo>
                      <a:pt x="150" y="38"/>
                    </a:lnTo>
                    <a:lnTo>
                      <a:pt x="149" y="40"/>
                    </a:lnTo>
                    <a:lnTo>
                      <a:pt x="150" y="43"/>
                    </a:lnTo>
                    <a:lnTo>
                      <a:pt x="152" y="43"/>
                    </a:lnTo>
                    <a:lnTo>
                      <a:pt x="156" y="46"/>
                    </a:lnTo>
                    <a:lnTo>
                      <a:pt x="154" y="43"/>
                    </a:lnTo>
                    <a:lnTo>
                      <a:pt x="158" y="42"/>
                    </a:lnTo>
                    <a:lnTo>
                      <a:pt x="160" y="41"/>
                    </a:lnTo>
                    <a:lnTo>
                      <a:pt x="162" y="40"/>
                    </a:lnTo>
                    <a:lnTo>
                      <a:pt x="161" y="38"/>
                    </a:lnTo>
                    <a:lnTo>
                      <a:pt x="159" y="35"/>
                    </a:lnTo>
                    <a:lnTo>
                      <a:pt x="158" y="33"/>
                    </a:lnTo>
                    <a:lnTo>
                      <a:pt x="156" y="31"/>
                    </a:lnTo>
                    <a:lnTo>
                      <a:pt x="157" y="28"/>
                    </a:lnTo>
                    <a:lnTo>
                      <a:pt x="154" y="25"/>
                    </a:lnTo>
                    <a:lnTo>
                      <a:pt x="154" y="23"/>
                    </a:lnTo>
                    <a:lnTo>
                      <a:pt x="152" y="20"/>
                    </a:lnTo>
                    <a:lnTo>
                      <a:pt x="152" y="17"/>
                    </a:lnTo>
                    <a:lnTo>
                      <a:pt x="151" y="16"/>
                    </a:lnTo>
                    <a:lnTo>
                      <a:pt x="151" y="14"/>
                    </a:lnTo>
                    <a:lnTo>
                      <a:pt x="150" y="11"/>
                    </a:lnTo>
                    <a:lnTo>
                      <a:pt x="151" y="8"/>
                    </a:lnTo>
                    <a:lnTo>
                      <a:pt x="149" y="6"/>
                    </a:lnTo>
                    <a:lnTo>
                      <a:pt x="151" y="5"/>
                    </a:lnTo>
                    <a:lnTo>
                      <a:pt x="154" y="5"/>
                    </a:lnTo>
                    <a:lnTo>
                      <a:pt x="151" y="4"/>
                    </a:lnTo>
                    <a:lnTo>
                      <a:pt x="152" y="0"/>
                    </a:lnTo>
                    <a:lnTo>
                      <a:pt x="156" y="1"/>
                    </a:lnTo>
                    <a:lnTo>
                      <a:pt x="158" y="1"/>
                    </a:lnTo>
                    <a:lnTo>
                      <a:pt x="160" y="3"/>
                    </a:lnTo>
                    <a:lnTo>
                      <a:pt x="164" y="5"/>
                    </a:lnTo>
                    <a:lnTo>
                      <a:pt x="166" y="5"/>
                    </a:lnTo>
                    <a:lnTo>
                      <a:pt x="166" y="1"/>
                    </a:lnTo>
                    <a:lnTo>
                      <a:pt x="168" y="1"/>
                    </a:lnTo>
                    <a:lnTo>
                      <a:pt x="171" y="4"/>
                    </a:lnTo>
                    <a:lnTo>
                      <a:pt x="174" y="5"/>
                    </a:lnTo>
                    <a:lnTo>
                      <a:pt x="177" y="7"/>
                    </a:lnTo>
                    <a:lnTo>
                      <a:pt x="179" y="8"/>
                    </a:lnTo>
                    <a:lnTo>
                      <a:pt x="183" y="9"/>
                    </a:lnTo>
                    <a:lnTo>
                      <a:pt x="185" y="12"/>
                    </a:lnTo>
                    <a:lnTo>
                      <a:pt x="187" y="14"/>
                    </a:lnTo>
                    <a:lnTo>
                      <a:pt x="187" y="17"/>
                    </a:lnTo>
                    <a:lnTo>
                      <a:pt x="190" y="20"/>
                    </a:lnTo>
                    <a:lnTo>
                      <a:pt x="191" y="23"/>
                    </a:lnTo>
                    <a:lnTo>
                      <a:pt x="191" y="25"/>
                    </a:lnTo>
                    <a:lnTo>
                      <a:pt x="192" y="28"/>
                    </a:lnTo>
                    <a:lnTo>
                      <a:pt x="194" y="31"/>
                    </a:lnTo>
                    <a:lnTo>
                      <a:pt x="194" y="33"/>
                    </a:lnTo>
                    <a:lnTo>
                      <a:pt x="195" y="37"/>
                    </a:lnTo>
                    <a:lnTo>
                      <a:pt x="196" y="39"/>
                    </a:lnTo>
                    <a:lnTo>
                      <a:pt x="199" y="41"/>
                    </a:lnTo>
                    <a:lnTo>
                      <a:pt x="201" y="45"/>
                    </a:lnTo>
                    <a:lnTo>
                      <a:pt x="202" y="47"/>
                    </a:lnTo>
                    <a:lnTo>
                      <a:pt x="203" y="49"/>
                    </a:lnTo>
                    <a:lnTo>
                      <a:pt x="203" y="52"/>
                    </a:lnTo>
                    <a:lnTo>
                      <a:pt x="201" y="54"/>
                    </a:lnTo>
                    <a:lnTo>
                      <a:pt x="201" y="56"/>
                    </a:lnTo>
                    <a:lnTo>
                      <a:pt x="199" y="58"/>
                    </a:lnTo>
                    <a:lnTo>
                      <a:pt x="202" y="61"/>
                    </a:lnTo>
                    <a:lnTo>
                      <a:pt x="204" y="61"/>
                    </a:lnTo>
                    <a:lnTo>
                      <a:pt x="207" y="65"/>
                    </a:lnTo>
                    <a:lnTo>
                      <a:pt x="209" y="67"/>
                    </a:lnTo>
                    <a:lnTo>
                      <a:pt x="211" y="68"/>
                    </a:lnTo>
                    <a:lnTo>
                      <a:pt x="215" y="71"/>
                    </a:lnTo>
                    <a:lnTo>
                      <a:pt x="217" y="71"/>
                    </a:lnTo>
                    <a:lnTo>
                      <a:pt x="220" y="73"/>
                    </a:lnTo>
                    <a:lnTo>
                      <a:pt x="222" y="73"/>
                    </a:lnTo>
                    <a:lnTo>
                      <a:pt x="220" y="72"/>
                    </a:lnTo>
                    <a:lnTo>
                      <a:pt x="219" y="69"/>
                    </a:lnTo>
                    <a:lnTo>
                      <a:pt x="222" y="71"/>
                    </a:lnTo>
                    <a:lnTo>
                      <a:pt x="224" y="74"/>
                    </a:lnTo>
                    <a:lnTo>
                      <a:pt x="227" y="74"/>
                    </a:lnTo>
                    <a:lnTo>
                      <a:pt x="229" y="75"/>
                    </a:lnTo>
                    <a:lnTo>
                      <a:pt x="233" y="77"/>
                    </a:lnTo>
                    <a:lnTo>
                      <a:pt x="235" y="78"/>
                    </a:lnTo>
                    <a:lnTo>
                      <a:pt x="237" y="78"/>
                    </a:lnTo>
                    <a:lnTo>
                      <a:pt x="241" y="80"/>
                    </a:lnTo>
                    <a:lnTo>
                      <a:pt x="241" y="82"/>
                    </a:lnTo>
                    <a:lnTo>
                      <a:pt x="243" y="82"/>
                    </a:lnTo>
                    <a:lnTo>
                      <a:pt x="246" y="82"/>
                    </a:lnTo>
                    <a:lnTo>
                      <a:pt x="249" y="83"/>
                    </a:lnTo>
                    <a:lnTo>
                      <a:pt x="250" y="85"/>
                    </a:lnTo>
                    <a:lnTo>
                      <a:pt x="25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36" name="Freeform 232">
                <a:extLst>
                  <a:ext uri="{FF2B5EF4-FFF2-40B4-BE49-F238E27FC236}">
                    <a16:creationId xmlns:a16="http://schemas.microsoft.com/office/drawing/2014/main" id="{B0496312-5E91-FCB9-009E-708E26448493}"/>
                  </a:ext>
                </a:extLst>
              </p:cNvPr>
              <p:cNvSpPr>
                <a:spLocks noEditPoints="1"/>
              </p:cNvSpPr>
              <p:nvPr/>
            </p:nvSpPr>
            <p:spPr bwMode="auto">
              <a:xfrm>
                <a:off x="3743325" y="2311400"/>
                <a:ext cx="450850" cy="188913"/>
              </a:xfrm>
              <a:custGeom>
                <a:avLst/>
                <a:gdLst>
                  <a:gd name="T0" fmla="*/ 235 w 284"/>
                  <a:gd name="T1" fmla="*/ 46 h 119"/>
                  <a:gd name="T2" fmla="*/ 229 w 284"/>
                  <a:gd name="T3" fmla="*/ 57 h 119"/>
                  <a:gd name="T4" fmla="*/ 238 w 284"/>
                  <a:gd name="T5" fmla="*/ 59 h 119"/>
                  <a:gd name="T6" fmla="*/ 227 w 284"/>
                  <a:gd name="T7" fmla="*/ 62 h 119"/>
                  <a:gd name="T8" fmla="*/ 220 w 284"/>
                  <a:gd name="T9" fmla="*/ 71 h 119"/>
                  <a:gd name="T10" fmla="*/ 203 w 284"/>
                  <a:gd name="T11" fmla="*/ 73 h 119"/>
                  <a:gd name="T12" fmla="*/ 188 w 284"/>
                  <a:gd name="T13" fmla="*/ 66 h 119"/>
                  <a:gd name="T14" fmla="*/ 183 w 284"/>
                  <a:gd name="T15" fmla="*/ 70 h 119"/>
                  <a:gd name="T16" fmla="*/ 166 w 284"/>
                  <a:gd name="T17" fmla="*/ 72 h 119"/>
                  <a:gd name="T18" fmla="*/ 155 w 284"/>
                  <a:gd name="T19" fmla="*/ 68 h 119"/>
                  <a:gd name="T20" fmla="*/ 143 w 284"/>
                  <a:gd name="T21" fmla="*/ 73 h 119"/>
                  <a:gd name="T22" fmla="*/ 130 w 284"/>
                  <a:gd name="T23" fmla="*/ 71 h 119"/>
                  <a:gd name="T24" fmla="*/ 113 w 284"/>
                  <a:gd name="T25" fmla="*/ 70 h 119"/>
                  <a:gd name="T26" fmla="*/ 108 w 284"/>
                  <a:gd name="T27" fmla="*/ 64 h 119"/>
                  <a:gd name="T28" fmla="*/ 94 w 284"/>
                  <a:gd name="T29" fmla="*/ 70 h 119"/>
                  <a:gd name="T30" fmla="*/ 83 w 284"/>
                  <a:gd name="T31" fmla="*/ 64 h 119"/>
                  <a:gd name="T32" fmla="*/ 74 w 284"/>
                  <a:gd name="T33" fmla="*/ 68 h 119"/>
                  <a:gd name="T34" fmla="*/ 66 w 284"/>
                  <a:gd name="T35" fmla="*/ 54 h 119"/>
                  <a:gd name="T36" fmla="*/ 67 w 284"/>
                  <a:gd name="T37" fmla="*/ 42 h 119"/>
                  <a:gd name="T38" fmla="*/ 58 w 284"/>
                  <a:gd name="T39" fmla="*/ 28 h 119"/>
                  <a:gd name="T40" fmla="*/ 42 w 284"/>
                  <a:gd name="T41" fmla="*/ 23 h 119"/>
                  <a:gd name="T42" fmla="*/ 24 w 284"/>
                  <a:gd name="T43" fmla="*/ 24 h 119"/>
                  <a:gd name="T44" fmla="*/ 16 w 284"/>
                  <a:gd name="T45" fmla="*/ 20 h 119"/>
                  <a:gd name="T46" fmla="*/ 11 w 284"/>
                  <a:gd name="T47" fmla="*/ 14 h 119"/>
                  <a:gd name="T48" fmla="*/ 4 w 284"/>
                  <a:gd name="T49" fmla="*/ 9 h 119"/>
                  <a:gd name="T50" fmla="*/ 8 w 284"/>
                  <a:gd name="T51" fmla="*/ 0 h 119"/>
                  <a:gd name="T52" fmla="*/ 25 w 284"/>
                  <a:gd name="T53" fmla="*/ 3 h 119"/>
                  <a:gd name="T54" fmla="*/ 42 w 284"/>
                  <a:gd name="T55" fmla="*/ 5 h 119"/>
                  <a:gd name="T56" fmla="*/ 44 w 284"/>
                  <a:gd name="T57" fmla="*/ 19 h 119"/>
                  <a:gd name="T58" fmla="*/ 61 w 284"/>
                  <a:gd name="T59" fmla="*/ 14 h 119"/>
                  <a:gd name="T60" fmla="*/ 82 w 284"/>
                  <a:gd name="T61" fmla="*/ 13 h 119"/>
                  <a:gd name="T62" fmla="*/ 77 w 284"/>
                  <a:gd name="T63" fmla="*/ 16 h 119"/>
                  <a:gd name="T64" fmla="*/ 89 w 284"/>
                  <a:gd name="T65" fmla="*/ 20 h 119"/>
                  <a:gd name="T66" fmla="*/ 104 w 284"/>
                  <a:gd name="T67" fmla="*/ 23 h 119"/>
                  <a:gd name="T68" fmla="*/ 91 w 284"/>
                  <a:gd name="T69" fmla="*/ 25 h 119"/>
                  <a:gd name="T70" fmla="*/ 77 w 284"/>
                  <a:gd name="T71" fmla="*/ 24 h 119"/>
                  <a:gd name="T72" fmla="*/ 87 w 284"/>
                  <a:gd name="T73" fmla="*/ 28 h 119"/>
                  <a:gd name="T74" fmla="*/ 82 w 284"/>
                  <a:gd name="T75" fmla="*/ 30 h 119"/>
                  <a:gd name="T76" fmla="*/ 94 w 284"/>
                  <a:gd name="T77" fmla="*/ 30 h 119"/>
                  <a:gd name="T78" fmla="*/ 105 w 284"/>
                  <a:gd name="T79" fmla="*/ 38 h 119"/>
                  <a:gd name="T80" fmla="*/ 105 w 284"/>
                  <a:gd name="T81" fmla="*/ 43 h 119"/>
                  <a:gd name="T82" fmla="*/ 116 w 284"/>
                  <a:gd name="T83" fmla="*/ 42 h 119"/>
                  <a:gd name="T84" fmla="*/ 130 w 284"/>
                  <a:gd name="T85" fmla="*/ 41 h 119"/>
                  <a:gd name="T86" fmla="*/ 146 w 284"/>
                  <a:gd name="T87" fmla="*/ 47 h 119"/>
                  <a:gd name="T88" fmla="*/ 152 w 284"/>
                  <a:gd name="T89" fmla="*/ 43 h 119"/>
                  <a:gd name="T90" fmla="*/ 168 w 284"/>
                  <a:gd name="T91" fmla="*/ 39 h 119"/>
                  <a:gd name="T92" fmla="*/ 185 w 284"/>
                  <a:gd name="T93" fmla="*/ 38 h 119"/>
                  <a:gd name="T94" fmla="*/ 204 w 284"/>
                  <a:gd name="T95" fmla="*/ 36 h 119"/>
                  <a:gd name="T96" fmla="*/ 220 w 284"/>
                  <a:gd name="T97" fmla="*/ 41 h 119"/>
                  <a:gd name="T98" fmla="*/ 231 w 284"/>
                  <a:gd name="T99" fmla="*/ 93 h 119"/>
                  <a:gd name="T100" fmla="*/ 248 w 284"/>
                  <a:gd name="T101" fmla="*/ 94 h 119"/>
                  <a:gd name="T102" fmla="*/ 265 w 284"/>
                  <a:gd name="T103" fmla="*/ 97 h 119"/>
                  <a:gd name="T104" fmla="*/ 279 w 284"/>
                  <a:gd name="T105" fmla="*/ 109 h 119"/>
                  <a:gd name="T106" fmla="*/ 275 w 284"/>
                  <a:gd name="T107" fmla="*/ 116 h 119"/>
                  <a:gd name="T108" fmla="*/ 254 w 284"/>
                  <a:gd name="T109" fmla="*/ 115 h 119"/>
                  <a:gd name="T110" fmla="*/ 237 w 284"/>
                  <a:gd name="T111" fmla="*/ 118 h 119"/>
                  <a:gd name="T112" fmla="*/ 228 w 284"/>
                  <a:gd name="T113" fmla="*/ 106 h 119"/>
                  <a:gd name="T114" fmla="*/ 220 w 284"/>
                  <a:gd name="T115" fmla="*/ 94 h 119"/>
                  <a:gd name="T116" fmla="*/ 231 w 284"/>
                  <a:gd name="T117" fmla="*/ 9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4" h="119">
                    <a:moveTo>
                      <a:pt x="231" y="43"/>
                    </a:moveTo>
                    <a:lnTo>
                      <a:pt x="231" y="43"/>
                    </a:lnTo>
                    <a:lnTo>
                      <a:pt x="228" y="46"/>
                    </a:lnTo>
                    <a:lnTo>
                      <a:pt x="231" y="46"/>
                    </a:lnTo>
                    <a:lnTo>
                      <a:pt x="232" y="46"/>
                    </a:lnTo>
                    <a:lnTo>
                      <a:pt x="235" y="46"/>
                    </a:lnTo>
                    <a:lnTo>
                      <a:pt x="238" y="48"/>
                    </a:lnTo>
                    <a:lnTo>
                      <a:pt x="237" y="50"/>
                    </a:lnTo>
                    <a:lnTo>
                      <a:pt x="237" y="53"/>
                    </a:lnTo>
                    <a:lnTo>
                      <a:pt x="233" y="54"/>
                    </a:lnTo>
                    <a:lnTo>
                      <a:pt x="231" y="56"/>
                    </a:lnTo>
                    <a:lnTo>
                      <a:pt x="229" y="57"/>
                    </a:lnTo>
                    <a:lnTo>
                      <a:pt x="226" y="58"/>
                    </a:lnTo>
                    <a:lnTo>
                      <a:pt x="229" y="59"/>
                    </a:lnTo>
                    <a:lnTo>
                      <a:pt x="231" y="58"/>
                    </a:lnTo>
                    <a:lnTo>
                      <a:pt x="232" y="58"/>
                    </a:lnTo>
                    <a:lnTo>
                      <a:pt x="235" y="57"/>
                    </a:lnTo>
                    <a:lnTo>
                      <a:pt x="238" y="59"/>
                    </a:lnTo>
                    <a:lnTo>
                      <a:pt x="239" y="62"/>
                    </a:lnTo>
                    <a:lnTo>
                      <a:pt x="237" y="63"/>
                    </a:lnTo>
                    <a:lnTo>
                      <a:pt x="233" y="63"/>
                    </a:lnTo>
                    <a:lnTo>
                      <a:pt x="231" y="63"/>
                    </a:lnTo>
                    <a:lnTo>
                      <a:pt x="229" y="63"/>
                    </a:lnTo>
                    <a:lnTo>
                      <a:pt x="227" y="62"/>
                    </a:lnTo>
                    <a:lnTo>
                      <a:pt x="229" y="64"/>
                    </a:lnTo>
                    <a:lnTo>
                      <a:pt x="228" y="67"/>
                    </a:lnTo>
                    <a:lnTo>
                      <a:pt x="228" y="70"/>
                    </a:lnTo>
                    <a:lnTo>
                      <a:pt x="226" y="70"/>
                    </a:lnTo>
                    <a:lnTo>
                      <a:pt x="222" y="71"/>
                    </a:lnTo>
                    <a:lnTo>
                      <a:pt x="220" y="71"/>
                    </a:lnTo>
                    <a:lnTo>
                      <a:pt x="217" y="70"/>
                    </a:lnTo>
                    <a:lnTo>
                      <a:pt x="214" y="71"/>
                    </a:lnTo>
                    <a:lnTo>
                      <a:pt x="211" y="72"/>
                    </a:lnTo>
                    <a:lnTo>
                      <a:pt x="209" y="73"/>
                    </a:lnTo>
                    <a:lnTo>
                      <a:pt x="205" y="73"/>
                    </a:lnTo>
                    <a:lnTo>
                      <a:pt x="203" y="73"/>
                    </a:lnTo>
                    <a:lnTo>
                      <a:pt x="200" y="72"/>
                    </a:lnTo>
                    <a:lnTo>
                      <a:pt x="197" y="71"/>
                    </a:lnTo>
                    <a:lnTo>
                      <a:pt x="194" y="72"/>
                    </a:lnTo>
                    <a:lnTo>
                      <a:pt x="192" y="71"/>
                    </a:lnTo>
                    <a:lnTo>
                      <a:pt x="189" y="68"/>
                    </a:lnTo>
                    <a:lnTo>
                      <a:pt x="188" y="66"/>
                    </a:lnTo>
                    <a:lnTo>
                      <a:pt x="188" y="63"/>
                    </a:lnTo>
                    <a:lnTo>
                      <a:pt x="186" y="63"/>
                    </a:lnTo>
                    <a:lnTo>
                      <a:pt x="183" y="63"/>
                    </a:lnTo>
                    <a:lnTo>
                      <a:pt x="186" y="65"/>
                    </a:lnTo>
                    <a:lnTo>
                      <a:pt x="184" y="67"/>
                    </a:lnTo>
                    <a:lnTo>
                      <a:pt x="183" y="70"/>
                    </a:lnTo>
                    <a:lnTo>
                      <a:pt x="180" y="71"/>
                    </a:lnTo>
                    <a:lnTo>
                      <a:pt x="177" y="71"/>
                    </a:lnTo>
                    <a:lnTo>
                      <a:pt x="175" y="72"/>
                    </a:lnTo>
                    <a:lnTo>
                      <a:pt x="171" y="72"/>
                    </a:lnTo>
                    <a:lnTo>
                      <a:pt x="169" y="72"/>
                    </a:lnTo>
                    <a:lnTo>
                      <a:pt x="166" y="72"/>
                    </a:lnTo>
                    <a:lnTo>
                      <a:pt x="163" y="70"/>
                    </a:lnTo>
                    <a:lnTo>
                      <a:pt x="162" y="67"/>
                    </a:lnTo>
                    <a:lnTo>
                      <a:pt x="162" y="70"/>
                    </a:lnTo>
                    <a:lnTo>
                      <a:pt x="160" y="72"/>
                    </a:lnTo>
                    <a:lnTo>
                      <a:pt x="158" y="72"/>
                    </a:lnTo>
                    <a:lnTo>
                      <a:pt x="155" y="68"/>
                    </a:lnTo>
                    <a:lnTo>
                      <a:pt x="155" y="72"/>
                    </a:lnTo>
                    <a:lnTo>
                      <a:pt x="153" y="72"/>
                    </a:lnTo>
                    <a:lnTo>
                      <a:pt x="150" y="73"/>
                    </a:lnTo>
                    <a:lnTo>
                      <a:pt x="147" y="73"/>
                    </a:lnTo>
                    <a:lnTo>
                      <a:pt x="146" y="70"/>
                    </a:lnTo>
                    <a:lnTo>
                      <a:pt x="143" y="73"/>
                    </a:lnTo>
                    <a:lnTo>
                      <a:pt x="141" y="72"/>
                    </a:lnTo>
                    <a:lnTo>
                      <a:pt x="138" y="70"/>
                    </a:lnTo>
                    <a:lnTo>
                      <a:pt x="138" y="73"/>
                    </a:lnTo>
                    <a:lnTo>
                      <a:pt x="136" y="73"/>
                    </a:lnTo>
                    <a:lnTo>
                      <a:pt x="134" y="73"/>
                    </a:lnTo>
                    <a:lnTo>
                      <a:pt x="130" y="71"/>
                    </a:lnTo>
                    <a:lnTo>
                      <a:pt x="128" y="73"/>
                    </a:lnTo>
                    <a:lnTo>
                      <a:pt x="125" y="72"/>
                    </a:lnTo>
                    <a:lnTo>
                      <a:pt x="122" y="73"/>
                    </a:lnTo>
                    <a:lnTo>
                      <a:pt x="119" y="72"/>
                    </a:lnTo>
                    <a:lnTo>
                      <a:pt x="117" y="72"/>
                    </a:lnTo>
                    <a:lnTo>
                      <a:pt x="113" y="70"/>
                    </a:lnTo>
                    <a:lnTo>
                      <a:pt x="116" y="67"/>
                    </a:lnTo>
                    <a:lnTo>
                      <a:pt x="115" y="64"/>
                    </a:lnTo>
                    <a:lnTo>
                      <a:pt x="113" y="62"/>
                    </a:lnTo>
                    <a:lnTo>
                      <a:pt x="111" y="64"/>
                    </a:lnTo>
                    <a:lnTo>
                      <a:pt x="110" y="67"/>
                    </a:lnTo>
                    <a:lnTo>
                      <a:pt x="108" y="64"/>
                    </a:lnTo>
                    <a:lnTo>
                      <a:pt x="107" y="67"/>
                    </a:lnTo>
                    <a:lnTo>
                      <a:pt x="105" y="70"/>
                    </a:lnTo>
                    <a:lnTo>
                      <a:pt x="102" y="70"/>
                    </a:lnTo>
                    <a:lnTo>
                      <a:pt x="100" y="71"/>
                    </a:lnTo>
                    <a:lnTo>
                      <a:pt x="98" y="71"/>
                    </a:lnTo>
                    <a:lnTo>
                      <a:pt x="94" y="70"/>
                    </a:lnTo>
                    <a:lnTo>
                      <a:pt x="93" y="71"/>
                    </a:lnTo>
                    <a:lnTo>
                      <a:pt x="90" y="70"/>
                    </a:lnTo>
                    <a:lnTo>
                      <a:pt x="87" y="70"/>
                    </a:lnTo>
                    <a:lnTo>
                      <a:pt x="85" y="68"/>
                    </a:lnTo>
                    <a:lnTo>
                      <a:pt x="82" y="67"/>
                    </a:lnTo>
                    <a:lnTo>
                      <a:pt x="83" y="64"/>
                    </a:lnTo>
                    <a:lnTo>
                      <a:pt x="83" y="62"/>
                    </a:lnTo>
                    <a:lnTo>
                      <a:pt x="81" y="64"/>
                    </a:lnTo>
                    <a:lnTo>
                      <a:pt x="77" y="66"/>
                    </a:lnTo>
                    <a:lnTo>
                      <a:pt x="79" y="68"/>
                    </a:lnTo>
                    <a:lnTo>
                      <a:pt x="76" y="66"/>
                    </a:lnTo>
                    <a:lnTo>
                      <a:pt x="74" y="68"/>
                    </a:lnTo>
                    <a:lnTo>
                      <a:pt x="70" y="66"/>
                    </a:lnTo>
                    <a:lnTo>
                      <a:pt x="68" y="65"/>
                    </a:lnTo>
                    <a:lnTo>
                      <a:pt x="67" y="63"/>
                    </a:lnTo>
                    <a:lnTo>
                      <a:pt x="66" y="59"/>
                    </a:lnTo>
                    <a:lnTo>
                      <a:pt x="64" y="57"/>
                    </a:lnTo>
                    <a:lnTo>
                      <a:pt x="66" y="54"/>
                    </a:lnTo>
                    <a:lnTo>
                      <a:pt x="62" y="54"/>
                    </a:lnTo>
                    <a:lnTo>
                      <a:pt x="60" y="51"/>
                    </a:lnTo>
                    <a:lnTo>
                      <a:pt x="61" y="48"/>
                    </a:lnTo>
                    <a:lnTo>
                      <a:pt x="61" y="46"/>
                    </a:lnTo>
                    <a:lnTo>
                      <a:pt x="64" y="43"/>
                    </a:lnTo>
                    <a:lnTo>
                      <a:pt x="67" y="42"/>
                    </a:lnTo>
                    <a:lnTo>
                      <a:pt x="66" y="39"/>
                    </a:lnTo>
                    <a:lnTo>
                      <a:pt x="65" y="37"/>
                    </a:lnTo>
                    <a:lnTo>
                      <a:pt x="64" y="33"/>
                    </a:lnTo>
                    <a:lnTo>
                      <a:pt x="60" y="32"/>
                    </a:lnTo>
                    <a:lnTo>
                      <a:pt x="58" y="30"/>
                    </a:lnTo>
                    <a:lnTo>
                      <a:pt x="58" y="28"/>
                    </a:lnTo>
                    <a:lnTo>
                      <a:pt x="56" y="24"/>
                    </a:lnTo>
                    <a:lnTo>
                      <a:pt x="53" y="23"/>
                    </a:lnTo>
                    <a:lnTo>
                      <a:pt x="50" y="20"/>
                    </a:lnTo>
                    <a:lnTo>
                      <a:pt x="47" y="21"/>
                    </a:lnTo>
                    <a:lnTo>
                      <a:pt x="44" y="23"/>
                    </a:lnTo>
                    <a:lnTo>
                      <a:pt x="42" y="23"/>
                    </a:lnTo>
                    <a:lnTo>
                      <a:pt x="39" y="23"/>
                    </a:lnTo>
                    <a:lnTo>
                      <a:pt x="35" y="23"/>
                    </a:lnTo>
                    <a:lnTo>
                      <a:pt x="33" y="23"/>
                    </a:lnTo>
                    <a:lnTo>
                      <a:pt x="30" y="22"/>
                    </a:lnTo>
                    <a:lnTo>
                      <a:pt x="27" y="23"/>
                    </a:lnTo>
                    <a:lnTo>
                      <a:pt x="24" y="24"/>
                    </a:lnTo>
                    <a:lnTo>
                      <a:pt x="22" y="22"/>
                    </a:lnTo>
                    <a:lnTo>
                      <a:pt x="24" y="22"/>
                    </a:lnTo>
                    <a:lnTo>
                      <a:pt x="27" y="21"/>
                    </a:lnTo>
                    <a:lnTo>
                      <a:pt x="21" y="20"/>
                    </a:lnTo>
                    <a:lnTo>
                      <a:pt x="18" y="20"/>
                    </a:lnTo>
                    <a:lnTo>
                      <a:pt x="16" y="20"/>
                    </a:lnTo>
                    <a:lnTo>
                      <a:pt x="13" y="19"/>
                    </a:lnTo>
                    <a:lnTo>
                      <a:pt x="11" y="16"/>
                    </a:lnTo>
                    <a:lnTo>
                      <a:pt x="14" y="16"/>
                    </a:lnTo>
                    <a:lnTo>
                      <a:pt x="16" y="14"/>
                    </a:lnTo>
                    <a:lnTo>
                      <a:pt x="14" y="15"/>
                    </a:lnTo>
                    <a:lnTo>
                      <a:pt x="11" y="14"/>
                    </a:lnTo>
                    <a:lnTo>
                      <a:pt x="8" y="13"/>
                    </a:lnTo>
                    <a:lnTo>
                      <a:pt x="6" y="12"/>
                    </a:lnTo>
                    <a:lnTo>
                      <a:pt x="2" y="11"/>
                    </a:lnTo>
                    <a:lnTo>
                      <a:pt x="0" y="11"/>
                    </a:lnTo>
                    <a:lnTo>
                      <a:pt x="0" y="7"/>
                    </a:lnTo>
                    <a:lnTo>
                      <a:pt x="4" y="9"/>
                    </a:lnTo>
                    <a:lnTo>
                      <a:pt x="6" y="7"/>
                    </a:lnTo>
                    <a:lnTo>
                      <a:pt x="4" y="6"/>
                    </a:lnTo>
                    <a:lnTo>
                      <a:pt x="0" y="4"/>
                    </a:lnTo>
                    <a:lnTo>
                      <a:pt x="4" y="3"/>
                    </a:lnTo>
                    <a:lnTo>
                      <a:pt x="6" y="3"/>
                    </a:lnTo>
                    <a:lnTo>
                      <a:pt x="8" y="0"/>
                    </a:lnTo>
                    <a:lnTo>
                      <a:pt x="11" y="0"/>
                    </a:lnTo>
                    <a:lnTo>
                      <a:pt x="14" y="0"/>
                    </a:lnTo>
                    <a:lnTo>
                      <a:pt x="17" y="0"/>
                    </a:lnTo>
                    <a:lnTo>
                      <a:pt x="21" y="0"/>
                    </a:lnTo>
                    <a:lnTo>
                      <a:pt x="23" y="2"/>
                    </a:lnTo>
                    <a:lnTo>
                      <a:pt x="25" y="3"/>
                    </a:lnTo>
                    <a:lnTo>
                      <a:pt x="28" y="3"/>
                    </a:lnTo>
                    <a:lnTo>
                      <a:pt x="31" y="3"/>
                    </a:lnTo>
                    <a:lnTo>
                      <a:pt x="34" y="5"/>
                    </a:lnTo>
                    <a:lnTo>
                      <a:pt x="36" y="5"/>
                    </a:lnTo>
                    <a:lnTo>
                      <a:pt x="40" y="4"/>
                    </a:lnTo>
                    <a:lnTo>
                      <a:pt x="42" y="5"/>
                    </a:lnTo>
                    <a:lnTo>
                      <a:pt x="45" y="6"/>
                    </a:lnTo>
                    <a:lnTo>
                      <a:pt x="48" y="8"/>
                    </a:lnTo>
                    <a:lnTo>
                      <a:pt x="51" y="11"/>
                    </a:lnTo>
                    <a:lnTo>
                      <a:pt x="50" y="13"/>
                    </a:lnTo>
                    <a:lnTo>
                      <a:pt x="47" y="16"/>
                    </a:lnTo>
                    <a:lnTo>
                      <a:pt x="44" y="19"/>
                    </a:lnTo>
                    <a:lnTo>
                      <a:pt x="48" y="17"/>
                    </a:lnTo>
                    <a:lnTo>
                      <a:pt x="50" y="15"/>
                    </a:lnTo>
                    <a:lnTo>
                      <a:pt x="53" y="13"/>
                    </a:lnTo>
                    <a:lnTo>
                      <a:pt x="56" y="13"/>
                    </a:lnTo>
                    <a:lnTo>
                      <a:pt x="59" y="13"/>
                    </a:lnTo>
                    <a:lnTo>
                      <a:pt x="61" y="14"/>
                    </a:lnTo>
                    <a:lnTo>
                      <a:pt x="65" y="13"/>
                    </a:lnTo>
                    <a:lnTo>
                      <a:pt x="67" y="12"/>
                    </a:lnTo>
                    <a:lnTo>
                      <a:pt x="73" y="12"/>
                    </a:lnTo>
                    <a:lnTo>
                      <a:pt x="76" y="12"/>
                    </a:lnTo>
                    <a:lnTo>
                      <a:pt x="78" y="12"/>
                    </a:lnTo>
                    <a:lnTo>
                      <a:pt x="82" y="13"/>
                    </a:lnTo>
                    <a:lnTo>
                      <a:pt x="84" y="14"/>
                    </a:lnTo>
                    <a:lnTo>
                      <a:pt x="86" y="15"/>
                    </a:lnTo>
                    <a:lnTo>
                      <a:pt x="85" y="17"/>
                    </a:lnTo>
                    <a:lnTo>
                      <a:pt x="83" y="17"/>
                    </a:lnTo>
                    <a:lnTo>
                      <a:pt x="79" y="17"/>
                    </a:lnTo>
                    <a:lnTo>
                      <a:pt x="77" y="16"/>
                    </a:lnTo>
                    <a:lnTo>
                      <a:pt x="74" y="17"/>
                    </a:lnTo>
                    <a:lnTo>
                      <a:pt x="77" y="17"/>
                    </a:lnTo>
                    <a:lnTo>
                      <a:pt x="81" y="17"/>
                    </a:lnTo>
                    <a:lnTo>
                      <a:pt x="83" y="19"/>
                    </a:lnTo>
                    <a:lnTo>
                      <a:pt x="85" y="20"/>
                    </a:lnTo>
                    <a:lnTo>
                      <a:pt x="89" y="20"/>
                    </a:lnTo>
                    <a:lnTo>
                      <a:pt x="92" y="20"/>
                    </a:lnTo>
                    <a:lnTo>
                      <a:pt x="94" y="21"/>
                    </a:lnTo>
                    <a:lnTo>
                      <a:pt x="96" y="21"/>
                    </a:lnTo>
                    <a:lnTo>
                      <a:pt x="99" y="22"/>
                    </a:lnTo>
                    <a:lnTo>
                      <a:pt x="102" y="22"/>
                    </a:lnTo>
                    <a:lnTo>
                      <a:pt x="104" y="23"/>
                    </a:lnTo>
                    <a:lnTo>
                      <a:pt x="103" y="25"/>
                    </a:lnTo>
                    <a:lnTo>
                      <a:pt x="100" y="25"/>
                    </a:lnTo>
                    <a:lnTo>
                      <a:pt x="98" y="26"/>
                    </a:lnTo>
                    <a:lnTo>
                      <a:pt x="94" y="25"/>
                    </a:lnTo>
                    <a:lnTo>
                      <a:pt x="94" y="25"/>
                    </a:lnTo>
                    <a:lnTo>
                      <a:pt x="91" y="25"/>
                    </a:lnTo>
                    <a:lnTo>
                      <a:pt x="89" y="26"/>
                    </a:lnTo>
                    <a:lnTo>
                      <a:pt x="91" y="26"/>
                    </a:lnTo>
                    <a:lnTo>
                      <a:pt x="89" y="26"/>
                    </a:lnTo>
                    <a:lnTo>
                      <a:pt x="85" y="25"/>
                    </a:lnTo>
                    <a:lnTo>
                      <a:pt x="83" y="25"/>
                    </a:lnTo>
                    <a:lnTo>
                      <a:pt x="77" y="24"/>
                    </a:lnTo>
                    <a:lnTo>
                      <a:pt x="74" y="24"/>
                    </a:lnTo>
                    <a:lnTo>
                      <a:pt x="76" y="26"/>
                    </a:lnTo>
                    <a:lnTo>
                      <a:pt x="78" y="26"/>
                    </a:lnTo>
                    <a:lnTo>
                      <a:pt x="82" y="26"/>
                    </a:lnTo>
                    <a:lnTo>
                      <a:pt x="84" y="29"/>
                    </a:lnTo>
                    <a:lnTo>
                      <a:pt x="87" y="28"/>
                    </a:lnTo>
                    <a:lnTo>
                      <a:pt x="90" y="30"/>
                    </a:lnTo>
                    <a:lnTo>
                      <a:pt x="86" y="30"/>
                    </a:lnTo>
                    <a:lnTo>
                      <a:pt x="84" y="30"/>
                    </a:lnTo>
                    <a:lnTo>
                      <a:pt x="82" y="30"/>
                    </a:lnTo>
                    <a:lnTo>
                      <a:pt x="78" y="30"/>
                    </a:lnTo>
                    <a:lnTo>
                      <a:pt x="82" y="30"/>
                    </a:lnTo>
                    <a:lnTo>
                      <a:pt x="81" y="33"/>
                    </a:lnTo>
                    <a:lnTo>
                      <a:pt x="83" y="31"/>
                    </a:lnTo>
                    <a:lnTo>
                      <a:pt x="86" y="31"/>
                    </a:lnTo>
                    <a:lnTo>
                      <a:pt x="89" y="32"/>
                    </a:lnTo>
                    <a:lnTo>
                      <a:pt x="92" y="32"/>
                    </a:lnTo>
                    <a:lnTo>
                      <a:pt x="94" y="30"/>
                    </a:lnTo>
                    <a:lnTo>
                      <a:pt x="94" y="30"/>
                    </a:lnTo>
                    <a:lnTo>
                      <a:pt x="98" y="33"/>
                    </a:lnTo>
                    <a:lnTo>
                      <a:pt x="98" y="36"/>
                    </a:lnTo>
                    <a:lnTo>
                      <a:pt x="100" y="34"/>
                    </a:lnTo>
                    <a:lnTo>
                      <a:pt x="102" y="36"/>
                    </a:lnTo>
                    <a:lnTo>
                      <a:pt x="105" y="38"/>
                    </a:lnTo>
                    <a:lnTo>
                      <a:pt x="103" y="41"/>
                    </a:lnTo>
                    <a:lnTo>
                      <a:pt x="100" y="41"/>
                    </a:lnTo>
                    <a:lnTo>
                      <a:pt x="98" y="42"/>
                    </a:lnTo>
                    <a:lnTo>
                      <a:pt x="100" y="43"/>
                    </a:lnTo>
                    <a:lnTo>
                      <a:pt x="103" y="42"/>
                    </a:lnTo>
                    <a:lnTo>
                      <a:pt x="105" y="43"/>
                    </a:lnTo>
                    <a:lnTo>
                      <a:pt x="108" y="46"/>
                    </a:lnTo>
                    <a:lnTo>
                      <a:pt x="111" y="46"/>
                    </a:lnTo>
                    <a:lnTo>
                      <a:pt x="111" y="43"/>
                    </a:lnTo>
                    <a:lnTo>
                      <a:pt x="111" y="41"/>
                    </a:lnTo>
                    <a:lnTo>
                      <a:pt x="113" y="40"/>
                    </a:lnTo>
                    <a:lnTo>
                      <a:pt x="116" y="42"/>
                    </a:lnTo>
                    <a:lnTo>
                      <a:pt x="118" y="46"/>
                    </a:lnTo>
                    <a:lnTo>
                      <a:pt x="121" y="43"/>
                    </a:lnTo>
                    <a:lnTo>
                      <a:pt x="124" y="42"/>
                    </a:lnTo>
                    <a:lnTo>
                      <a:pt x="126" y="42"/>
                    </a:lnTo>
                    <a:lnTo>
                      <a:pt x="129" y="45"/>
                    </a:lnTo>
                    <a:lnTo>
                      <a:pt x="130" y="41"/>
                    </a:lnTo>
                    <a:lnTo>
                      <a:pt x="133" y="42"/>
                    </a:lnTo>
                    <a:lnTo>
                      <a:pt x="136" y="45"/>
                    </a:lnTo>
                    <a:lnTo>
                      <a:pt x="138" y="46"/>
                    </a:lnTo>
                    <a:lnTo>
                      <a:pt x="142" y="46"/>
                    </a:lnTo>
                    <a:lnTo>
                      <a:pt x="143" y="48"/>
                    </a:lnTo>
                    <a:lnTo>
                      <a:pt x="146" y="47"/>
                    </a:lnTo>
                    <a:lnTo>
                      <a:pt x="149" y="47"/>
                    </a:lnTo>
                    <a:lnTo>
                      <a:pt x="151" y="47"/>
                    </a:lnTo>
                    <a:lnTo>
                      <a:pt x="154" y="47"/>
                    </a:lnTo>
                    <a:lnTo>
                      <a:pt x="151" y="46"/>
                    </a:lnTo>
                    <a:lnTo>
                      <a:pt x="149" y="43"/>
                    </a:lnTo>
                    <a:lnTo>
                      <a:pt x="152" y="43"/>
                    </a:lnTo>
                    <a:lnTo>
                      <a:pt x="154" y="42"/>
                    </a:lnTo>
                    <a:lnTo>
                      <a:pt x="158" y="42"/>
                    </a:lnTo>
                    <a:lnTo>
                      <a:pt x="160" y="41"/>
                    </a:lnTo>
                    <a:lnTo>
                      <a:pt x="163" y="40"/>
                    </a:lnTo>
                    <a:lnTo>
                      <a:pt x="166" y="40"/>
                    </a:lnTo>
                    <a:lnTo>
                      <a:pt x="168" y="39"/>
                    </a:lnTo>
                    <a:lnTo>
                      <a:pt x="171" y="39"/>
                    </a:lnTo>
                    <a:lnTo>
                      <a:pt x="173" y="38"/>
                    </a:lnTo>
                    <a:lnTo>
                      <a:pt x="177" y="36"/>
                    </a:lnTo>
                    <a:lnTo>
                      <a:pt x="179" y="36"/>
                    </a:lnTo>
                    <a:lnTo>
                      <a:pt x="181" y="37"/>
                    </a:lnTo>
                    <a:lnTo>
                      <a:pt x="185" y="38"/>
                    </a:lnTo>
                    <a:lnTo>
                      <a:pt x="190" y="38"/>
                    </a:lnTo>
                    <a:lnTo>
                      <a:pt x="193" y="37"/>
                    </a:lnTo>
                    <a:lnTo>
                      <a:pt x="196" y="36"/>
                    </a:lnTo>
                    <a:lnTo>
                      <a:pt x="198" y="36"/>
                    </a:lnTo>
                    <a:lnTo>
                      <a:pt x="202" y="36"/>
                    </a:lnTo>
                    <a:lnTo>
                      <a:pt x="204" y="36"/>
                    </a:lnTo>
                    <a:lnTo>
                      <a:pt x="211" y="36"/>
                    </a:lnTo>
                    <a:lnTo>
                      <a:pt x="213" y="37"/>
                    </a:lnTo>
                    <a:lnTo>
                      <a:pt x="217" y="38"/>
                    </a:lnTo>
                    <a:lnTo>
                      <a:pt x="214" y="40"/>
                    </a:lnTo>
                    <a:lnTo>
                      <a:pt x="218" y="41"/>
                    </a:lnTo>
                    <a:lnTo>
                      <a:pt x="220" y="41"/>
                    </a:lnTo>
                    <a:lnTo>
                      <a:pt x="223" y="40"/>
                    </a:lnTo>
                    <a:lnTo>
                      <a:pt x="226" y="41"/>
                    </a:lnTo>
                    <a:lnTo>
                      <a:pt x="229" y="41"/>
                    </a:lnTo>
                    <a:lnTo>
                      <a:pt x="231" y="43"/>
                    </a:lnTo>
                    <a:lnTo>
                      <a:pt x="231" y="43"/>
                    </a:lnTo>
                    <a:close/>
                    <a:moveTo>
                      <a:pt x="231" y="93"/>
                    </a:moveTo>
                    <a:lnTo>
                      <a:pt x="231" y="93"/>
                    </a:lnTo>
                    <a:lnTo>
                      <a:pt x="235" y="94"/>
                    </a:lnTo>
                    <a:lnTo>
                      <a:pt x="237" y="94"/>
                    </a:lnTo>
                    <a:lnTo>
                      <a:pt x="240" y="96"/>
                    </a:lnTo>
                    <a:lnTo>
                      <a:pt x="246" y="96"/>
                    </a:lnTo>
                    <a:lnTo>
                      <a:pt x="248" y="94"/>
                    </a:lnTo>
                    <a:lnTo>
                      <a:pt x="252" y="94"/>
                    </a:lnTo>
                    <a:lnTo>
                      <a:pt x="254" y="94"/>
                    </a:lnTo>
                    <a:lnTo>
                      <a:pt x="257" y="94"/>
                    </a:lnTo>
                    <a:lnTo>
                      <a:pt x="260" y="96"/>
                    </a:lnTo>
                    <a:lnTo>
                      <a:pt x="263" y="97"/>
                    </a:lnTo>
                    <a:lnTo>
                      <a:pt x="265" y="97"/>
                    </a:lnTo>
                    <a:lnTo>
                      <a:pt x="269" y="99"/>
                    </a:lnTo>
                    <a:lnTo>
                      <a:pt x="271" y="100"/>
                    </a:lnTo>
                    <a:lnTo>
                      <a:pt x="273" y="103"/>
                    </a:lnTo>
                    <a:lnTo>
                      <a:pt x="275" y="103"/>
                    </a:lnTo>
                    <a:lnTo>
                      <a:pt x="278" y="106"/>
                    </a:lnTo>
                    <a:lnTo>
                      <a:pt x="279" y="109"/>
                    </a:lnTo>
                    <a:lnTo>
                      <a:pt x="281" y="110"/>
                    </a:lnTo>
                    <a:lnTo>
                      <a:pt x="282" y="113"/>
                    </a:lnTo>
                    <a:lnTo>
                      <a:pt x="284" y="116"/>
                    </a:lnTo>
                    <a:lnTo>
                      <a:pt x="281" y="117"/>
                    </a:lnTo>
                    <a:lnTo>
                      <a:pt x="279" y="117"/>
                    </a:lnTo>
                    <a:lnTo>
                      <a:pt x="275" y="116"/>
                    </a:lnTo>
                    <a:lnTo>
                      <a:pt x="273" y="116"/>
                    </a:lnTo>
                    <a:lnTo>
                      <a:pt x="270" y="116"/>
                    </a:lnTo>
                    <a:lnTo>
                      <a:pt x="267" y="116"/>
                    </a:lnTo>
                    <a:lnTo>
                      <a:pt x="265" y="115"/>
                    </a:lnTo>
                    <a:lnTo>
                      <a:pt x="256" y="115"/>
                    </a:lnTo>
                    <a:lnTo>
                      <a:pt x="254" y="115"/>
                    </a:lnTo>
                    <a:lnTo>
                      <a:pt x="250" y="116"/>
                    </a:lnTo>
                    <a:lnTo>
                      <a:pt x="248" y="116"/>
                    </a:lnTo>
                    <a:lnTo>
                      <a:pt x="245" y="117"/>
                    </a:lnTo>
                    <a:lnTo>
                      <a:pt x="243" y="118"/>
                    </a:lnTo>
                    <a:lnTo>
                      <a:pt x="239" y="119"/>
                    </a:lnTo>
                    <a:lnTo>
                      <a:pt x="237" y="118"/>
                    </a:lnTo>
                    <a:lnTo>
                      <a:pt x="233" y="116"/>
                    </a:lnTo>
                    <a:lnTo>
                      <a:pt x="231" y="116"/>
                    </a:lnTo>
                    <a:lnTo>
                      <a:pt x="230" y="114"/>
                    </a:lnTo>
                    <a:lnTo>
                      <a:pt x="229" y="111"/>
                    </a:lnTo>
                    <a:lnTo>
                      <a:pt x="229" y="108"/>
                    </a:lnTo>
                    <a:lnTo>
                      <a:pt x="228" y="106"/>
                    </a:lnTo>
                    <a:lnTo>
                      <a:pt x="224" y="105"/>
                    </a:lnTo>
                    <a:lnTo>
                      <a:pt x="222" y="105"/>
                    </a:lnTo>
                    <a:lnTo>
                      <a:pt x="219" y="103"/>
                    </a:lnTo>
                    <a:lnTo>
                      <a:pt x="219" y="100"/>
                    </a:lnTo>
                    <a:lnTo>
                      <a:pt x="220" y="98"/>
                    </a:lnTo>
                    <a:lnTo>
                      <a:pt x="220" y="94"/>
                    </a:lnTo>
                    <a:lnTo>
                      <a:pt x="220" y="92"/>
                    </a:lnTo>
                    <a:lnTo>
                      <a:pt x="222" y="92"/>
                    </a:lnTo>
                    <a:lnTo>
                      <a:pt x="226" y="92"/>
                    </a:lnTo>
                    <a:lnTo>
                      <a:pt x="228" y="93"/>
                    </a:lnTo>
                    <a:lnTo>
                      <a:pt x="231" y="93"/>
                    </a:lnTo>
                    <a:lnTo>
                      <a:pt x="231"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37" name="Freeform 233">
                <a:extLst>
                  <a:ext uri="{FF2B5EF4-FFF2-40B4-BE49-F238E27FC236}">
                    <a16:creationId xmlns:a16="http://schemas.microsoft.com/office/drawing/2014/main" id="{FE0AC47B-DD3C-7185-0892-7CD8028DB897}"/>
                  </a:ext>
                </a:extLst>
              </p:cNvPr>
              <p:cNvSpPr>
                <a:spLocks/>
              </p:cNvSpPr>
              <p:nvPr/>
            </p:nvSpPr>
            <p:spPr bwMode="auto">
              <a:xfrm>
                <a:off x="3614738" y="2330450"/>
                <a:ext cx="119062" cy="74613"/>
              </a:xfrm>
              <a:custGeom>
                <a:avLst/>
                <a:gdLst>
                  <a:gd name="T0" fmla="*/ 36 w 75"/>
                  <a:gd name="T1" fmla="*/ 31 h 47"/>
                  <a:gd name="T2" fmla="*/ 39 w 75"/>
                  <a:gd name="T3" fmla="*/ 30 h 47"/>
                  <a:gd name="T4" fmla="*/ 47 w 75"/>
                  <a:gd name="T5" fmla="*/ 28 h 47"/>
                  <a:gd name="T6" fmla="*/ 49 w 75"/>
                  <a:gd name="T7" fmla="*/ 27 h 47"/>
                  <a:gd name="T8" fmla="*/ 38 w 75"/>
                  <a:gd name="T9" fmla="*/ 28 h 47"/>
                  <a:gd name="T10" fmla="*/ 30 w 75"/>
                  <a:gd name="T11" fmla="*/ 29 h 47"/>
                  <a:gd name="T12" fmla="*/ 21 w 75"/>
                  <a:gd name="T13" fmla="*/ 30 h 47"/>
                  <a:gd name="T14" fmla="*/ 10 w 75"/>
                  <a:gd name="T15" fmla="*/ 31 h 47"/>
                  <a:gd name="T16" fmla="*/ 2 w 75"/>
                  <a:gd name="T17" fmla="*/ 31 h 47"/>
                  <a:gd name="T18" fmla="*/ 5 w 75"/>
                  <a:gd name="T19" fmla="*/ 26 h 47"/>
                  <a:gd name="T20" fmla="*/ 9 w 75"/>
                  <a:gd name="T21" fmla="*/ 25 h 47"/>
                  <a:gd name="T22" fmla="*/ 11 w 75"/>
                  <a:gd name="T23" fmla="*/ 21 h 47"/>
                  <a:gd name="T24" fmla="*/ 20 w 75"/>
                  <a:gd name="T25" fmla="*/ 26 h 47"/>
                  <a:gd name="T26" fmla="*/ 23 w 75"/>
                  <a:gd name="T27" fmla="*/ 25 h 47"/>
                  <a:gd name="T28" fmla="*/ 20 w 75"/>
                  <a:gd name="T29" fmla="*/ 18 h 47"/>
                  <a:gd name="T30" fmla="*/ 12 w 75"/>
                  <a:gd name="T31" fmla="*/ 17 h 47"/>
                  <a:gd name="T32" fmla="*/ 14 w 75"/>
                  <a:gd name="T33" fmla="*/ 12 h 47"/>
                  <a:gd name="T34" fmla="*/ 10 w 75"/>
                  <a:gd name="T35" fmla="*/ 9 h 47"/>
                  <a:gd name="T36" fmla="*/ 18 w 75"/>
                  <a:gd name="T37" fmla="*/ 7 h 47"/>
                  <a:gd name="T38" fmla="*/ 22 w 75"/>
                  <a:gd name="T39" fmla="*/ 12 h 47"/>
                  <a:gd name="T40" fmla="*/ 30 w 75"/>
                  <a:gd name="T41" fmla="*/ 17 h 47"/>
                  <a:gd name="T42" fmla="*/ 38 w 75"/>
                  <a:gd name="T43" fmla="*/ 21 h 47"/>
                  <a:gd name="T44" fmla="*/ 44 w 75"/>
                  <a:gd name="T45" fmla="*/ 19 h 47"/>
                  <a:gd name="T46" fmla="*/ 38 w 75"/>
                  <a:gd name="T47" fmla="*/ 18 h 47"/>
                  <a:gd name="T48" fmla="*/ 38 w 75"/>
                  <a:gd name="T49" fmla="*/ 14 h 47"/>
                  <a:gd name="T50" fmla="*/ 40 w 75"/>
                  <a:gd name="T51" fmla="*/ 14 h 47"/>
                  <a:gd name="T52" fmla="*/ 32 w 75"/>
                  <a:gd name="T53" fmla="*/ 11 h 47"/>
                  <a:gd name="T54" fmla="*/ 38 w 75"/>
                  <a:gd name="T55" fmla="*/ 10 h 47"/>
                  <a:gd name="T56" fmla="*/ 28 w 75"/>
                  <a:gd name="T57" fmla="*/ 7 h 47"/>
                  <a:gd name="T58" fmla="*/ 32 w 75"/>
                  <a:gd name="T59" fmla="*/ 1 h 47"/>
                  <a:gd name="T60" fmla="*/ 44 w 75"/>
                  <a:gd name="T61" fmla="*/ 2 h 47"/>
                  <a:gd name="T62" fmla="*/ 51 w 75"/>
                  <a:gd name="T63" fmla="*/ 7 h 47"/>
                  <a:gd name="T64" fmla="*/ 55 w 75"/>
                  <a:gd name="T65" fmla="*/ 2 h 47"/>
                  <a:gd name="T66" fmla="*/ 57 w 75"/>
                  <a:gd name="T67" fmla="*/ 0 h 47"/>
                  <a:gd name="T68" fmla="*/ 61 w 75"/>
                  <a:gd name="T69" fmla="*/ 3 h 47"/>
                  <a:gd name="T70" fmla="*/ 69 w 75"/>
                  <a:gd name="T71" fmla="*/ 4 h 47"/>
                  <a:gd name="T72" fmla="*/ 72 w 75"/>
                  <a:gd name="T73" fmla="*/ 12 h 47"/>
                  <a:gd name="T74" fmla="*/ 71 w 75"/>
                  <a:gd name="T75" fmla="*/ 21 h 47"/>
                  <a:gd name="T76" fmla="*/ 71 w 75"/>
                  <a:gd name="T77" fmla="*/ 27 h 47"/>
                  <a:gd name="T78" fmla="*/ 73 w 75"/>
                  <a:gd name="T79" fmla="*/ 33 h 47"/>
                  <a:gd name="T80" fmla="*/ 71 w 75"/>
                  <a:gd name="T81" fmla="*/ 31 h 47"/>
                  <a:gd name="T82" fmla="*/ 66 w 75"/>
                  <a:gd name="T83" fmla="*/ 36 h 47"/>
                  <a:gd name="T84" fmla="*/ 69 w 75"/>
                  <a:gd name="T85" fmla="*/ 41 h 47"/>
                  <a:gd name="T86" fmla="*/ 64 w 75"/>
                  <a:gd name="T87" fmla="*/ 41 h 47"/>
                  <a:gd name="T88" fmla="*/ 63 w 75"/>
                  <a:gd name="T89" fmla="*/ 46 h 47"/>
                  <a:gd name="T90" fmla="*/ 55 w 75"/>
                  <a:gd name="T91" fmla="*/ 46 h 47"/>
                  <a:gd name="T92" fmla="*/ 46 w 75"/>
                  <a:gd name="T93" fmla="*/ 44 h 47"/>
                  <a:gd name="T94" fmla="*/ 38 w 75"/>
                  <a:gd name="T95" fmla="*/ 47 h 47"/>
                  <a:gd name="T96" fmla="*/ 32 w 75"/>
                  <a:gd name="T97" fmla="*/ 41 h 47"/>
                  <a:gd name="T98" fmla="*/ 38 w 75"/>
                  <a:gd name="T99" fmla="*/ 39 h 47"/>
                  <a:gd name="T100" fmla="*/ 32 w 75"/>
                  <a:gd name="T101" fmla="*/ 38 h 47"/>
                  <a:gd name="T102" fmla="*/ 30 w 75"/>
                  <a:gd name="T103" fmla="*/ 34 h 47"/>
                  <a:gd name="T104" fmla="*/ 38 w 75"/>
                  <a:gd name="T105"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 h="47">
                    <a:moveTo>
                      <a:pt x="38" y="33"/>
                    </a:moveTo>
                    <a:lnTo>
                      <a:pt x="38" y="33"/>
                    </a:lnTo>
                    <a:lnTo>
                      <a:pt x="36" y="31"/>
                    </a:lnTo>
                    <a:lnTo>
                      <a:pt x="38" y="31"/>
                    </a:lnTo>
                    <a:lnTo>
                      <a:pt x="38" y="30"/>
                    </a:lnTo>
                    <a:lnTo>
                      <a:pt x="39" y="30"/>
                    </a:lnTo>
                    <a:lnTo>
                      <a:pt x="42" y="28"/>
                    </a:lnTo>
                    <a:lnTo>
                      <a:pt x="45" y="28"/>
                    </a:lnTo>
                    <a:lnTo>
                      <a:pt x="47" y="28"/>
                    </a:lnTo>
                    <a:lnTo>
                      <a:pt x="51" y="28"/>
                    </a:lnTo>
                    <a:lnTo>
                      <a:pt x="53" y="27"/>
                    </a:lnTo>
                    <a:lnTo>
                      <a:pt x="49" y="27"/>
                    </a:lnTo>
                    <a:lnTo>
                      <a:pt x="44" y="27"/>
                    </a:lnTo>
                    <a:lnTo>
                      <a:pt x="42" y="27"/>
                    </a:lnTo>
                    <a:lnTo>
                      <a:pt x="38" y="28"/>
                    </a:lnTo>
                    <a:lnTo>
                      <a:pt x="36" y="28"/>
                    </a:lnTo>
                    <a:lnTo>
                      <a:pt x="32" y="28"/>
                    </a:lnTo>
                    <a:lnTo>
                      <a:pt x="30" y="29"/>
                    </a:lnTo>
                    <a:lnTo>
                      <a:pt x="27" y="29"/>
                    </a:lnTo>
                    <a:lnTo>
                      <a:pt x="25" y="29"/>
                    </a:lnTo>
                    <a:lnTo>
                      <a:pt x="21" y="30"/>
                    </a:lnTo>
                    <a:lnTo>
                      <a:pt x="19" y="30"/>
                    </a:lnTo>
                    <a:lnTo>
                      <a:pt x="13" y="30"/>
                    </a:lnTo>
                    <a:lnTo>
                      <a:pt x="10" y="31"/>
                    </a:lnTo>
                    <a:lnTo>
                      <a:pt x="8" y="31"/>
                    </a:lnTo>
                    <a:lnTo>
                      <a:pt x="4" y="31"/>
                    </a:lnTo>
                    <a:lnTo>
                      <a:pt x="2" y="31"/>
                    </a:lnTo>
                    <a:lnTo>
                      <a:pt x="0" y="29"/>
                    </a:lnTo>
                    <a:lnTo>
                      <a:pt x="2" y="28"/>
                    </a:lnTo>
                    <a:lnTo>
                      <a:pt x="5" y="26"/>
                    </a:lnTo>
                    <a:lnTo>
                      <a:pt x="8" y="26"/>
                    </a:lnTo>
                    <a:lnTo>
                      <a:pt x="10" y="27"/>
                    </a:lnTo>
                    <a:lnTo>
                      <a:pt x="9" y="25"/>
                    </a:lnTo>
                    <a:lnTo>
                      <a:pt x="5" y="24"/>
                    </a:lnTo>
                    <a:lnTo>
                      <a:pt x="9" y="22"/>
                    </a:lnTo>
                    <a:lnTo>
                      <a:pt x="11" y="21"/>
                    </a:lnTo>
                    <a:lnTo>
                      <a:pt x="14" y="22"/>
                    </a:lnTo>
                    <a:lnTo>
                      <a:pt x="17" y="24"/>
                    </a:lnTo>
                    <a:lnTo>
                      <a:pt x="20" y="26"/>
                    </a:lnTo>
                    <a:lnTo>
                      <a:pt x="22" y="25"/>
                    </a:lnTo>
                    <a:lnTo>
                      <a:pt x="26" y="24"/>
                    </a:lnTo>
                    <a:lnTo>
                      <a:pt x="23" y="25"/>
                    </a:lnTo>
                    <a:lnTo>
                      <a:pt x="20" y="24"/>
                    </a:lnTo>
                    <a:lnTo>
                      <a:pt x="17" y="20"/>
                    </a:lnTo>
                    <a:lnTo>
                      <a:pt x="20" y="18"/>
                    </a:lnTo>
                    <a:lnTo>
                      <a:pt x="18" y="19"/>
                    </a:lnTo>
                    <a:lnTo>
                      <a:pt x="14" y="19"/>
                    </a:lnTo>
                    <a:lnTo>
                      <a:pt x="12" y="17"/>
                    </a:lnTo>
                    <a:lnTo>
                      <a:pt x="14" y="13"/>
                    </a:lnTo>
                    <a:lnTo>
                      <a:pt x="18" y="12"/>
                    </a:lnTo>
                    <a:lnTo>
                      <a:pt x="14" y="12"/>
                    </a:lnTo>
                    <a:lnTo>
                      <a:pt x="12" y="12"/>
                    </a:lnTo>
                    <a:lnTo>
                      <a:pt x="9" y="12"/>
                    </a:lnTo>
                    <a:lnTo>
                      <a:pt x="10" y="9"/>
                    </a:lnTo>
                    <a:lnTo>
                      <a:pt x="12" y="7"/>
                    </a:lnTo>
                    <a:lnTo>
                      <a:pt x="15" y="5"/>
                    </a:lnTo>
                    <a:lnTo>
                      <a:pt x="18" y="7"/>
                    </a:lnTo>
                    <a:lnTo>
                      <a:pt x="21" y="8"/>
                    </a:lnTo>
                    <a:lnTo>
                      <a:pt x="23" y="9"/>
                    </a:lnTo>
                    <a:lnTo>
                      <a:pt x="22" y="12"/>
                    </a:lnTo>
                    <a:lnTo>
                      <a:pt x="26" y="12"/>
                    </a:lnTo>
                    <a:lnTo>
                      <a:pt x="28" y="13"/>
                    </a:lnTo>
                    <a:lnTo>
                      <a:pt x="30" y="17"/>
                    </a:lnTo>
                    <a:lnTo>
                      <a:pt x="32" y="17"/>
                    </a:lnTo>
                    <a:lnTo>
                      <a:pt x="36" y="19"/>
                    </a:lnTo>
                    <a:lnTo>
                      <a:pt x="38" y="21"/>
                    </a:lnTo>
                    <a:lnTo>
                      <a:pt x="38" y="22"/>
                    </a:lnTo>
                    <a:lnTo>
                      <a:pt x="42" y="21"/>
                    </a:lnTo>
                    <a:lnTo>
                      <a:pt x="44" y="19"/>
                    </a:lnTo>
                    <a:lnTo>
                      <a:pt x="42" y="20"/>
                    </a:lnTo>
                    <a:lnTo>
                      <a:pt x="38" y="18"/>
                    </a:lnTo>
                    <a:lnTo>
                      <a:pt x="38" y="18"/>
                    </a:lnTo>
                    <a:lnTo>
                      <a:pt x="37" y="18"/>
                    </a:lnTo>
                    <a:lnTo>
                      <a:pt x="36" y="14"/>
                    </a:lnTo>
                    <a:lnTo>
                      <a:pt x="38" y="14"/>
                    </a:lnTo>
                    <a:lnTo>
                      <a:pt x="40" y="14"/>
                    </a:lnTo>
                    <a:lnTo>
                      <a:pt x="44" y="14"/>
                    </a:lnTo>
                    <a:lnTo>
                      <a:pt x="40" y="14"/>
                    </a:lnTo>
                    <a:lnTo>
                      <a:pt x="38" y="13"/>
                    </a:lnTo>
                    <a:lnTo>
                      <a:pt x="36" y="13"/>
                    </a:lnTo>
                    <a:lnTo>
                      <a:pt x="32" y="11"/>
                    </a:lnTo>
                    <a:lnTo>
                      <a:pt x="36" y="10"/>
                    </a:lnTo>
                    <a:lnTo>
                      <a:pt x="38" y="11"/>
                    </a:lnTo>
                    <a:lnTo>
                      <a:pt x="38" y="10"/>
                    </a:lnTo>
                    <a:lnTo>
                      <a:pt x="36" y="8"/>
                    </a:lnTo>
                    <a:lnTo>
                      <a:pt x="30" y="8"/>
                    </a:lnTo>
                    <a:lnTo>
                      <a:pt x="28" y="7"/>
                    </a:lnTo>
                    <a:lnTo>
                      <a:pt x="27" y="4"/>
                    </a:lnTo>
                    <a:lnTo>
                      <a:pt x="30" y="2"/>
                    </a:lnTo>
                    <a:lnTo>
                      <a:pt x="32" y="1"/>
                    </a:lnTo>
                    <a:lnTo>
                      <a:pt x="36" y="0"/>
                    </a:lnTo>
                    <a:lnTo>
                      <a:pt x="38" y="1"/>
                    </a:lnTo>
                    <a:lnTo>
                      <a:pt x="44" y="2"/>
                    </a:lnTo>
                    <a:lnTo>
                      <a:pt x="46" y="3"/>
                    </a:lnTo>
                    <a:lnTo>
                      <a:pt x="49" y="4"/>
                    </a:lnTo>
                    <a:lnTo>
                      <a:pt x="51" y="7"/>
                    </a:lnTo>
                    <a:lnTo>
                      <a:pt x="53" y="4"/>
                    </a:lnTo>
                    <a:lnTo>
                      <a:pt x="52" y="2"/>
                    </a:lnTo>
                    <a:lnTo>
                      <a:pt x="55" y="2"/>
                    </a:lnTo>
                    <a:lnTo>
                      <a:pt x="57" y="0"/>
                    </a:lnTo>
                    <a:lnTo>
                      <a:pt x="55" y="0"/>
                    </a:lnTo>
                    <a:lnTo>
                      <a:pt x="57" y="0"/>
                    </a:lnTo>
                    <a:lnTo>
                      <a:pt x="61" y="1"/>
                    </a:lnTo>
                    <a:lnTo>
                      <a:pt x="63" y="2"/>
                    </a:lnTo>
                    <a:lnTo>
                      <a:pt x="61" y="3"/>
                    </a:lnTo>
                    <a:lnTo>
                      <a:pt x="63" y="3"/>
                    </a:lnTo>
                    <a:lnTo>
                      <a:pt x="66" y="4"/>
                    </a:lnTo>
                    <a:lnTo>
                      <a:pt x="69" y="4"/>
                    </a:lnTo>
                    <a:lnTo>
                      <a:pt x="70" y="8"/>
                    </a:lnTo>
                    <a:lnTo>
                      <a:pt x="69" y="10"/>
                    </a:lnTo>
                    <a:lnTo>
                      <a:pt x="72" y="12"/>
                    </a:lnTo>
                    <a:lnTo>
                      <a:pt x="72" y="16"/>
                    </a:lnTo>
                    <a:lnTo>
                      <a:pt x="71" y="18"/>
                    </a:lnTo>
                    <a:lnTo>
                      <a:pt x="71" y="21"/>
                    </a:lnTo>
                    <a:lnTo>
                      <a:pt x="71" y="24"/>
                    </a:lnTo>
                    <a:lnTo>
                      <a:pt x="69" y="26"/>
                    </a:lnTo>
                    <a:lnTo>
                      <a:pt x="71" y="27"/>
                    </a:lnTo>
                    <a:lnTo>
                      <a:pt x="74" y="27"/>
                    </a:lnTo>
                    <a:lnTo>
                      <a:pt x="74" y="30"/>
                    </a:lnTo>
                    <a:lnTo>
                      <a:pt x="73" y="33"/>
                    </a:lnTo>
                    <a:lnTo>
                      <a:pt x="75" y="35"/>
                    </a:lnTo>
                    <a:lnTo>
                      <a:pt x="72" y="34"/>
                    </a:lnTo>
                    <a:lnTo>
                      <a:pt x="71" y="31"/>
                    </a:lnTo>
                    <a:lnTo>
                      <a:pt x="68" y="33"/>
                    </a:lnTo>
                    <a:lnTo>
                      <a:pt x="65" y="34"/>
                    </a:lnTo>
                    <a:lnTo>
                      <a:pt x="66" y="36"/>
                    </a:lnTo>
                    <a:lnTo>
                      <a:pt x="64" y="37"/>
                    </a:lnTo>
                    <a:lnTo>
                      <a:pt x="66" y="39"/>
                    </a:lnTo>
                    <a:lnTo>
                      <a:pt x="69" y="41"/>
                    </a:lnTo>
                    <a:lnTo>
                      <a:pt x="70" y="43"/>
                    </a:lnTo>
                    <a:lnTo>
                      <a:pt x="68" y="43"/>
                    </a:lnTo>
                    <a:lnTo>
                      <a:pt x="64" y="41"/>
                    </a:lnTo>
                    <a:lnTo>
                      <a:pt x="65" y="43"/>
                    </a:lnTo>
                    <a:lnTo>
                      <a:pt x="66" y="46"/>
                    </a:lnTo>
                    <a:lnTo>
                      <a:pt x="63" y="46"/>
                    </a:lnTo>
                    <a:lnTo>
                      <a:pt x="61" y="46"/>
                    </a:lnTo>
                    <a:lnTo>
                      <a:pt x="57" y="46"/>
                    </a:lnTo>
                    <a:lnTo>
                      <a:pt x="55" y="46"/>
                    </a:lnTo>
                    <a:lnTo>
                      <a:pt x="52" y="46"/>
                    </a:lnTo>
                    <a:lnTo>
                      <a:pt x="49" y="46"/>
                    </a:lnTo>
                    <a:lnTo>
                      <a:pt x="46" y="44"/>
                    </a:lnTo>
                    <a:lnTo>
                      <a:pt x="44" y="47"/>
                    </a:lnTo>
                    <a:lnTo>
                      <a:pt x="42" y="47"/>
                    </a:lnTo>
                    <a:lnTo>
                      <a:pt x="38" y="47"/>
                    </a:lnTo>
                    <a:lnTo>
                      <a:pt x="36" y="46"/>
                    </a:lnTo>
                    <a:lnTo>
                      <a:pt x="32" y="45"/>
                    </a:lnTo>
                    <a:lnTo>
                      <a:pt x="32" y="41"/>
                    </a:lnTo>
                    <a:lnTo>
                      <a:pt x="36" y="41"/>
                    </a:lnTo>
                    <a:lnTo>
                      <a:pt x="38" y="39"/>
                    </a:lnTo>
                    <a:lnTo>
                      <a:pt x="38" y="39"/>
                    </a:lnTo>
                    <a:lnTo>
                      <a:pt x="38" y="39"/>
                    </a:lnTo>
                    <a:lnTo>
                      <a:pt x="35" y="39"/>
                    </a:lnTo>
                    <a:lnTo>
                      <a:pt x="32" y="38"/>
                    </a:lnTo>
                    <a:lnTo>
                      <a:pt x="29" y="37"/>
                    </a:lnTo>
                    <a:lnTo>
                      <a:pt x="32" y="36"/>
                    </a:lnTo>
                    <a:lnTo>
                      <a:pt x="30" y="34"/>
                    </a:lnTo>
                    <a:lnTo>
                      <a:pt x="32" y="34"/>
                    </a:lnTo>
                    <a:lnTo>
                      <a:pt x="36" y="33"/>
                    </a:lnTo>
                    <a:lnTo>
                      <a:pt x="38" y="33"/>
                    </a:lnTo>
                    <a:lnTo>
                      <a:pt x="3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38" name="Freeform 234">
                <a:extLst>
                  <a:ext uri="{FF2B5EF4-FFF2-40B4-BE49-F238E27FC236}">
                    <a16:creationId xmlns:a16="http://schemas.microsoft.com/office/drawing/2014/main" id="{568A6A7C-34B1-E115-51B8-A4FACE7D3A6F}"/>
                  </a:ext>
                </a:extLst>
              </p:cNvPr>
              <p:cNvSpPr>
                <a:spLocks noEditPoints="1"/>
              </p:cNvSpPr>
              <p:nvPr/>
            </p:nvSpPr>
            <p:spPr bwMode="auto">
              <a:xfrm>
                <a:off x="3552825" y="2165350"/>
                <a:ext cx="150812" cy="163513"/>
              </a:xfrm>
              <a:custGeom>
                <a:avLst/>
                <a:gdLst>
                  <a:gd name="T0" fmla="*/ 82 w 95"/>
                  <a:gd name="T1" fmla="*/ 7 h 103"/>
                  <a:gd name="T2" fmla="*/ 86 w 95"/>
                  <a:gd name="T3" fmla="*/ 12 h 103"/>
                  <a:gd name="T4" fmla="*/ 95 w 95"/>
                  <a:gd name="T5" fmla="*/ 12 h 103"/>
                  <a:gd name="T6" fmla="*/ 94 w 95"/>
                  <a:gd name="T7" fmla="*/ 4 h 103"/>
                  <a:gd name="T8" fmla="*/ 88 w 95"/>
                  <a:gd name="T9" fmla="*/ 1 h 103"/>
                  <a:gd name="T10" fmla="*/ 81 w 95"/>
                  <a:gd name="T11" fmla="*/ 0 h 103"/>
                  <a:gd name="T12" fmla="*/ 75 w 95"/>
                  <a:gd name="T13" fmla="*/ 4 h 103"/>
                  <a:gd name="T14" fmla="*/ 77 w 95"/>
                  <a:gd name="T15" fmla="*/ 7 h 103"/>
                  <a:gd name="T16" fmla="*/ 81 w 95"/>
                  <a:gd name="T17" fmla="*/ 103 h 103"/>
                  <a:gd name="T18" fmla="*/ 77 w 95"/>
                  <a:gd name="T19" fmla="*/ 101 h 103"/>
                  <a:gd name="T20" fmla="*/ 77 w 95"/>
                  <a:gd name="T21" fmla="*/ 47 h 103"/>
                  <a:gd name="T22" fmla="*/ 84 w 95"/>
                  <a:gd name="T23" fmla="*/ 48 h 103"/>
                  <a:gd name="T24" fmla="*/ 81 w 95"/>
                  <a:gd name="T25" fmla="*/ 56 h 103"/>
                  <a:gd name="T26" fmla="*/ 88 w 95"/>
                  <a:gd name="T27" fmla="*/ 61 h 103"/>
                  <a:gd name="T28" fmla="*/ 88 w 95"/>
                  <a:gd name="T29" fmla="*/ 70 h 103"/>
                  <a:gd name="T30" fmla="*/ 81 w 95"/>
                  <a:gd name="T31" fmla="*/ 71 h 103"/>
                  <a:gd name="T32" fmla="*/ 74 w 95"/>
                  <a:gd name="T33" fmla="*/ 71 h 103"/>
                  <a:gd name="T34" fmla="*/ 66 w 95"/>
                  <a:gd name="T35" fmla="*/ 64 h 103"/>
                  <a:gd name="T36" fmla="*/ 59 w 95"/>
                  <a:gd name="T37" fmla="*/ 60 h 103"/>
                  <a:gd name="T38" fmla="*/ 50 w 95"/>
                  <a:gd name="T39" fmla="*/ 57 h 103"/>
                  <a:gd name="T40" fmla="*/ 42 w 95"/>
                  <a:gd name="T41" fmla="*/ 58 h 103"/>
                  <a:gd name="T42" fmla="*/ 35 w 95"/>
                  <a:gd name="T43" fmla="*/ 54 h 103"/>
                  <a:gd name="T44" fmla="*/ 27 w 95"/>
                  <a:gd name="T45" fmla="*/ 56 h 103"/>
                  <a:gd name="T46" fmla="*/ 19 w 95"/>
                  <a:gd name="T47" fmla="*/ 57 h 103"/>
                  <a:gd name="T48" fmla="*/ 10 w 95"/>
                  <a:gd name="T49" fmla="*/ 53 h 103"/>
                  <a:gd name="T50" fmla="*/ 13 w 95"/>
                  <a:gd name="T51" fmla="*/ 48 h 103"/>
                  <a:gd name="T52" fmla="*/ 22 w 95"/>
                  <a:gd name="T53" fmla="*/ 49 h 103"/>
                  <a:gd name="T54" fmla="*/ 30 w 95"/>
                  <a:gd name="T55" fmla="*/ 49 h 103"/>
                  <a:gd name="T56" fmla="*/ 23 w 95"/>
                  <a:gd name="T57" fmla="*/ 46 h 103"/>
                  <a:gd name="T58" fmla="*/ 30 w 95"/>
                  <a:gd name="T59" fmla="*/ 41 h 103"/>
                  <a:gd name="T60" fmla="*/ 22 w 95"/>
                  <a:gd name="T61" fmla="*/ 43 h 103"/>
                  <a:gd name="T62" fmla="*/ 22 w 95"/>
                  <a:gd name="T63" fmla="*/ 36 h 103"/>
                  <a:gd name="T64" fmla="*/ 15 w 95"/>
                  <a:gd name="T65" fmla="*/ 39 h 103"/>
                  <a:gd name="T66" fmla="*/ 11 w 95"/>
                  <a:gd name="T67" fmla="*/ 37 h 103"/>
                  <a:gd name="T68" fmla="*/ 6 w 95"/>
                  <a:gd name="T69" fmla="*/ 35 h 103"/>
                  <a:gd name="T70" fmla="*/ 0 w 95"/>
                  <a:gd name="T71" fmla="*/ 30 h 103"/>
                  <a:gd name="T72" fmla="*/ 6 w 95"/>
                  <a:gd name="T73" fmla="*/ 26 h 103"/>
                  <a:gd name="T74" fmla="*/ 15 w 95"/>
                  <a:gd name="T75" fmla="*/ 26 h 103"/>
                  <a:gd name="T76" fmla="*/ 23 w 95"/>
                  <a:gd name="T77" fmla="*/ 23 h 103"/>
                  <a:gd name="T78" fmla="*/ 32 w 95"/>
                  <a:gd name="T79" fmla="*/ 26 h 103"/>
                  <a:gd name="T80" fmla="*/ 39 w 95"/>
                  <a:gd name="T81" fmla="*/ 30 h 103"/>
                  <a:gd name="T82" fmla="*/ 42 w 95"/>
                  <a:gd name="T83" fmla="*/ 39 h 103"/>
                  <a:gd name="T84" fmla="*/ 48 w 95"/>
                  <a:gd name="T85" fmla="*/ 34 h 103"/>
                  <a:gd name="T86" fmla="*/ 53 w 95"/>
                  <a:gd name="T87" fmla="*/ 32 h 103"/>
                  <a:gd name="T88" fmla="*/ 64 w 95"/>
                  <a:gd name="T89" fmla="*/ 41 h 103"/>
                  <a:gd name="T90" fmla="*/ 71 w 95"/>
                  <a:gd name="T91" fmla="*/ 40 h 103"/>
                  <a:gd name="T92" fmla="*/ 77 w 95"/>
                  <a:gd name="T93" fmla="*/ 4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 h="103">
                    <a:moveTo>
                      <a:pt x="77" y="7"/>
                    </a:moveTo>
                    <a:lnTo>
                      <a:pt x="78" y="7"/>
                    </a:lnTo>
                    <a:lnTo>
                      <a:pt x="82" y="7"/>
                    </a:lnTo>
                    <a:lnTo>
                      <a:pt x="84" y="7"/>
                    </a:lnTo>
                    <a:lnTo>
                      <a:pt x="87" y="9"/>
                    </a:lnTo>
                    <a:lnTo>
                      <a:pt x="86" y="12"/>
                    </a:lnTo>
                    <a:lnTo>
                      <a:pt x="90" y="12"/>
                    </a:lnTo>
                    <a:lnTo>
                      <a:pt x="92" y="13"/>
                    </a:lnTo>
                    <a:lnTo>
                      <a:pt x="95" y="12"/>
                    </a:lnTo>
                    <a:lnTo>
                      <a:pt x="95" y="10"/>
                    </a:lnTo>
                    <a:lnTo>
                      <a:pt x="94" y="7"/>
                    </a:lnTo>
                    <a:lnTo>
                      <a:pt x="94" y="4"/>
                    </a:lnTo>
                    <a:lnTo>
                      <a:pt x="94" y="3"/>
                    </a:lnTo>
                    <a:lnTo>
                      <a:pt x="91" y="1"/>
                    </a:lnTo>
                    <a:lnTo>
                      <a:pt x="88" y="1"/>
                    </a:lnTo>
                    <a:lnTo>
                      <a:pt x="85" y="1"/>
                    </a:lnTo>
                    <a:lnTo>
                      <a:pt x="83" y="0"/>
                    </a:lnTo>
                    <a:lnTo>
                      <a:pt x="81" y="0"/>
                    </a:lnTo>
                    <a:lnTo>
                      <a:pt x="79" y="0"/>
                    </a:lnTo>
                    <a:lnTo>
                      <a:pt x="76" y="2"/>
                    </a:lnTo>
                    <a:lnTo>
                      <a:pt x="75" y="4"/>
                    </a:lnTo>
                    <a:lnTo>
                      <a:pt x="75" y="5"/>
                    </a:lnTo>
                    <a:lnTo>
                      <a:pt x="76" y="7"/>
                    </a:lnTo>
                    <a:lnTo>
                      <a:pt x="77" y="7"/>
                    </a:lnTo>
                    <a:lnTo>
                      <a:pt x="77" y="7"/>
                    </a:lnTo>
                    <a:close/>
                    <a:moveTo>
                      <a:pt x="77" y="103"/>
                    </a:moveTo>
                    <a:lnTo>
                      <a:pt x="81" y="103"/>
                    </a:lnTo>
                    <a:lnTo>
                      <a:pt x="83" y="103"/>
                    </a:lnTo>
                    <a:lnTo>
                      <a:pt x="81" y="101"/>
                    </a:lnTo>
                    <a:lnTo>
                      <a:pt x="77" y="101"/>
                    </a:lnTo>
                    <a:lnTo>
                      <a:pt x="77" y="103"/>
                    </a:lnTo>
                    <a:lnTo>
                      <a:pt x="77" y="103"/>
                    </a:lnTo>
                    <a:close/>
                    <a:moveTo>
                      <a:pt x="77" y="47"/>
                    </a:moveTo>
                    <a:lnTo>
                      <a:pt x="78" y="47"/>
                    </a:lnTo>
                    <a:lnTo>
                      <a:pt x="81" y="47"/>
                    </a:lnTo>
                    <a:lnTo>
                      <a:pt x="84" y="48"/>
                    </a:lnTo>
                    <a:lnTo>
                      <a:pt x="82" y="51"/>
                    </a:lnTo>
                    <a:lnTo>
                      <a:pt x="81" y="54"/>
                    </a:lnTo>
                    <a:lnTo>
                      <a:pt x="81" y="56"/>
                    </a:lnTo>
                    <a:lnTo>
                      <a:pt x="84" y="56"/>
                    </a:lnTo>
                    <a:lnTo>
                      <a:pt x="86" y="60"/>
                    </a:lnTo>
                    <a:lnTo>
                      <a:pt x="88" y="61"/>
                    </a:lnTo>
                    <a:lnTo>
                      <a:pt x="92" y="64"/>
                    </a:lnTo>
                    <a:lnTo>
                      <a:pt x="90" y="66"/>
                    </a:lnTo>
                    <a:lnTo>
                      <a:pt x="88" y="70"/>
                    </a:lnTo>
                    <a:lnTo>
                      <a:pt x="86" y="70"/>
                    </a:lnTo>
                    <a:lnTo>
                      <a:pt x="83" y="71"/>
                    </a:lnTo>
                    <a:lnTo>
                      <a:pt x="81" y="71"/>
                    </a:lnTo>
                    <a:lnTo>
                      <a:pt x="77" y="71"/>
                    </a:lnTo>
                    <a:lnTo>
                      <a:pt x="76" y="71"/>
                    </a:lnTo>
                    <a:lnTo>
                      <a:pt x="74" y="71"/>
                    </a:lnTo>
                    <a:lnTo>
                      <a:pt x="70" y="70"/>
                    </a:lnTo>
                    <a:lnTo>
                      <a:pt x="68" y="68"/>
                    </a:lnTo>
                    <a:lnTo>
                      <a:pt x="66" y="64"/>
                    </a:lnTo>
                    <a:lnTo>
                      <a:pt x="65" y="62"/>
                    </a:lnTo>
                    <a:lnTo>
                      <a:pt x="61" y="60"/>
                    </a:lnTo>
                    <a:lnTo>
                      <a:pt x="59" y="60"/>
                    </a:lnTo>
                    <a:lnTo>
                      <a:pt x="56" y="58"/>
                    </a:lnTo>
                    <a:lnTo>
                      <a:pt x="53" y="57"/>
                    </a:lnTo>
                    <a:lnTo>
                      <a:pt x="50" y="57"/>
                    </a:lnTo>
                    <a:lnTo>
                      <a:pt x="48" y="56"/>
                    </a:lnTo>
                    <a:lnTo>
                      <a:pt x="44" y="57"/>
                    </a:lnTo>
                    <a:lnTo>
                      <a:pt x="42" y="58"/>
                    </a:lnTo>
                    <a:lnTo>
                      <a:pt x="39" y="56"/>
                    </a:lnTo>
                    <a:lnTo>
                      <a:pt x="39" y="54"/>
                    </a:lnTo>
                    <a:lnTo>
                      <a:pt x="35" y="54"/>
                    </a:lnTo>
                    <a:lnTo>
                      <a:pt x="33" y="55"/>
                    </a:lnTo>
                    <a:lnTo>
                      <a:pt x="31" y="55"/>
                    </a:lnTo>
                    <a:lnTo>
                      <a:pt x="27" y="56"/>
                    </a:lnTo>
                    <a:lnTo>
                      <a:pt x="25" y="57"/>
                    </a:lnTo>
                    <a:lnTo>
                      <a:pt x="22" y="57"/>
                    </a:lnTo>
                    <a:lnTo>
                      <a:pt x="19" y="57"/>
                    </a:lnTo>
                    <a:lnTo>
                      <a:pt x="16" y="57"/>
                    </a:lnTo>
                    <a:lnTo>
                      <a:pt x="14" y="55"/>
                    </a:lnTo>
                    <a:lnTo>
                      <a:pt x="10" y="53"/>
                    </a:lnTo>
                    <a:lnTo>
                      <a:pt x="8" y="51"/>
                    </a:lnTo>
                    <a:lnTo>
                      <a:pt x="10" y="48"/>
                    </a:lnTo>
                    <a:lnTo>
                      <a:pt x="13" y="48"/>
                    </a:lnTo>
                    <a:lnTo>
                      <a:pt x="16" y="48"/>
                    </a:lnTo>
                    <a:lnTo>
                      <a:pt x="18" y="48"/>
                    </a:lnTo>
                    <a:lnTo>
                      <a:pt x="22" y="49"/>
                    </a:lnTo>
                    <a:lnTo>
                      <a:pt x="24" y="49"/>
                    </a:lnTo>
                    <a:lnTo>
                      <a:pt x="27" y="49"/>
                    </a:lnTo>
                    <a:lnTo>
                      <a:pt x="30" y="49"/>
                    </a:lnTo>
                    <a:lnTo>
                      <a:pt x="28" y="47"/>
                    </a:lnTo>
                    <a:lnTo>
                      <a:pt x="26" y="47"/>
                    </a:lnTo>
                    <a:lnTo>
                      <a:pt x="23" y="46"/>
                    </a:lnTo>
                    <a:lnTo>
                      <a:pt x="26" y="45"/>
                    </a:lnTo>
                    <a:lnTo>
                      <a:pt x="30" y="44"/>
                    </a:lnTo>
                    <a:lnTo>
                      <a:pt x="30" y="41"/>
                    </a:lnTo>
                    <a:lnTo>
                      <a:pt x="27" y="41"/>
                    </a:lnTo>
                    <a:lnTo>
                      <a:pt x="24" y="41"/>
                    </a:lnTo>
                    <a:lnTo>
                      <a:pt x="22" y="43"/>
                    </a:lnTo>
                    <a:lnTo>
                      <a:pt x="22" y="40"/>
                    </a:lnTo>
                    <a:lnTo>
                      <a:pt x="24" y="38"/>
                    </a:lnTo>
                    <a:lnTo>
                      <a:pt x="22" y="36"/>
                    </a:lnTo>
                    <a:lnTo>
                      <a:pt x="18" y="36"/>
                    </a:lnTo>
                    <a:lnTo>
                      <a:pt x="16" y="37"/>
                    </a:lnTo>
                    <a:lnTo>
                      <a:pt x="15" y="39"/>
                    </a:lnTo>
                    <a:lnTo>
                      <a:pt x="11" y="41"/>
                    </a:lnTo>
                    <a:lnTo>
                      <a:pt x="9" y="39"/>
                    </a:lnTo>
                    <a:lnTo>
                      <a:pt x="11" y="37"/>
                    </a:lnTo>
                    <a:lnTo>
                      <a:pt x="11" y="34"/>
                    </a:lnTo>
                    <a:lnTo>
                      <a:pt x="9" y="34"/>
                    </a:lnTo>
                    <a:lnTo>
                      <a:pt x="6" y="35"/>
                    </a:lnTo>
                    <a:lnTo>
                      <a:pt x="3" y="35"/>
                    </a:lnTo>
                    <a:lnTo>
                      <a:pt x="0" y="34"/>
                    </a:lnTo>
                    <a:lnTo>
                      <a:pt x="0" y="30"/>
                    </a:lnTo>
                    <a:lnTo>
                      <a:pt x="1" y="28"/>
                    </a:lnTo>
                    <a:lnTo>
                      <a:pt x="3" y="26"/>
                    </a:lnTo>
                    <a:lnTo>
                      <a:pt x="6" y="26"/>
                    </a:lnTo>
                    <a:lnTo>
                      <a:pt x="9" y="26"/>
                    </a:lnTo>
                    <a:lnTo>
                      <a:pt x="11" y="26"/>
                    </a:lnTo>
                    <a:lnTo>
                      <a:pt x="15" y="26"/>
                    </a:lnTo>
                    <a:lnTo>
                      <a:pt x="17" y="24"/>
                    </a:lnTo>
                    <a:lnTo>
                      <a:pt x="20" y="24"/>
                    </a:lnTo>
                    <a:lnTo>
                      <a:pt x="23" y="23"/>
                    </a:lnTo>
                    <a:lnTo>
                      <a:pt x="26" y="24"/>
                    </a:lnTo>
                    <a:lnTo>
                      <a:pt x="28" y="26"/>
                    </a:lnTo>
                    <a:lnTo>
                      <a:pt x="32" y="26"/>
                    </a:lnTo>
                    <a:lnTo>
                      <a:pt x="34" y="27"/>
                    </a:lnTo>
                    <a:lnTo>
                      <a:pt x="37" y="28"/>
                    </a:lnTo>
                    <a:lnTo>
                      <a:pt x="39" y="30"/>
                    </a:lnTo>
                    <a:lnTo>
                      <a:pt x="41" y="34"/>
                    </a:lnTo>
                    <a:lnTo>
                      <a:pt x="40" y="36"/>
                    </a:lnTo>
                    <a:lnTo>
                      <a:pt x="42" y="39"/>
                    </a:lnTo>
                    <a:lnTo>
                      <a:pt x="44" y="37"/>
                    </a:lnTo>
                    <a:lnTo>
                      <a:pt x="47" y="34"/>
                    </a:lnTo>
                    <a:lnTo>
                      <a:pt x="48" y="34"/>
                    </a:lnTo>
                    <a:lnTo>
                      <a:pt x="50" y="32"/>
                    </a:lnTo>
                    <a:lnTo>
                      <a:pt x="53" y="32"/>
                    </a:lnTo>
                    <a:lnTo>
                      <a:pt x="53" y="32"/>
                    </a:lnTo>
                    <a:lnTo>
                      <a:pt x="60" y="36"/>
                    </a:lnTo>
                    <a:lnTo>
                      <a:pt x="62" y="38"/>
                    </a:lnTo>
                    <a:lnTo>
                      <a:pt x="64" y="41"/>
                    </a:lnTo>
                    <a:lnTo>
                      <a:pt x="66" y="41"/>
                    </a:lnTo>
                    <a:lnTo>
                      <a:pt x="69" y="41"/>
                    </a:lnTo>
                    <a:lnTo>
                      <a:pt x="71" y="40"/>
                    </a:lnTo>
                    <a:lnTo>
                      <a:pt x="75" y="43"/>
                    </a:lnTo>
                    <a:lnTo>
                      <a:pt x="77" y="43"/>
                    </a:lnTo>
                    <a:lnTo>
                      <a:pt x="77" y="47"/>
                    </a:lnTo>
                    <a:lnTo>
                      <a:pt x="7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39" name="Freeform 235">
                <a:extLst>
                  <a:ext uri="{FF2B5EF4-FFF2-40B4-BE49-F238E27FC236}">
                    <a16:creationId xmlns:a16="http://schemas.microsoft.com/office/drawing/2014/main" id="{53D6DD4F-0637-1D7E-EAF8-94B30DFFFFD5}"/>
                  </a:ext>
                </a:extLst>
              </p:cNvPr>
              <p:cNvSpPr>
                <a:spLocks noEditPoints="1"/>
              </p:cNvSpPr>
              <p:nvPr/>
            </p:nvSpPr>
            <p:spPr bwMode="auto">
              <a:xfrm>
                <a:off x="3294063" y="2320925"/>
                <a:ext cx="301625" cy="174625"/>
              </a:xfrm>
              <a:custGeom>
                <a:avLst/>
                <a:gdLst>
                  <a:gd name="T0" fmla="*/ 125 w 190"/>
                  <a:gd name="T1" fmla="*/ 20 h 110"/>
                  <a:gd name="T2" fmla="*/ 131 w 190"/>
                  <a:gd name="T3" fmla="*/ 27 h 110"/>
                  <a:gd name="T4" fmla="*/ 144 w 190"/>
                  <a:gd name="T5" fmla="*/ 31 h 110"/>
                  <a:gd name="T6" fmla="*/ 151 w 190"/>
                  <a:gd name="T7" fmla="*/ 23 h 110"/>
                  <a:gd name="T8" fmla="*/ 165 w 190"/>
                  <a:gd name="T9" fmla="*/ 30 h 110"/>
                  <a:gd name="T10" fmla="*/ 160 w 190"/>
                  <a:gd name="T11" fmla="*/ 45 h 110"/>
                  <a:gd name="T12" fmla="*/ 144 w 190"/>
                  <a:gd name="T13" fmla="*/ 54 h 110"/>
                  <a:gd name="T14" fmla="*/ 129 w 190"/>
                  <a:gd name="T15" fmla="*/ 54 h 110"/>
                  <a:gd name="T16" fmla="*/ 117 w 190"/>
                  <a:gd name="T17" fmla="*/ 52 h 110"/>
                  <a:gd name="T18" fmla="*/ 103 w 190"/>
                  <a:gd name="T19" fmla="*/ 57 h 110"/>
                  <a:gd name="T20" fmla="*/ 85 w 190"/>
                  <a:gd name="T21" fmla="*/ 65 h 110"/>
                  <a:gd name="T22" fmla="*/ 69 w 190"/>
                  <a:gd name="T23" fmla="*/ 68 h 110"/>
                  <a:gd name="T24" fmla="*/ 52 w 190"/>
                  <a:gd name="T25" fmla="*/ 67 h 110"/>
                  <a:gd name="T26" fmla="*/ 50 w 190"/>
                  <a:gd name="T27" fmla="*/ 58 h 110"/>
                  <a:gd name="T28" fmla="*/ 66 w 190"/>
                  <a:gd name="T29" fmla="*/ 53 h 110"/>
                  <a:gd name="T30" fmla="*/ 88 w 190"/>
                  <a:gd name="T31" fmla="*/ 49 h 110"/>
                  <a:gd name="T32" fmla="*/ 77 w 190"/>
                  <a:gd name="T33" fmla="*/ 49 h 110"/>
                  <a:gd name="T34" fmla="*/ 63 w 190"/>
                  <a:gd name="T35" fmla="*/ 50 h 110"/>
                  <a:gd name="T36" fmla="*/ 52 w 190"/>
                  <a:gd name="T37" fmla="*/ 47 h 110"/>
                  <a:gd name="T38" fmla="*/ 51 w 190"/>
                  <a:gd name="T39" fmla="*/ 42 h 110"/>
                  <a:gd name="T40" fmla="*/ 43 w 190"/>
                  <a:gd name="T41" fmla="*/ 50 h 110"/>
                  <a:gd name="T42" fmla="*/ 29 w 190"/>
                  <a:gd name="T43" fmla="*/ 50 h 110"/>
                  <a:gd name="T44" fmla="*/ 17 w 190"/>
                  <a:gd name="T45" fmla="*/ 50 h 110"/>
                  <a:gd name="T46" fmla="*/ 3 w 190"/>
                  <a:gd name="T47" fmla="*/ 48 h 110"/>
                  <a:gd name="T48" fmla="*/ 12 w 190"/>
                  <a:gd name="T49" fmla="*/ 39 h 110"/>
                  <a:gd name="T50" fmla="*/ 29 w 190"/>
                  <a:gd name="T51" fmla="*/ 36 h 110"/>
                  <a:gd name="T52" fmla="*/ 24 w 190"/>
                  <a:gd name="T53" fmla="*/ 35 h 110"/>
                  <a:gd name="T54" fmla="*/ 4 w 190"/>
                  <a:gd name="T55" fmla="*/ 36 h 110"/>
                  <a:gd name="T56" fmla="*/ 20 w 190"/>
                  <a:gd name="T57" fmla="*/ 30 h 110"/>
                  <a:gd name="T58" fmla="*/ 37 w 190"/>
                  <a:gd name="T59" fmla="*/ 27 h 110"/>
                  <a:gd name="T60" fmla="*/ 20 w 190"/>
                  <a:gd name="T61" fmla="*/ 28 h 110"/>
                  <a:gd name="T62" fmla="*/ 14 w 190"/>
                  <a:gd name="T63" fmla="*/ 20 h 110"/>
                  <a:gd name="T64" fmla="*/ 34 w 190"/>
                  <a:gd name="T65" fmla="*/ 20 h 110"/>
                  <a:gd name="T66" fmla="*/ 25 w 190"/>
                  <a:gd name="T67" fmla="*/ 18 h 110"/>
                  <a:gd name="T68" fmla="*/ 36 w 190"/>
                  <a:gd name="T69" fmla="*/ 10 h 110"/>
                  <a:gd name="T70" fmla="*/ 50 w 190"/>
                  <a:gd name="T71" fmla="*/ 19 h 110"/>
                  <a:gd name="T72" fmla="*/ 66 w 190"/>
                  <a:gd name="T73" fmla="*/ 19 h 110"/>
                  <a:gd name="T74" fmla="*/ 76 w 190"/>
                  <a:gd name="T75" fmla="*/ 27 h 110"/>
                  <a:gd name="T76" fmla="*/ 84 w 190"/>
                  <a:gd name="T77" fmla="*/ 35 h 110"/>
                  <a:gd name="T78" fmla="*/ 101 w 190"/>
                  <a:gd name="T79" fmla="*/ 37 h 110"/>
                  <a:gd name="T80" fmla="*/ 117 w 190"/>
                  <a:gd name="T81" fmla="*/ 37 h 110"/>
                  <a:gd name="T82" fmla="*/ 106 w 190"/>
                  <a:gd name="T83" fmla="*/ 28 h 110"/>
                  <a:gd name="T84" fmla="*/ 113 w 190"/>
                  <a:gd name="T85" fmla="*/ 24 h 110"/>
                  <a:gd name="T86" fmla="*/ 99 w 190"/>
                  <a:gd name="T87" fmla="*/ 15 h 110"/>
                  <a:gd name="T88" fmla="*/ 112 w 190"/>
                  <a:gd name="T89" fmla="*/ 3 h 110"/>
                  <a:gd name="T90" fmla="*/ 121 w 190"/>
                  <a:gd name="T91" fmla="*/ 7 h 110"/>
                  <a:gd name="T92" fmla="*/ 188 w 190"/>
                  <a:gd name="T93" fmla="*/ 43 h 110"/>
                  <a:gd name="T94" fmla="*/ 178 w 190"/>
                  <a:gd name="T95" fmla="*/ 51 h 110"/>
                  <a:gd name="T96" fmla="*/ 181 w 190"/>
                  <a:gd name="T97" fmla="*/ 40 h 110"/>
                  <a:gd name="T98" fmla="*/ 160 w 190"/>
                  <a:gd name="T99" fmla="*/ 103 h 110"/>
                  <a:gd name="T100" fmla="*/ 145 w 190"/>
                  <a:gd name="T101" fmla="*/ 93 h 110"/>
                  <a:gd name="T102" fmla="*/ 165 w 190"/>
                  <a:gd name="T103" fmla="*/ 86 h 110"/>
                  <a:gd name="T104" fmla="*/ 178 w 190"/>
                  <a:gd name="T105" fmla="*/ 93 h 110"/>
                  <a:gd name="T106" fmla="*/ 169 w 190"/>
                  <a:gd name="T10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 h="110">
                    <a:moveTo>
                      <a:pt x="125" y="11"/>
                    </a:moveTo>
                    <a:lnTo>
                      <a:pt x="123" y="13"/>
                    </a:lnTo>
                    <a:lnTo>
                      <a:pt x="126" y="14"/>
                    </a:lnTo>
                    <a:lnTo>
                      <a:pt x="129" y="16"/>
                    </a:lnTo>
                    <a:lnTo>
                      <a:pt x="128" y="18"/>
                    </a:lnTo>
                    <a:lnTo>
                      <a:pt x="125" y="20"/>
                    </a:lnTo>
                    <a:lnTo>
                      <a:pt x="126" y="23"/>
                    </a:lnTo>
                    <a:lnTo>
                      <a:pt x="128" y="23"/>
                    </a:lnTo>
                    <a:lnTo>
                      <a:pt x="131" y="23"/>
                    </a:lnTo>
                    <a:lnTo>
                      <a:pt x="134" y="23"/>
                    </a:lnTo>
                    <a:lnTo>
                      <a:pt x="135" y="26"/>
                    </a:lnTo>
                    <a:lnTo>
                      <a:pt x="131" y="27"/>
                    </a:lnTo>
                    <a:lnTo>
                      <a:pt x="132" y="31"/>
                    </a:lnTo>
                    <a:lnTo>
                      <a:pt x="135" y="27"/>
                    </a:lnTo>
                    <a:lnTo>
                      <a:pt x="138" y="27"/>
                    </a:lnTo>
                    <a:lnTo>
                      <a:pt x="140" y="27"/>
                    </a:lnTo>
                    <a:lnTo>
                      <a:pt x="143" y="28"/>
                    </a:lnTo>
                    <a:lnTo>
                      <a:pt x="144" y="31"/>
                    </a:lnTo>
                    <a:lnTo>
                      <a:pt x="146" y="34"/>
                    </a:lnTo>
                    <a:lnTo>
                      <a:pt x="146" y="31"/>
                    </a:lnTo>
                    <a:lnTo>
                      <a:pt x="149" y="30"/>
                    </a:lnTo>
                    <a:lnTo>
                      <a:pt x="146" y="27"/>
                    </a:lnTo>
                    <a:lnTo>
                      <a:pt x="147" y="25"/>
                    </a:lnTo>
                    <a:lnTo>
                      <a:pt x="151" y="23"/>
                    </a:lnTo>
                    <a:lnTo>
                      <a:pt x="153" y="23"/>
                    </a:lnTo>
                    <a:lnTo>
                      <a:pt x="155" y="24"/>
                    </a:lnTo>
                    <a:lnTo>
                      <a:pt x="159" y="24"/>
                    </a:lnTo>
                    <a:lnTo>
                      <a:pt x="161" y="25"/>
                    </a:lnTo>
                    <a:lnTo>
                      <a:pt x="164" y="27"/>
                    </a:lnTo>
                    <a:lnTo>
                      <a:pt x="165" y="30"/>
                    </a:lnTo>
                    <a:lnTo>
                      <a:pt x="165" y="32"/>
                    </a:lnTo>
                    <a:lnTo>
                      <a:pt x="166" y="35"/>
                    </a:lnTo>
                    <a:lnTo>
                      <a:pt x="163" y="37"/>
                    </a:lnTo>
                    <a:lnTo>
                      <a:pt x="163" y="40"/>
                    </a:lnTo>
                    <a:lnTo>
                      <a:pt x="162" y="43"/>
                    </a:lnTo>
                    <a:lnTo>
                      <a:pt x="160" y="45"/>
                    </a:lnTo>
                    <a:lnTo>
                      <a:pt x="160" y="49"/>
                    </a:lnTo>
                    <a:lnTo>
                      <a:pt x="157" y="51"/>
                    </a:lnTo>
                    <a:lnTo>
                      <a:pt x="154" y="52"/>
                    </a:lnTo>
                    <a:lnTo>
                      <a:pt x="152" y="52"/>
                    </a:lnTo>
                    <a:lnTo>
                      <a:pt x="148" y="52"/>
                    </a:lnTo>
                    <a:lnTo>
                      <a:pt x="144" y="54"/>
                    </a:lnTo>
                    <a:lnTo>
                      <a:pt x="140" y="54"/>
                    </a:lnTo>
                    <a:lnTo>
                      <a:pt x="138" y="54"/>
                    </a:lnTo>
                    <a:lnTo>
                      <a:pt x="135" y="52"/>
                    </a:lnTo>
                    <a:lnTo>
                      <a:pt x="134" y="50"/>
                    </a:lnTo>
                    <a:lnTo>
                      <a:pt x="131" y="52"/>
                    </a:lnTo>
                    <a:lnTo>
                      <a:pt x="129" y="54"/>
                    </a:lnTo>
                    <a:lnTo>
                      <a:pt x="126" y="54"/>
                    </a:lnTo>
                    <a:lnTo>
                      <a:pt x="123" y="53"/>
                    </a:lnTo>
                    <a:lnTo>
                      <a:pt x="120" y="53"/>
                    </a:lnTo>
                    <a:lnTo>
                      <a:pt x="122" y="52"/>
                    </a:lnTo>
                    <a:lnTo>
                      <a:pt x="120" y="51"/>
                    </a:lnTo>
                    <a:lnTo>
                      <a:pt x="117" y="52"/>
                    </a:lnTo>
                    <a:lnTo>
                      <a:pt x="114" y="53"/>
                    </a:lnTo>
                    <a:lnTo>
                      <a:pt x="112" y="56"/>
                    </a:lnTo>
                    <a:lnTo>
                      <a:pt x="109" y="57"/>
                    </a:lnTo>
                    <a:lnTo>
                      <a:pt x="106" y="56"/>
                    </a:lnTo>
                    <a:lnTo>
                      <a:pt x="103" y="57"/>
                    </a:lnTo>
                    <a:lnTo>
                      <a:pt x="103" y="57"/>
                    </a:lnTo>
                    <a:lnTo>
                      <a:pt x="100" y="57"/>
                    </a:lnTo>
                    <a:lnTo>
                      <a:pt x="97" y="58"/>
                    </a:lnTo>
                    <a:lnTo>
                      <a:pt x="94" y="58"/>
                    </a:lnTo>
                    <a:lnTo>
                      <a:pt x="94" y="61"/>
                    </a:lnTo>
                    <a:lnTo>
                      <a:pt x="91" y="62"/>
                    </a:lnTo>
                    <a:lnTo>
                      <a:pt x="85" y="65"/>
                    </a:lnTo>
                    <a:lnTo>
                      <a:pt x="83" y="65"/>
                    </a:lnTo>
                    <a:lnTo>
                      <a:pt x="79" y="66"/>
                    </a:lnTo>
                    <a:lnTo>
                      <a:pt x="77" y="67"/>
                    </a:lnTo>
                    <a:lnTo>
                      <a:pt x="74" y="67"/>
                    </a:lnTo>
                    <a:lnTo>
                      <a:pt x="71" y="68"/>
                    </a:lnTo>
                    <a:lnTo>
                      <a:pt x="69" y="68"/>
                    </a:lnTo>
                    <a:lnTo>
                      <a:pt x="66" y="68"/>
                    </a:lnTo>
                    <a:lnTo>
                      <a:pt x="63" y="69"/>
                    </a:lnTo>
                    <a:lnTo>
                      <a:pt x="60" y="68"/>
                    </a:lnTo>
                    <a:lnTo>
                      <a:pt x="58" y="68"/>
                    </a:lnTo>
                    <a:lnTo>
                      <a:pt x="54" y="68"/>
                    </a:lnTo>
                    <a:lnTo>
                      <a:pt x="52" y="67"/>
                    </a:lnTo>
                    <a:lnTo>
                      <a:pt x="49" y="66"/>
                    </a:lnTo>
                    <a:lnTo>
                      <a:pt x="46" y="65"/>
                    </a:lnTo>
                    <a:lnTo>
                      <a:pt x="43" y="62"/>
                    </a:lnTo>
                    <a:lnTo>
                      <a:pt x="44" y="60"/>
                    </a:lnTo>
                    <a:lnTo>
                      <a:pt x="46" y="59"/>
                    </a:lnTo>
                    <a:lnTo>
                      <a:pt x="50" y="58"/>
                    </a:lnTo>
                    <a:lnTo>
                      <a:pt x="52" y="57"/>
                    </a:lnTo>
                    <a:lnTo>
                      <a:pt x="55" y="57"/>
                    </a:lnTo>
                    <a:lnTo>
                      <a:pt x="58" y="56"/>
                    </a:lnTo>
                    <a:lnTo>
                      <a:pt x="61" y="54"/>
                    </a:lnTo>
                    <a:lnTo>
                      <a:pt x="63" y="53"/>
                    </a:lnTo>
                    <a:lnTo>
                      <a:pt x="66" y="53"/>
                    </a:lnTo>
                    <a:lnTo>
                      <a:pt x="69" y="52"/>
                    </a:lnTo>
                    <a:lnTo>
                      <a:pt x="71" y="52"/>
                    </a:lnTo>
                    <a:lnTo>
                      <a:pt x="75" y="52"/>
                    </a:lnTo>
                    <a:lnTo>
                      <a:pt x="79" y="53"/>
                    </a:lnTo>
                    <a:lnTo>
                      <a:pt x="83" y="50"/>
                    </a:lnTo>
                    <a:lnTo>
                      <a:pt x="88" y="49"/>
                    </a:lnTo>
                    <a:lnTo>
                      <a:pt x="91" y="45"/>
                    </a:lnTo>
                    <a:lnTo>
                      <a:pt x="88" y="45"/>
                    </a:lnTo>
                    <a:lnTo>
                      <a:pt x="85" y="47"/>
                    </a:lnTo>
                    <a:lnTo>
                      <a:pt x="83" y="48"/>
                    </a:lnTo>
                    <a:lnTo>
                      <a:pt x="79" y="48"/>
                    </a:lnTo>
                    <a:lnTo>
                      <a:pt x="77" y="49"/>
                    </a:lnTo>
                    <a:lnTo>
                      <a:pt x="75" y="49"/>
                    </a:lnTo>
                    <a:lnTo>
                      <a:pt x="71" y="47"/>
                    </a:lnTo>
                    <a:lnTo>
                      <a:pt x="69" y="48"/>
                    </a:lnTo>
                    <a:lnTo>
                      <a:pt x="66" y="45"/>
                    </a:lnTo>
                    <a:lnTo>
                      <a:pt x="67" y="49"/>
                    </a:lnTo>
                    <a:lnTo>
                      <a:pt x="63" y="50"/>
                    </a:lnTo>
                    <a:lnTo>
                      <a:pt x="61" y="49"/>
                    </a:lnTo>
                    <a:lnTo>
                      <a:pt x="58" y="50"/>
                    </a:lnTo>
                    <a:lnTo>
                      <a:pt x="55" y="50"/>
                    </a:lnTo>
                    <a:lnTo>
                      <a:pt x="52" y="51"/>
                    </a:lnTo>
                    <a:lnTo>
                      <a:pt x="50" y="49"/>
                    </a:lnTo>
                    <a:lnTo>
                      <a:pt x="52" y="47"/>
                    </a:lnTo>
                    <a:lnTo>
                      <a:pt x="50" y="47"/>
                    </a:lnTo>
                    <a:lnTo>
                      <a:pt x="51" y="44"/>
                    </a:lnTo>
                    <a:lnTo>
                      <a:pt x="53" y="43"/>
                    </a:lnTo>
                    <a:lnTo>
                      <a:pt x="57" y="41"/>
                    </a:lnTo>
                    <a:lnTo>
                      <a:pt x="53" y="41"/>
                    </a:lnTo>
                    <a:lnTo>
                      <a:pt x="51" y="42"/>
                    </a:lnTo>
                    <a:lnTo>
                      <a:pt x="48" y="42"/>
                    </a:lnTo>
                    <a:lnTo>
                      <a:pt x="46" y="44"/>
                    </a:lnTo>
                    <a:lnTo>
                      <a:pt x="44" y="45"/>
                    </a:lnTo>
                    <a:lnTo>
                      <a:pt x="42" y="45"/>
                    </a:lnTo>
                    <a:lnTo>
                      <a:pt x="44" y="48"/>
                    </a:lnTo>
                    <a:lnTo>
                      <a:pt x="43" y="50"/>
                    </a:lnTo>
                    <a:lnTo>
                      <a:pt x="41" y="51"/>
                    </a:lnTo>
                    <a:lnTo>
                      <a:pt x="37" y="52"/>
                    </a:lnTo>
                    <a:lnTo>
                      <a:pt x="34" y="53"/>
                    </a:lnTo>
                    <a:lnTo>
                      <a:pt x="32" y="51"/>
                    </a:lnTo>
                    <a:lnTo>
                      <a:pt x="33" y="49"/>
                    </a:lnTo>
                    <a:lnTo>
                      <a:pt x="29" y="50"/>
                    </a:lnTo>
                    <a:lnTo>
                      <a:pt x="27" y="50"/>
                    </a:lnTo>
                    <a:lnTo>
                      <a:pt x="26" y="53"/>
                    </a:lnTo>
                    <a:lnTo>
                      <a:pt x="24" y="53"/>
                    </a:lnTo>
                    <a:lnTo>
                      <a:pt x="20" y="52"/>
                    </a:lnTo>
                    <a:lnTo>
                      <a:pt x="19" y="49"/>
                    </a:lnTo>
                    <a:lnTo>
                      <a:pt x="17" y="50"/>
                    </a:lnTo>
                    <a:lnTo>
                      <a:pt x="17" y="47"/>
                    </a:lnTo>
                    <a:lnTo>
                      <a:pt x="14" y="48"/>
                    </a:lnTo>
                    <a:lnTo>
                      <a:pt x="11" y="49"/>
                    </a:lnTo>
                    <a:lnTo>
                      <a:pt x="8" y="48"/>
                    </a:lnTo>
                    <a:lnTo>
                      <a:pt x="6" y="48"/>
                    </a:lnTo>
                    <a:lnTo>
                      <a:pt x="3" y="48"/>
                    </a:lnTo>
                    <a:lnTo>
                      <a:pt x="0" y="47"/>
                    </a:lnTo>
                    <a:lnTo>
                      <a:pt x="0" y="44"/>
                    </a:lnTo>
                    <a:lnTo>
                      <a:pt x="1" y="41"/>
                    </a:lnTo>
                    <a:lnTo>
                      <a:pt x="4" y="40"/>
                    </a:lnTo>
                    <a:lnTo>
                      <a:pt x="7" y="39"/>
                    </a:lnTo>
                    <a:lnTo>
                      <a:pt x="12" y="39"/>
                    </a:lnTo>
                    <a:lnTo>
                      <a:pt x="16" y="40"/>
                    </a:lnTo>
                    <a:lnTo>
                      <a:pt x="18" y="40"/>
                    </a:lnTo>
                    <a:lnTo>
                      <a:pt x="20" y="39"/>
                    </a:lnTo>
                    <a:lnTo>
                      <a:pt x="24" y="37"/>
                    </a:lnTo>
                    <a:lnTo>
                      <a:pt x="26" y="36"/>
                    </a:lnTo>
                    <a:lnTo>
                      <a:pt x="29" y="36"/>
                    </a:lnTo>
                    <a:lnTo>
                      <a:pt x="32" y="34"/>
                    </a:lnTo>
                    <a:lnTo>
                      <a:pt x="35" y="33"/>
                    </a:lnTo>
                    <a:lnTo>
                      <a:pt x="32" y="33"/>
                    </a:lnTo>
                    <a:lnTo>
                      <a:pt x="29" y="34"/>
                    </a:lnTo>
                    <a:lnTo>
                      <a:pt x="26" y="34"/>
                    </a:lnTo>
                    <a:lnTo>
                      <a:pt x="24" y="35"/>
                    </a:lnTo>
                    <a:lnTo>
                      <a:pt x="20" y="36"/>
                    </a:lnTo>
                    <a:lnTo>
                      <a:pt x="18" y="36"/>
                    </a:lnTo>
                    <a:lnTo>
                      <a:pt x="15" y="36"/>
                    </a:lnTo>
                    <a:lnTo>
                      <a:pt x="9" y="36"/>
                    </a:lnTo>
                    <a:lnTo>
                      <a:pt x="7" y="36"/>
                    </a:lnTo>
                    <a:lnTo>
                      <a:pt x="4" y="36"/>
                    </a:lnTo>
                    <a:lnTo>
                      <a:pt x="7" y="33"/>
                    </a:lnTo>
                    <a:lnTo>
                      <a:pt x="9" y="31"/>
                    </a:lnTo>
                    <a:lnTo>
                      <a:pt x="11" y="31"/>
                    </a:lnTo>
                    <a:lnTo>
                      <a:pt x="15" y="31"/>
                    </a:lnTo>
                    <a:lnTo>
                      <a:pt x="18" y="30"/>
                    </a:lnTo>
                    <a:lnTo>
                      <a:pt x="20" y="30"/>
                    </a:lnTo>
                    <a:lnTo>
                      <a:pt x="23" y="30"/>
                    </a:lnTo>
                    <a:lnTo>
                      <a:pt x="26" y="30"/>
                    </a:lnTo>
                    <a:lnTo>
                      <a:pt x="28" y="30"/>
                    </a:lnTo>
                    <a:lnTo>
                      <a:pt x="32" y="28"/>
                    </a:lnTo>
                    <a:lnTo>
                      <a:pt x="34" y="28"/>
                    </a:lnTo>
                    <a:lnTo>
                      <a:pt x="37" y="27"/>
                    </a:lnTo>
                    <a:lnTo>
                      <a:pt x="34" y="27"/>
                    </a:lnTo>
                    <a:lnTo>
                      <a:pt x="32" y="28"/>
                    </a:lnTo>
                    <a:lnTo>
                      <a:pt x="28" y="28"/>
                    </a:lnTo>
                    <a:lnTo>
                      <a:pt x="26" y="27"/>
                    </a:lnTo>
                    <a:lnTo>
                      <a:pt x="23" y="27"/>
                    </a:lnTo>
                    <a:lnTo>
                      <a:pt x="20" y="28"/>
                    </a:lnTo>
                    <a:lnTo>
                      <a:pt x="17" y="28"/>
                    </a:lnTo>
                    <a:lnTo>
                      <a:pt x="15" y="28"/>
                    </a:lnTo>
                    <a:lnTo>
                      <a:pt x="11" y="26"/>
                    </a:lnTo>
                    <a:lnTo>
                      <a:pt x="15" y="24"/>
                    </a:lnTo>
                    <a:lnTo>
                      <a:pt x="11" y="23"/>
                    </a:lnTo>
                    <a:lnTo>
                      <a:pt x="14" y="20"/>
                    </a:lnTo>
                    <a:lnTo>
                      <a:pt x="17" y="19"/>
                    </a:lnTo>
                    <a:lnTo>
                      <a:pt x="19" y="19"/>
                    </a:lnTo>
                    <a:lnTo>
                      <a:pt x="23" y="19"/>
                    </a:lnTo>
                    <a:lnTo>
                      <a:pt x="28" y="19"/>
                    </a:lnTo>
                    <a:lnTo>
                      <a:pt x="31" y="19"/>
                    </a:lnTo>
                    <a:lnTo>
                      <a:pt x="34" y="20"/>
                    </a:lnTo>
                    <a:lnTo>
                      <a:pt x="36" y="20"/>
                    </a:lnTo>
                    <a:lnTo>
                      <a:pt x="40" y="19"/>
                    </a:lnTo>
                    <a:lnTo>
                      <a:pt x="36" y="19"/>
                    </a:lnTo>
                    <a:lnTo>
                      <a:pt x="34" y="18"/>
                    </a:lnTo>
                    <a:lnTo>
                      <a:pt x="31" y="18"/>
                    </a:lnTo>
                    <a:lnTo>
                      <a:pt x="25" y="18"/>
                    </a:lnTo>
                    <a:lnTo>
                      <a:pt x="23" y="17"/>
                    </a:lnTo>
                    <a:lnTo>
                      <a:pt x="25" y="14"/>
                    </a:lnTo>
                    <a:lnTo>
                      <a:pt x="27" y="13"/>
                    </a:lnTo>
                    <a:lnTo>
                      <a:pt x="31" y="11"/>
                    </a:lnTo>
                    <a:lnTo>
                      <a:pt x="33" y="11"/>
                    </a:lnTo>
                    <a:lnTo>
                      <a:pt x="36" y="10"/>
                    </a:lnTo>
                    <a:lnTo>
                      <a:pt x="38" y="10"/>
                    </a:lnTo>
                    <a:lnTo>
                      <a:pt x="42" y="10"/>
                    </a:lnTo>
                    <a:lnTo>
                      <a:pt x="44" y="11"/>
                    </a:lnTo>
                    <a:lnTo>
                      <a:pt x="48" y="14"/>
                    </a:lnTo>
                    <a:lnTo>
                      <a:pt x="48" y="16"/>
                    </a:lnTo>
                    <a:lnTo>
                      <a:pt x="50" y="19"/>
                    </a:lnTo>
                    <a:lnTo>
                      <a:pt x="52" y="18"/>
                    </a:lnTo>
                    <a:lnTo>
                      <a:pt x="55" y="18"/>
                    </a:lnTo>
                    <a:lnTo>
                      <a:pt x="58" y="17"/>
                    </a:lnTo>
                    <a:lnTo>
                      <a:pt x="60" y="17"/>
                    </a:lnTo>
                    <a:lnTo>
                      <a:pt x="63" y="17"/>
                    </a:lnTo>
                    <a:lnTo>
                      <a:pt x="66" y="19"/>
                    </a:lnTo>
                    <a:lnTo>
                      <a:pt x="69" y="20"/>
                    </a:lnTo>
                    <a:lnTo>
                      <a:pt x="70" y="24"/>
                    </a:lnTo>
                    <a:lnTo>
                      <a:pt x="74" y="24"/>
                    </a:lnTo>
                    <a:lnTo>
                      <a:pt x="76" y="25"/>
                    </a:lnTo>
                    <a:lnTo>
                      <a:pt x="79" y="27"/>
                    </a:lnTo>
                    <a:lnTo>
                      <a:pt x="76" y="27"/>
                    </a:lnTo>
                    <a:lnTo>
                      <a:pt x="74" y="30"/>
                    </a:lnTo>
                    <a:lnTo>
                      <a:pt x="76" y="30"/>
                    </a:lnTo>
                    <a:lnTo>
                      <a:pt x="79" y="30"/>
                    </a:lnTo>
                    <a:lnTo>
                      <a:pt x="82" y="31"/>
                    </a:lnTo>
                    <a:lnTo>
                      <a:pt x="85" y="33"/>
                    </a:lnTo>
                    <a:lnTo>
                      <a:pt x="84" y="35"/>
                    </a:lnTo>
                    <a:lnTo>
                      <a:pt x="86" y="39"/>
                    </a:lnTo>
                    <a:lnTo>
                      <a:pt x="89" y="37"/>
                    </a:lnTo>
                    <a:lnTo>
                      <a:pt x="92" y="36"/>
                    </a:lnTo>
                    <a:lnTo>
                      <a:pt x="95" y="36"/>
                    </a:lnTo>
                    <a:lnTo>
                      <a:pt x="97" y="37"/>
                    </a:lnTo>
                    <a:lnTo>
                      <a:pt x="101" y="37"/>
                    </a:lnTo>
                    <a:lnTo>
                      <a:pt x="103" y="37"/>
                    </a:lnTo>
                    <a:lnTo>
                      <a:pt x="105" y="37"/>
                    </a:lnTo>
                    <a:lnTo>
                      <a:pt x="108" y="37"/>
                    </a:lnTo>
                    <a:lnTo>
                      <a:pt x="111" y="39"/>
                    </a:lnTo>
                    <a:lnTo>
                      <a:pt x="114" y="39"/>
                    </a:lnTo>
                    <a:lnTo>
                      <a:pt x="117" y="37"/>
                    </a:lnTo>
                    <a:lnTo>
                      <a:pt x="119" y="35"/>
                    </a:lnTo>
                    <a:lnTo>
                      <a:pt x="118" y="33"/>
                    </a:lnTo>
                    <a:lnTo>
                      <a:pt x="114" y="32"/>
                    </a:lnTo>
                    <a:lnTo>
                      <a:pt x="112" y="31"/>
                    </a:lnTo>
                    <a:lnTo>
                      <a:pt x="109" y="31"/>
                    </a:lnTo>
                    <a:lnTo>
                      <a:pt x="106" y="28"/>
                    </a:lnTo>
                    <a:lnTo>
                      <a:pt x="103" y="28"/>
                    </a:lnTo>
                    <a:lnTo>
                      <a:pt x="103" y="27"/>
                    </a:lnTo>
                    <a:lnTo>
                      <a:pt x="104" y="26"/>
                    </a:lnTo>
                    <a:lnTo>
                      <a:pt x="108" y="26"/>
                    </a:lnTo>
                    <a:lnTo>
                      <a:pt x="110" y="25"/>
                    </a:lnTo>
                    <a:lnTo>
                      <a:pt x="113" y="24"/>
                    </a:lnTo>
                    <a:lnTo>
                      <a:pt x="112" y="20"/>
                    </a:lnTo>
                    <a:lnTo>
                      <a:pt x="109" y="19"/>
                    </a:lnTo>
                    <a:lnTo>
                      <a:pt x="106" y="18"/>
                    </a:lnTo>
                    <a:lnTo>
                      <a:pt x="103" y="18"/>
                    </a:lnTo>
                    <a:lnTo>
                      <a:pt x="102" y="17"/>
                    </a:lnTo>
                    <a:lnTo>
                      <a:pt x="99" y="15"/>
                    </a:lnTo>
                    <a:lnTo>
                      <a:pt x="101" y="13"/>
                    </a:lnTo>
                    <a:lnTo>
                      <a:pt x="103" y="11"/>
                    </a:lnTo>
                    <a:lnTo>
                      <a:pt x="106" y="10"/>
                    </a:lnTo>
                    <a:lnTo>
                      <a:pt x="106" y="8"/>
                    </a:lnTo>
                    <a:lnTo>
                      <a:pt x="110" y="6"/>
                    </a:lnTo>
                    <a:lnTo>
                      <a:pt x="112" y="3"/>
                    </a:lnTo>
                    <a:lnTo>
                      <a:pt x="114" y="1"/>
                    </a:lnTo>
                    <a:lnTo>
                      <a:pt x="118" y="1"/>
                    </a:lnTo>
                    <a:lnTo>
                      <a:pt x="120" y="0"/>
                    </a:lnTo>
                    <a:lnTo>
                      <a:pt x="123" y="3"/>
                    </a:lnTo>
                    <a:lnTo>
                      <a:pt x="123" y="6"/>
                    </a:lnTo>
                    <a:lnTo>
                      <a:pt x="121" y="7"/>
                    </a:lnTo>
                    <a:lnTo>
                      <a:pt x="123" y="9"/>
                    </a:lnTo>
                    <a:lnTo>
                      <a:pt x="125" y="11"/>
                    </a:lnTo>
                    <a:lnTo>
                      <a:pt x="125" y="11"/>
                    </a:lnTo>
                    <a:close/>
                    <a:moveTo>
                      <a:pt x="183" y="40"/>
                    </a:moveTo>
                    <a:lnTo>
                      <a:pt x="186" y="41"/>
                    </a:lnTo>
                    <a:lnTo>
                      <a:pt x="188" y="43"/>
                    </a:lnTo>
                    <a:lnTo>
                      <a:pt x="189" y="45"/>
                    </a:lnTo>
                    <a:lnTo>
                      <a:pt x="190" y="49"/>
                    </a:lnTo>
                    <a:lnTo>
                      <a:pt x="188" y="50"/>
                    </a:lnTo>
                    <a:lnTo>
                      <a:pt x="183" y="51"/>
                    </a:lnTo>
                    <a:lnTo>
                      <a:pt x="181" y="51"/>
                    </a:lnTo>
                    <a:lnTo>
                      <a:pt x="178" y="51"/>
                    </a:lnTo>
                    <a:lnTo>
                      <a:pt x="176" y="50"/>
                    </a:lnTo>
                    <a:lnTo>
                      <a:pt x="173" y="49"/>
                    </a:lnTo>
                    <a:lnTo>
                      <a:pt x="176" y="45"/>
                    </a:lnTo>
                    <a:lnTo>
                      <a:pt x="177" y="43"/>
                    </a:lnTo>
                    <a:lnTo>
                      <a:pt x="179" y="41"/>
                    </a:lnTo>
                    <a:lnTo>
                      <a:pt x="181" y="40"/>
                    </a:lnTo>
                    <a:lnTo>
                      <a:pt x="183" y="40"/>
                    </a:lnTo>
                    <a:lnTo>
                      <a:pt x="183" y="40"/>
                    </a:lnTo>
                    <a:close/>
                    <a:moveTo>
                      <a:pt x="166" y="109"/>
                    </a:moveTo>
                    <a:lnTo>
                      <a:pt x="165" y="108"/>
                    </a:lnTo>
                    <a:lnTo>
                      <a:pt x="163" y="105"/>
                    </a:lnTo>
                    <a:lnTo>
                      <a:pt x="160" y="103"/>
                    </a:lnTo>
                    <a:lnTo>
                      <a:pt x="157" y="101"/>
                    </a:lnTo>
                    <a:lnTo>
                      <a:pt x="155" y="97"/>
                    </a:lnTo>
                    <a:lnTo>
                      <a:pt x="153" y="96"/>
                    </a:lnTo>
                    <a:lnTo>
                      <a:pt x="151" y="95"/>
                    </a:lnTo>
                    <a:lnTo>
                      <a:pt x="147" y="94"/>
                    </a:lnTo>
                    <a:lnTo>
                      <a:pt x="145" y="93"/>
                    </a:lnTo>
                    <a:lnTo>
                      <a:pt x="146" y="91"/>
                    </a:lnTo>
                    <a:lnTo>
                      <a:pt x="148" y="88"/>
                    </a:lnTo>
                    <a:lnTo>
                      <a:pt x="151" y="87"/>
                    </a:lnTo>
                    <a:lnTo>
                      <a:pt x="154" y="86"/>
                    </a:lnTo>
                    <a:lnTo>
                      <a:pt x="162" y="86"/>
                    </a:lnTo>
                    <a:lnTo>
                      <a:pt x="165" y="86"/>
                    </a:lnTo>
                    <a:lnTo>
                      <a:pt x="168" y="86"/>
                    </a:lnTo>
                    <a:lnTo>
                      <a:pt x="171" y="86"/>
                    </a:lnTo>
                    <a:lnTo>
                      <a:pt x="173" y="88"/>
                    </a:lnTo>
                    <a:lnTo>
                      <a:pt x="176" y="90"/>
                    </a:lnTo>
                    <a:lnTo>
                      <a:pt x="178" y="91"/>
                    </a:lnTo>
                    <a:lnTo>
                      <a:pt x="178" y="93"/>
                    </a:lnTo>
                    <a:lnTo>
                      <a:pt x="178" y="96"/>
                    </a:lnTo>
                    <a:lnTo>
                      <a:pt x="177" y="99"/>
                    </a:lnTo>
                    <a:lnTo>
                      <a:pt x="174" y="101"/>
                    </a:lnTo>
                    <a:lnTo>
                      <a:pt x="172" y="104"/>
                    </a:lnTo>
                    <a:lnTo>
                      <a:pt x="170" y="107"/>
                    </a:lnTo>
                    <a:lnTo>
                      <a:pt x="169" y="110"/>
                    </a:lnTo>
                    <a:lnTo>
                      <a:pt x="166" y="109"/>
                    </a:lnTo>
                    <a:lnTo>
                      <a:pt x="166"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40" name="Freeform 236">
                <a:extLst>
                  <a:ext uri="{FF2B5EF4-FFF2-40B4-BE49-F238E27FC236}">
                    <a16:creationId xmlns:a16="http://schemas.microsoft.com/office/drawing/2014/main" id="{045758E3-F96C-E30B-6CE4-4D3CD68F9BC6}"/>
                  </a:ext>
                </a:extLst>
              </p:cNvPr>
              <p:cNvSpPr>
                <a:spLocks noEditPoints="1"/>
              </p:cNvSpPr>
              <p:nvPr/>
            </p:nvSpPr>
            <p:spPr bwMode="auto">
              <a:xfrm>
                <a:off x="3386138" y="2233613"/>
                <a:ext cx="193675" cy="76200"/>
              </a:xfrm>
              <a:custGeom>
                <a:avLst/>
                <a:gdLst>
                  <a:gd name="T0" fmla="*/ 47 w 122"/>
                  <a:gd name="T1" fmla="*/ 2 h 48"/>
                  <a:gd name="T2" fmla="*/ 52 w 122"/>
                  <a:gd name="T3" fmla="*/ 5 h 48"/>
                  <a:gd name="T4" fmla="*/ 54 w 122"/>
                  <a:gd name="T5" fmla="*/ 10 h 48"/>
                  <a:gd name="T6" fmla="*/ 51 w 122"/>
                  <a:gd name="T7" fmla="*/ 13 h 48"/>
                  <a:gd name="T8" fmla="*/ 45 w 122"/>
                  <a:gd name="T9" fmla="*/ 12 h 48"/>
                  <a:gd name="T10" fmla="*/ 42 w 122"/>
                  <a:gd name="T11" fmla="*/ 13 h 48"/>
                  <a:gd name="T12" fmla="*/ 36 w 122"/>
                  <a:gd name="T13" fmla="*/ 13 h 48"/>
                  <a:gd name="T14" fmla="*/ 30 w 122"/>
                  <a:gd name="T15" fmla="*/ 11 h 48"/>
                  <a:gd name="T16" fmla="*/ 25 w 122"/>
                  <a:gd name="T17" fmla="*/ 14 h 48"/>
                  <a:gd name="T18" fmla="*/ 19 w 122"/>
                  <a:gd name="T19" fmla="*/ 13 h 48"/>
                  <a:gd name="T20" fmla="*/ 13 w 122"/>
                  <a:gd name="T21" fmla="*/ 11 h 48"/>
                  <a:gd name="T22" fmla="*/ 8 w 122"/>
                  <a:gd name="T23" fmla="*/ 12 h 48"/>
                  <a:gd name="T24" fmla="*/ 3 w 122"/>
                  <a:gd name="T25" fmla="*/ 14 h 48"/>
                  <a:gd name="T26" fmla="*/ 3 w 122"/>
                  <a:gd name="T27" fmla="*/ 10 h 48"/>
                  <a:gd name="T28" fmla="*/ 9 w 122"/>
                  <a:gd name="T29" fmla="*/ 8 h 48"/>
                  <a:gd name="T30" fmla="*/ 14 w 122"/>
                  <a:gd name="T31" fmla="*/ 6 h 48"/>
                  <a:gd name="T32" fmla="*/ 20 w 122"/>
                  <a:gd name="T33" fmla="*/ 5 h 48"/>
                  <a:gd name="T34" fmla="*/ 26 w 122"/>
                  <a:gd name="T35" fmla="*/ 3 h 48"/>
                  <a:gd name="T36" fmla="*/ 31 w 122"/>
                  <a:gd name="T37" fmla="*/ 1 h 48"/>
                  <a:gd name="T38" fmla="*/ 37 w 122"/>
                  <a:gd name="T39" fmla="*/ 0 h 48"/>
                  <a:gd name="T40" fmla="*/ 43 w 122"/>
                  <a:gd name="T41" fmla="*/ 1 h 48"/>
                  <a:gd name="T42" fmla="*/ 45 w 122"/>
                  <a:gd name="T43" fmla="*/ 2 h 48"/>
                  <a:gd name="T44" fmla="*/ 48 w 122"/>
                  <a:gd name="T45" fmla="*/ 19 h 48"/>
                  <a:gd name="T46" fmla="*/ 48 w 122"/>
                  <a:gd name="T47" fmla="*/ 23 h 48"/>
                  <a:gd name="T48" fmla="*/ 43 w 122"/>
                  <a:gd name="T49" fmla="*/ 26 h 48"/>
                  <a:gd name="T50" fmla="*/ 36 w 122"/>
                  <a:gd name="T51" fmla="*/ 26 h 48"/>
                  <a:gd name="T52" fmla="*/ 36 w 122"/>
                  <a:gd name="T53" fmla="*/ 29 h 48"/>
                  <a:gd name="T54" fmla="*/ 41 w 122"/>
                  <a:gd name="T55" fmla="*/ 28 h 48"/>
                  <a:gd name="T56" fmla="*/ 44 w 122"/>
                  <a:gd name="T57" fmla="*/ 34 h 48"/>
                  <a:gd name="T58" fmla="*/ 41 w 122"/>
                  <a:gd name="T59" fmla="*/ 37 h 48"/>
                  <a:gd name="T60" fmla="*/ 35 w 122"/>
                  <a:gd name="T61" fmla="*/ 38 h 48"/>
                  <a:gd name="T62" fmla="*/ 29 w 122"/>
                  <a:gd name="T63" fmla="*/ 39 h 48"/>
                  <a:gd name="T64" fmla="*/ 24 w 122"/>
                  <a:gd name="T65" fmla="*/ 40 h 48"/>
                  <a:gd name="T66" fmla="*/ 14 w 122"/>
                  <a:gd name="T67" fmla="*/ 42 h 48"/>
                  <a:gd name="T68" fmla="*/ 10 w 122"/>
                  <a:gd name="T69" fmla="*/ 38 h 48"/>
                  <a:gd name="T70" fmla="*/ 4 w 122"/>
                  <a:gd name="T71" fmla="*/ 36 h 48"/>
                  <a:gd name="T72" fmla="*/ 1 w 122"/>
                  <a:gd name="T73" fmla="*/ 32 h 48"/>
                  <a:gd name="T74" fmla="*/ 0 w 122"/>
                  <a:gd name="T75" fmla="*/ 27 h 48"/>
                  <a:gd name="T76" fmla="*/ 5 w 122"/>
                  <a:gd name="T77" fmla="*/ 25 h 48"/>
                  <a:gd name="T78" fmla="*/ 11 w 122"/>
                  <a:gd name="T79" fmla="*/ 22 h 48"/>
                  <a:gd name="T80" fmla="*/ 17 w 122"/>
                  <a:gd name="T81" fmla="*/ 21 h 48"/>
                  <a:gd name="T82" fmla="*/ 24 w 122"/>
                  <a:gd name="T83" fmla="*/ 21 h 48"/>
                  <a:gd name="T84" fmla="*/ 29 w 122"/>
                  <a:gd name="T85" fmla="*/ 20 h 48"/>
                  <a:gd name="T86" fmla="*/ 34 w 122"/>
                  <a:gd name="T87" fmla="*/ 20 h 48"/>
                  <a:gd name="T88" fmla="*/ 39 w 122"/>
                  <a:gd name="T89" fmla="*/ 19 h 48"/>
                  <a:gd name="T90" fmla="*/ 45 w 122"/>
                  <a:gd name="T91" fmla="*/ 19 h 48"/>
                  <a:gd name="T92" fmla="*/ 105 w 122"/>
                  <a:gd name="T93" fmla="*/ 29 h 48"/>
                  <a:gd name="T94" fmla="*/ 110 w 122"/>
                  <a:gd name="T95" fmla="*/ 32 h 48"/>
                  <a:gd name="T96" fmla="*/ 114 w 122"/>
                  <a:gd name="T97" fmla="*/ 37 h 48"/>
                  <a:gd name="T98" fmla="*/ 119 w 122"/>
                  <a:gd name="T99" fmla="*/ 40 h 48"/>
                  <a:gd name="T100" fmla="*/ 122 w 122"/>
                  <a:gd name="T101" fmla="*/ 46 h 48"/>
                  <a:gd name="T102" fmla="*/ 116 w 122"/>
                  <a:gd name="T103" fmla="*/ 48 h 48"/>
                  <a:gd name="T104" fmla="*/ 113 w 122"/>
                  <a:gd name="T105" fmla="*/ 46 h 48"/>
                  <a:gd name="T106" fmla="*/ 107 w 122"/>
                  <a:gd name="T107" fmla="*/ 43 h 48"/>
                  <a:gd name="T108" fmla="*/ 104 w 122"/>
                  <a:gd name="T109" fmla="*/ 37 h 48"/>
                  <a:gd name="T110" fmla="*/ 101 w 122"/>
                  <a:gd name="T111" fmla="*/ 31 h 48"/>
                  <a:gd name="T112" fmla="*/ 102 w 122"/>
                  <a:gd name="T113" fmla="*/ 29 h 48"/>
                  <a:gd name="T114" fmla="*/ 105 w 122"/>
                  <a:gd name="T115" fmla="*/ 2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 h="48">
                    <a:moveTo>
                      <a:pt x="45" y="2"/>
                    </a:moveTo>
                    <a:lnTo>
                      <a:pt x="47" y="2"/>
                    </a:lnTo>
                    <a:lnTo>
                      <a:pt x="50" y="4"/>
                    </a:lnTo>
                    <a:lnTo>
                      <a:pt x="52" y="5"/>
                    </a:lnTo>
                    <a:lnTo>
                      <a:pt x="55" y="8"/>
                    </a:lnTo>
                    <a:lnTo>
                      <a:pt x="54" y="10"/>
                    </a:lnTo>
                    <a:lnTo>
                      <a:pt x="54" y="13"/>
                    </a:lnTo>
                    <a:lnTo>
                      <a:pt x="51" y="13"/>
                    </a:lnTo>
                    <a:lnTo>
                      <a:pt x="48" y="13"/>
                    </a:lnTo>
                    <a:lnTo>
                      <a:pt x="45" y="12"/>
                    </a:lnTo>
                    <a:lnTo>
                      <a:pt x="45" y="12"/>
                    </a:lnTo>
                    <a:lnTo>
                      <a:pt x="42" y="13"/>
                    </a:lnTo>
                    <a:lnTo>
                      <a:pt x="39" y="13"/>
                    </a:lnTo>
                    <a:lnTo>
                      <a:pt x="36" y="13"/>
                    </a:lnTo>
                    <a:lnTo>
                      <a:pt x="34" y="12"/>
                    </a:lnTo>
                    <a:lnTo>
                      <a:pt x="30" y="11"/>
                    </a:lnTo>
                    <a:lnTo>
                      <a:pt x="28" y="13"/>
                    </a:lnTo>
                    <a:lnTo>
                      <a:pt x="25" y="14"/>
                    </a:lnTo>
                    <a:lnTo>
                      <a:pt x="22" y="14"/>
                    </a:lnTo>
                    <a:lnTo>
                      <a:pt x="19" y="13"/>
                    </a:lnTo>
                    <a:lnTo>
                      <a:pt x="17" y="11"/>
                    </a:lnTo>
                    <a:lnTo>
                      <a:pt x="13" y="11"/>
                    </a:lnTo>
                    <a:lnTo>
                      <a:pt x="11" y="12"/>
                    </a:lnTo>
                    <a:lnTo>
                      <a:pt x="8" y="12"/>
                    </a:lnTo>
                    <a:lnTo>
                      <a:pt x="5" y="13"/>
                    </a:lnTo>
                    <a:lnTo>
                      <a:pt x="3" y="14"/>
                    </a:lnTo>
                    <a:lnTo>
                      <a:pt x="0" y="12"/>
                    </a:lnTo>
                    <a:lnTo>
                      <a:pt x="3" y="10"/>
                    </a:lnTo>
                    <a:lnTo>
                      <a:pt x="5" y="9"/>
                    </a:lnTo>
                    <a:lnTo>
                      <a:pt x="9" y="8"/>
                    </a:lnTo>
                    <a:lnTo>
                      <a:pt x="11" y="6"/>
                    </a:lnTo>
                    <a:lnTo>
                      <a:pt x="14" y="6"/>
                    </a:lnTo>
                    <a:lnTo>
                      <a:pt x="17" y="5"/>
                    </a:lnTo>
                    <a:lnTo>
                      <a:pt x="20" y="5"/>
                    </a:lnTo>
                    <a:lnTo>
                      <a:pt x="22" y="5"/>
                    </a:lnTo>
                    <a:lnTo>
                      <a:pt x="26" y="3"/>
                    </a:lnTo>
                    <a:lnTo>
                      <a:pt x="28" y="2"/>
                    </a:lnTo>
                    <a:lnTo>
                      <a:pt x="31" y="1"/>
                    </a:lnTo>
                    <a:lnTo>
                      <a:pt x="34" y="0"/>
                    </a:lnTo>
                    <a:lnTo>
                      <a:pt x="37" y="0"/>
                    </a:lnTo>
                    <a:lnTo>
                      <a:pt x="39" y="0"/>
                    </a:lnTo>
                    <a:lnTo>
                      <a:pt x="43" y="1"/>
                    </a:lnTo>
                    <a:lnTo>
                      <a:pt x="45" y="2"/>
                    </a:lnTo>
                    <a:lnTo>
                      <a:pt x="45" y="2"/>
                    </a:lnTo>
                    <a:close/>
                    <a:moveTo>
                      <a:pt x="45" y="19"/>
                    </a:moveTo>
                    <a:lnTo>
                      <a:pt x="48" y="19"/>
                    </a:lnTo>
                    <a:lnTo>
                      <a:pt x="51" y="21"/>
                    </a:lnTo>
                    <a:lnTo>
                      <a:pt x="48" y="23"/>
                    </a:lnTo>
                    <a:lnTo>
                      <a:pt x="45" y="25"/>
                    </a:lnTo>
                    <a:lnTo>
                      <a:pt x="43" y="26"/>
                    </a:lnTo>
                    <a:lnTo>
                      <a:pt x="39" y="26"/>
                    </a:lnTo>
                    <a:lnTo>
                      <a:pt x="36" y="26"/>
                    </a:lnTo>
                    <a:lnTo>
                      <a:pt x="34" y="26"/>
                    </a:lnTo>
                    <a:lnTo>
                      <a:pt x="36" y="29"/>
                    </a:lnTo>
                    <a:lnTo>
                      <a:pt x="38" y="29"/>
                    </a:lnTo>
                    <a:lnTo>
                      <a:pt x="41" y="28"/>
                    </a:lnTo>
                    <a:lnTo>
                      <a:pt x="44" y="30"/>
                    </a:lnTo>
                    <a:lnTo>
                      <a:pt x="44" y="34"/>
                    </a:lnTo>
                    <a:lnTo>
                      <a:pt x="43" y="36"/>
                    </a:lnTo>
                    <a:lnTo>
                      <a:pt x="41" y="37"/>
                    </a:lnTo>
                    <a:lnTo>
                      <a:pt x="37" y="38"/>
                    </a:lnTo>
                    <a:lnTo>
                      <a:pt x="35" y="38"/>
                    </a:lnTo>
                    <a:lnTo>
                      <a:pt x="31" y="39"/>
                    </a:lnTo>
                    <a:lnTo>
                      <a:pt x="29" y="39"/>
                    </a:lnTo>
                    <a:lnTo>
                      <a:pt x="26" y="39"/>
                    </a:lnTo>
                    <a:lnTo>
                      <a:pt x="24" y="40"/>
                    </a:lnTo>
                    <a:lnTo>
                      <a:pt x="18" y="42"/>
                    </a:lnTo>
                    <a:lnTo>
                      <a:pt x="14" y="42"/>
                    </a:lnTo>
                    <a:lnTo>
                      <a:pt x="12" y="40"/>
                    </a:lnTo>
                    <a:lnTo>
                      <a:pt x="10" y="38"/>
                    </a:lnTo>
                    <a:lnTo>
                      <a:pt x="7" y="38"/>
                    </a:lnTo>
                    <a:lnTo>
                      <a:pt x="4" y="36"/>
                    </a:lnTo>
                    <a:lnTo>
                      <a:pt x="2" y="35"/>
                    </a:lnTo>
                    <a:lnTo>
                      <a:pt x="1" y="32"/>
                    </a:lnTo>
                    <a:lnTo>
                      <a:pt x="1" y="29"/>
                    </a:lnTo>
                    <a:lnTo>
                      <a:pt x="0" y="27"/>
                    </a:lnTo>
                    <a:lnTo>
                      <a:pt x="3" y="25"/>
                    </a:lnTo>
                    <a:lnTo>
                      <a:pt x="5" y="25"/>
                    </a:lnTo>
                    <a:lnTo>
                      <a:pt x="9" y="23"/>
                    </a:lnTo>
                    <a:lnTo>
                      <a:pt x="11" y="22"/>
                    </a:lnTo>
                    <a:lnTo>
                      <a:pt x="14" y="21"/>
                    </a:lnTo>
                    <a:lnTo>
                      <a:pt x="17" y="21"/>
                    </a:lnTo>
                    <a:lnTo>
                      <a:pt x="20" y="21"/>
                    </a:lnTo>
                    <a:lnTo>
                      <a:pt x="24" y="21"/>
                    </a:lnTo>
                    <a:lnTo>
                      <a:pt x="26" y="20"/>
                    </a:lnTo>
                    <a:lnTo>
                      <a:pt x="29" y="20"/>
                    </a:lnTo>
                    <a:lnTo>
                      <a:pt x="31" y="20"/>
                    </a:lnTo>
                    <a:lnTo>
                      <a:pt x="34" y="20"/>
                    </a:lnTo>
                    <a:lnTo>
                      <a:pt x="37" y="19"/>
                    </a:lnTo>
                    <a:lnTo>
                      <a:pt x="39" y="19"/>
                    </a:lnTo>
                    <a:lnTo>
                      <a:pt x="43" y="19"/>
                    </a:lnTo>
                    <a:lnTo>
                      <a:pt x="45" y="19"/>
                    </a:lnTo>
                    <a:lnTo>
                      <a:pt x="45" y="19"/>
                    </a:lnTo>
                    <a:close/>
                    <a:moveTo>
                      <a:pt x="105" y="29"/>
                    </a:moveTo>
                    <a:lnTo>
                      <a:pt x="106" y="30"/>
                    </a:lnTo>
                    <a:lnTo>
                      <a:pt x="110" y="32"/>
                    </a:lnTo>
                    <a:lnTo>
                      <a:pt x="112" y="34"/>
                    </a:lnTo>
                    <a:lnTo>
                      <a:pt x="114" y="37"/>
                    </a:lnTo>
                    <a:lnTo>
                      <a:pt x="115" y="39"/>
                    </a:lnTo>
                    <a:lnTo>
                      <a:pt x="119" y="40"/>
                    </a:lnTo>
                    <a:lnTo>
                      <a:pt x="121" y="43"/>
                    </a:lnTo>
                    <a:lnTo>
                      <a:pt x="122" y="46"/>
                    </a:lnTo>
                    <a:lnTo>
                      <a:pt x="120" y="47"/>
                    </a:lnTo>
                    <a:lnTo>
                      <a:pt x="116" y="48"/>
                    </a:lnTo>
                    <a:lnTo>
                      <a:pt x="116" y="48"/>
                    </a:lnTo>
                    <a:lnTo>
                      <a:pt x="113" y="46"/>
                    </a:lnTo>
                    <a:lnTo>
                      <a:pt x="111" y="45"/>
                    </a:lnTo>
                    <a:lnTo>
                      <a:pt x="107" y="43"/>
                    </a:lnTo>
                    <a:lnTo>
                      <a:pt x="105" y="40"/>
                    </a:lnTo>
                    <a:lnTo>
                      <a:pt x="104" y="37"/>
                    </a:lnTo>
                    <a:lnTo>
                      <a:pt x="102" y="35"/>
                    </a:lnTo>
                    <a:lnTo>
                      <a:pt x="101" y="31"/>
                    </a:lnTo>
                    <a:lnTo>
                      <a:pt x="102" y="29"/>
                    </a:lnTo>
                    <a:lnTo>
                      <a:pt x="102" y="29"/>
                    </a:lnTo>
                    <a:lnTo>
                      <a:pt x="105" y="29"/>
                    </a:lnTo>
                    <a:lnTo>
                      <a:pt x="10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41" name="Freeform 237">
                <a:extLst>
                  <a:ext uri="{FF2B5EF4-FFF2-40B4-BE49-F238E27FC236}">
                    <a16:creationId xmlns:a16="http://schemas.microsoft.com/office/drawing/2014/main" id="{2F5BC599-3B04-2DDD-8664-9159F005744D}"/>
                  </a:ext>
                </a:extLst>
              </p:cNvPr>
              <p:cNvSpPr>
                <a:spLocks/>
              </p:cNvSpPr>
              <p:nvPr/>
            </p:nvSpPr>
            <p:spPr bwMode="auto">
              <a:xfrm>
                <a:off x="3113088" y="2424113"/>
                <a:ext cx="230187" cy="142875"/>
              </a:xfrm>
              <a:custGeom>
                <a:avLst/>
                <a:gdLst>
                  <a:gd name="T0" fmla="*/ 86 w 145"/>
                  <a:gd name="T1" fmla="*/ 60 h 90"/>
                  <a:gd name="T2" fmla="*/ 91 w 145"/>
                  <a:gd name="T3" fmla="*/ 53 h 90"/>
                  <a:gd name="T4" fmla="*/ 98 w 145"/>
                  <a:gd name="T5" fmla="*/ 47 h 90"/>
                  <a:gd name="T6" fmla="*/ 106 w 145"/>
                  <a:gd name="T7" fmla="*/ 44 h 90"/>
                  <a:gd name="T8" fmla="*/ 114 w 145"/>
                  <a:gd name="T9" fmla="*/ 40 h 90"/>
                  <a:gd name="T10" fmla="*/ 122 w 145"/>
                  <a:gd name="T11" fmla="*/ 37 h 90"/>
                  <a:gd name="T12" fmla="*/ 131 w 145"/>
                  <a:gd name="T13" fmla="*/ 34 h 90"/>
                  <a:gd name="T14" fmla="*/ 139 w 145"/>
                  <a:gd name="T15" fmla="*/ 31 h 90"/>
                  <a:gd name="T16" fmla="*/ 145 w 145"/>
                  <a:gd name="T17" fmla="*/ 28 h 90"/>
                  <a:gd name="T18" fmla="*/ 138 w 145"/>
                  <a:gd name="T19" fmla="*/ 22 h 90"/>
                  <a:gd name="T20" fmla="*/ 130 w 145"/>
                  <a:gd name="T21" fmla="*/ 17 h 90"/>
                  <a:gd name="T22" fmla="*/ 118 w 145"/>
                  <a:gd name="T23" fmla="*/ 10 h 90"/>
                  <a:gd name="T24" fmla="*/ 112 w 145"/>
                  <a:gd name="T25" fmla="*/ 8 h 90"/>
                  <a:gd name="T26" fmla="*/ 100 w 145"/>
                  <a:gd name="T27" fmla="*/ 8 h 90"/>
                  <a:gd name="T28" fmla="*/ 95 w 145"/>
                  <a:gd name="T29" fmla="*/ 14 h 90"/>
                  <a:gd name="T30" fmla="*/ 91 w 145"/>
                  <a:gd name="T31" fmla="*/ 9 h 90"/>
                  <a:gd name="T32" fmla="*/ 83 w 145"/>
                  <a:gd name="T33" fmla="*/ 13 h 90"/>
                  <a:gd name="T34" fmla="*/ 87 w 145"/>
                  <a:gd name="T35" fmla="*/ 9 h 90"/>
                  <a:gd name="T36" fmla="*/ 80 w 145"/>
                  <a:gd name="T37" fmla="*/ 8 h 90"/>
                  <a:gd name="T38" fmla="*/ 73 w 145"/>
                  <a:gd name="T39" fmla="*/ 5 h 90"/>
                  <a:gd name="T40" fmla="*/ 65 w 145"/>
                  <a:gd name="T41" fmla="*/ 1 h 90"/>
                  <a:gd name="T42" fmla="*/ 57 w 145"/>
                  <a:gd name="T43" fmla="*/ 0 h 90"/>
                  <a:gd name="T44" fmla="*/ 48 w 145"/>
                  <a:gd name="T45" fmla="*/ 2 h 90"/>
                  <a:gd name="T46" fmla="*/ 40 w 145"/>
                  <a:gd name="T47" fmla="*/ 2 h 90"/>
                  <a:gd name="T48" fmla="*/ 31 w 145"/>
                  <a:gd name="T49" fmla="*/ 3 h 90"/>
                  <a:gd name="T50" fmla="*/ 23 w 145"/>
                  <a:gd name="T51" fmla="*/ 4 h 90"/>
                  <a:gd name="T52" fmla="*/ 15 w 145"/>
                  <a:gd name="T53" fmla="*/ 5 h 90"/>
                  <a:gd name="T54" fmla="*/ 19 w 145"/>
                  <a:gd name="T55" fmla="*/ 12 h 90"/>
                  <a:gd name="T56" fmla="*/ 26 w 145"/>
                  <a:gd name="T57" fmla="*/ 19 h 90"/>
                  <a:gd name="T58" fmla="*/ 26 w 145"/>
                  <a:gd name="T59" fmla="*/ 26 h 90"/>
                  <a:gd name="T60" fmla="*/ 19 w 145"/>
                  <a:gd name="T61" fmla="*/ 31 h 90"/>
                  <a:gd name="T62" fmla="*/ 14 w 145"/>
                  <a:gd name="T63" fmla="*/ 40 h 90"/>
                  <a:gd name="T64" fmla="*/ 14 w 145"/>
                  <a:gd name="T65" fmla="*/ 44 h 90"/>
                  <a:gd name="T66" fmla="*/ 11 w 145"/>
                  <a:gd name="T67" fmla="*/ 49 h 90"/>
                  <a:gd name="T68" fmla="*/ 7 w 145"/>
                  <a:gd name="T69" fmla="*/ 54 h 90"/>
                  <a:gd name="T70" fmla="*/ 4 w 145"/>
                  <a:gd name="T71" fmla="*/ 62 h 90"/>
                  <a:gd name="T72" fmla="*/ 2 w 145"/>
                  <a:gd name="T73" fmla="*/ 68 h 90"/>
                  <a:gd name="T74" fmla="*/ 11 w 145"/>
                  <a:gd name="T75" fmla="*/ 69 h 90"/>
                  <a:gd name="T76" fmla="*/ 19 w 145"/>
                  <a:gd name="T77" fmla="*/ 72 h 90"/>
                  <a:gd name="T78" fmla="*/ 27 w 145"/>
                  <a:gd name="T79" fmla="*/ 77 h 90"/>
                  <a:gd name="T80" fmla="*/ 32 w 145"/>
                  <a:gd name="T81" fmla="*/ 85 h 90"/>
                  <a:gd name="T82" fmla="*/ 40 w 145"/>
                  <a:gd name="T83" fmla="*/ 90 h 90"/>
                  <a:gd name="T84" fmla="*/ 48 w 145"/>
                  <a:gd name="T85" fmla="*/ 86 h 90"/>
                  <a:gd name="T86" fmla="*/ 56 w 145"/>
                  <a:gd name="T87" fmla="*/ 80 h 90"/>
                  <a:gd name="T88" fmla="*/ 65 w 145"/>
                  <a:gd name="T89" fmla="*/ 81 h 90"/>
                  <a:gd name="T90" fmla="*/ 73 w 145"/>
                  <a:gd name="T91" fmla="*/ 79 h 90"/>
                  <a:gd name="T92" fmla="*/ 74 w 145"/>
                  <a:gd name="T93" fmla="*/ 71 h 90"/>
                  <a:gd name="T94" fmla="*/ 78 w 145"/>
                  <a:gd name="T95" fmla="*/ 63 h 90"/>
                  <a:gd name="T96" fmla="*/ 80 w 145"/>
                  <a:gd name="T97" fmla="*/ 6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5" h="90">
                    <a:moveTo>
                      <a:pt x="80" y="61"/>
                    </a:moveTo>
                    <a:lnTo>
                      <a:pt x="82" y="61"/>
                    </a:lnTo>
                    <a:lnTo>
                      <a:pt x="86" y="60"/>
                    </a:lnTo>
                    <a:lnTo>
                      <a:pt x="88" y="59"/>
                    </a:lnTo>
                    <a:lnTo>
                      <a:pt x="90" y="55"/>
                    </a:lnTo>
                    <a:lnTo>
                      <a:pt x="91" y="53"/>
                    </a:lnTo>
                    <a:lnTo>
                      <a:pt x="92" y="51"/>
                    </a:lnTo>
                    <a:lnTo>
                      <a:pt x="95" y="49"/>
                    </a:lnTo>
                    <a:lnTo>
                      <a:pt x="98" y="47"/>
                    </a:lnTo>
                    <a:lnTo>
                      <a:pt x="100" y="47"/>
                    </a:lnTo>
                    <a:lnTo>
                      <a:pt x="103" y="45"/>
                    </a:lnTo>
                    <a:lnTo>
                      <a:pt x="106" y="44"/>
                    </a:lnTo>
                    <a:lnTo>
                      <a:pt x="108" y="44"/>
                    </a:lnTo>
                    <a:lnTo>
                      <a:pt x="112" y="42"/>
                    </a:lnTo>
                    <a:lnTo>
                      <a:pt x="114" y="40"/>
                    </a:lnTo>
                    <a:lnTo>
                      <a:pt x="117" y="39"/>
                    </a:lnTo>
                    <a:lnTo>
                      <a:pt x="120" y="38"/>
                    </a:lnTo>
                    <a:lnTo>
                      <a:pt x="122" y="37"/>
                    </a:lnTo>
                    <a:lnTo>
                      <a:pt x="125" y="36"/>
                    </a:lnTo>
                    <a:lnTo>
                      <a:pt x="128" y="35"/>
                    </a:lnTo>
                    <a:lnTo>
                      <a:pt x="131" y="34"/>
                    </a:lnTo>
                    <a:lnTo>
                      <a:pt x="133" y="32"/>
                    </a:lnTo>
                    <a:lnTo>
                      <a:pt x="135" y="32"/>
                    </a:lnTo>
                    <a:lnTo>
                      <a:pt x="139" y="31"/>
                    </a:lnTo>
                    <a:lnTo>
                      <a:pt x="141" y="30"/>
                    </a:lnTo>
                    <a:lnTo>
                      <a:pt x="145" y="28"/>
                    </a:lnTo>
                    <a:lnTo>
                      <a:pt x="145" y="28"/>
                    </a:lnTo>
                    <a:lnTo>
                      <a:pt x="143" y="26"/>
                    </a:lnTo>
                    <a:lnTo>
                      <a:pt x="140" y="23"/>
                    </a:lnTo>
                    <a:lnTo>
                      <a:pt x="138" y="22"/>
                    </a:lnTo>
                    <a:lnTo>
                      <a:pt x="134" y="20"/>
                    </a:lnTo>
                    <a:lnTo>
                      <a:pt x="132" y="19"/>
                    </a:lnTo>
                    <a:lnTo>
                      <a:pt x="130" y="17"/>
                    </a:lnTo>
                    <a:lnTo>
                      <a:pt x="126" y="14"/>
                    </a:lnTo>
                    <a:lnTo>
                      <a:pt x="124" y="12"/>
                    </a:lnTo>
                    <a:lnTo>
                      <a:pt x="118" y="10"/>
                    </a:lnTo>
                    <a:lnTo>
                      <a:pt x="116" y="9"/>
                    </a:lnTo>
                    <a:lnTo>
                      <a:pt x="113" y="8"/>
                    </a:lnTo>
                    <a:lnTo>
                      <a:pt x="112" y="8"/>
                    </a:lnTo>
                    <a:lnTo>
                      <a:pt x="108" y="8"/>
                    </a:lnTo>
                    <a:lnTo>
                      <a:pt x="106" y="6"/>
                    </a:lnTo>
                    <a:lnTo>
                      <a:pt x="100" y="8"/>
                    </a:lnTo>
                    <a:lnTo>
                      <a:pt x="97" y="9"/>
                    </a:lnTo>
                    <a:lnTo>
                      <a:pt x="97" y="12"/>
                    </a:lnTo>
                    <a:lnTo>
                      <a:pt x="95" y="14"/>
                    </a:lnTo>
                    <a:lnTo>
                      <a:pt x="91" y="14"/>
                    </a:lnTo>
                    <a:lnTo>
                      <a:pt x="94" y="11"/>
                    </a:lnTo>
                    <a:lnTo>
                      <a:pt x="91" y="9"/>
                    </a:lnTo>
                    <a:lnTo>
                      <a:pt x="88" y="9"/>
                    </a:lnTo>
                    <a:lnTo>
                      <a:pt x="86" y="11"/>
                    </a:lnTo>
                    <a:lnTo>
                      <a:pt x="83" y="13"/>
                    </a:lnTo>
                    <a:lnTo>
                      <a:pt x="83" y="13"/>
                    </a:lnTo>
                    <a:lnTo>
                      <a:pt x="85" y="10"/>
                    </a:lnTo>
                    <a:lnTo>
                      <a:pt x="87" y="9"/>
                    </a:lnTo>
                    <a:lnTo>
                      <a:pt x="85" y="8"/>
                    </a:lnTo>
                    <a:lnTo>
                      <a:pt x="81" y="8"/>
                    </a:lnTo>
                    <a:lnTo>
                      <a:pt x="80" y="8"/>
                    </a:lnTo>
                    <a:lnTo>
                      <a:pt x="79" y="8"/>
                    </a:lnTo>
                    <a:lnTo>
                      <a:pt x="77" y="6"/>
                    </a:lnTo>
                    <a:lnTo>
                      <a:pt x="73" y="5"/>
                    </a:lnTo>
                    <a:lnTo>
                      <a:pt x="71" y="4"/>
                    </a:lnTo>
                    <a:lnTo>
                      <a:pt x="69" y="3"/>
                    </a:lnTo>
                    <a:lnTo>
                      <a:pt x="65" y="1"/>
                    </a:lnTo>
                    <a:lnTo>
                      <a:pt x="63" y="0"/>
                    </a:lnTo>
                    <a:lnTo>
                      <a:pt x="60" y="0"/>
                    </a:lnTo>
                    <a:lnTo>
                      <a:pt x="57" y="0"/>
                    </a:lnTo>
                    <a:lnTo>
                      <a:pt x="54" y="1"/>
                    </a:lnTo>
                    <a:lnTo>
                      <a:pt x="52" y="1"/>
                    </a:lnTo>
                    <a:lnTo>
                      <a:pt x="48" y="2"/>
                    </a:lnTo>
                    <a:lnTo>
                      <a:pt x="46" y="2"/>
                    </a:lnTo>
                    <a:lnTo>
                      <a:pt x="43" y="2"/>
                    </a:lnTo>
                    <a:lnTo>
                      <a:pt x="40" y="2"/>
                    </a:lnTo>
                    <a:lnTo>
                      <a:pt x="37" y="3"/>
                    </a:lnTo>
                    <a:lnTo>
                      <a:pt x="35" y="3"/>
                    </a:lnTo>
                    <a:lnTo>
                      <a:pt x="31" y="3"/>
                    </a:lnTo>
                    <a:lnTo>
                      <a:pt x="29" y="3"/>
                    </a:lnTo>
                    <a:lnTo>
                      <a:pt x="27" y="4"/>
                    </a:lnTo>
                    <a:lnTo>
                      <a:pt x="23" y="4"/>
                    </a:lnTo>
                    <a:lnTo>
                      <a:pt x="21" y="4"/>
                    </a:lnTo>
                    <a:lnTo>
                      <a:pt x="18" y="5"/>
                    </a:lnTo>
                    <a:lnTo>
                      <a:pt x="15" y="5"/>
                    </a:lnTo>
                    <a:lnTo>
                      <a:pt x="18" y="8"/>
                    </a:lnTo>
                    <a:lnTo>
                      <a:pt x="19" y="10"/>
                    </a:lnTo>
                    <a:lnTo>
                      <a:pt x="19" y="12"/>
                    </a:lnTo>
                    <a:lnTo>
                      <a:pt x="21" y="15"/>
                    </a:lnTo>
                    <a:lnTo>
                      <a:pt x="23" y="18"/>
                    </a:lnTo>
                    <a:lnTo>
                      <a:pt x="26" y="19"/>
                    </a:lnTo>
                    <a:lnTo>
                      <a:pt x="28" y="20"/>
                    </a:lnTo>
                    <a:lnTo>
                      <a:pt x="27" y="22"/>
                    </a:lnTo>
                    <a:lnTo>
                      <a:pt x="26" y="26"/>
                    </a:lnTo>
                    <a:lnTo>
                      <a:pt x="23" y="28"/>
                    </a:lnTo>
                    <a:lnTo>
                      <a:pt x="20" y="29"/>
                    </a:lnTo>
                    <a:lnTo>
                      <a:pt x="19" y="31"/>
                    </a:lnTo>
                    <a:lnTo>
                      <a:pt x="18" y="35"/>
                    </a:lnTo>
                    <a:lnTo>
                      <a:pt x="14" y="37"/>
                    </a:lnTo>
                    <a:lnTo>
                      <a:pt x="14" y="40"/>
                    </a:lnTo>
                    <a:lnTo>
                      <a:pt x="18" y="40"/>
                    </a:lnTo>
                    <a:lnTo>
                      <a:pt x="17" y="44"/>
                    </a:lnTo>
                    <a:lnTo>
                      <a:pt x="14" y="44"/>
                    </a:lnTo>
                    <a:lnTo>
                      <a:pt x="11" y="44"/>
                    </a:lnTo>
                    <a:lnTo>
                      <a:pt x="12" y="47"/>
                    </a:lnTo>
                    <a:lnTo>
                      <a:pt x="11" y="49"/>
                    </a:lnTo>
                    <a:lnTo>
                      <a:pt x="11" y="52"/>
                    </a:lnTo>
                    <a:lnTo>
                      <a:pt x="9" y="54"/>
                    </a:lnTo>
                    <a:lnTo>
                      <a:pt x="7" y="54"/>
                    </a:lnTo>
                    <a:lnTo>
                      <a:pt x="6" y="57"/>
                    </a:lnTo>
                    <a:lnTo>
                      <a:pt x="5" y="60"/>
                    </a:lnTo>
                    <a:lnTo>
                      <a:pt x="4" y="62"/>
                    </a:lnTo>
                    <a:lnTo>
                      <a:pt x="2" y="65"/>
                    </a:lnTo>
                    <a:lnTo>
                      <a:pt x="0" y="68"/>
                    </a:lnTo>
                    <a:lnTo>
                      <a:pt x="2" y="68"/>
                    </a:lnTo>
                    <a:lnTo>
                      <a:pt x="5" y="68"/>
                    </a:lnTo>
                    <a:lnTo>
                      <a:pt x="7" y="68"/>
                    </a:lnTo>
                    <a:lnTo>
                      <a:pt x="11" y="69"/>
                    </a:lnTo>
                    <a:lnTo>
                      <a:pt x="13" y="70"/>
                    </a:lnTo>
                    <a:lnTo>
                      <a:pt x="17" y="71"/>
                    </a:lnTo>
                    <a:lnTo>
                      <a:pt x="19" y="72"/>
                    </a:lnTo>
                    <a:lnTo>
                      <a:pt x="21" y="73"/>
                    </a:lnTo>
                    <a:lnTo>
                      <a:pt x="24" y="74"/>
                    </a:lnTo>
                    <a:lnTo>
                      <a:pt x="27" y="77"/>
                    </a:lnTo>
                    <a:lnTo>
                      <a:pt x="30" y="79"/>
                    </a:lnTo>
                    <a:lnTo>
                      <a:pt x="31" y="82"/>
                    </a:lnTo>
                    <a:lnTo>
                      <a:pt x="32" y="85"/>
                    </a:lnTo>
                    <a:lnTo>
                      <a:pt x="35" y="88"/>
                    </a:lnTo>
                    <a:lnTo>
                      <a:pt x="37" y="89"/>
                    </a:lnTo>
                    <a:lnTo>
                      <a:pt x="40" y="90"/>
                    </a:lnTo>
                    <a:lnTo>
                      <a:pt x="43" y="89"/>
                    </a:lnTo>
                    <a:lnTo>
                      <a:pt x="46" y="87"/>
                    </a:lnTo>
                    <a:lnTo>
                      <a:pt x="48" y="86"/>
                    </a:lnTo>
                    <a:lnTo>
                      <a:pt x="52" y="86"/>
                    </a:lnTo>
                    <a:lnTo>
                      <a:pt x="54" y="83"/>
                    </a:lnTo>
                    <a:lnTo>
                      <a:pt x="56" y="80"/>
                    </a:lnTo>
                    <a:lnTo>
                      <a:pt x="60" y="82"/>
                    </a:lnTo>
                    <a:lnTo>
                      <a:pt x="62" y="82"/>
                    </a:lnTo>
                    <a:lnTo>
                      <a:pt x="65" y="81"/>
                    </a:lnTo>
                    <a:lnTo>
                      <a:pt x="68" y="81"/>
                    </a:lnTo>
                    <a:lnTo>
                      <a:pt x="70" y="80"/>
                    </a:lnTo>
                    <a:lnTo>
                      <a:pt x="73" y="79"/>
                    </a:lnTo>
                    <a:lnTo>
                      <a:pt x="74" y="77"/>
                    </a:lnTo>
                    <a:lnTo>
                      <a:pt x="74" y="73"/>
                    </a:lnTo>
                    <a:lnTo>
                      <a:pt x="74" y="71"/>
                    </a:lnTo>
                    <a:lnTo>
                      <a:pt x="74" y="68"/>
                    </a:lnTo>
                    <a:lnTo>
                      <a:pt x="77" y="65"/>
                    </a:lnTo>
                    <a:lnTo>
                      <a:pt x="78" y="63"/>
                    </a:lnTo>
                    <a:lnTo>
                      <a:pt x="78" y="60"/>
                    </a:lnTo>
                    <a:lnTo>
                      <a:pt x="80" y="61"/>
                    </a:lnTo>
                    <a:lnTo>
                      <a:pt x="8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42" name="Freeform 238">
                <a:extLst>
                  <a:ext uri="{FF2B5EF4-FFF2-40B4-BE49-F238E27FC236}">
                    <a16:creationId xmlns:a16="http://schemas.microsoft.com/office/drawing/2014/main" id="{79DD9EE5-CF0A-E66F-4666-693CEA047DF5}"/>
                  </a:ext>
                </a:extLst>
              </p:cNvPr>
              <p:cNvSpPr>
                <a:spLocks/>
              </p:cNvSpPr>
              <p:nvPr/>
            </p:nvSpPr>
            <p:spPr bwMode="auto">
              <a:xfrm>
                <a:off x="8308975" y="4687888"/>
                <a:ext cx="879475" cy="661988"/>
              </a:xfrm>
              <a:custGeom>
                <a:avLst/>
                <a:gdLst>
                  <a:gd name="T0" fmla="*/ 539 w 554"/>
                  <a:gd name="T1" fmla="*/ 313 h 417"/>
                  <a:gd name="T2" fmla="*/ 517 w 554"/>
                  <a:gd name="T3" fmla="*/ 344 h 417"/>
                  <a:gd name="T4" fmla="*/ 504 w 554"/>
                  <a:gd name="T5" fmla="*/ 378 h 417"/>
                  <a:gd name="T6" fmla="*/ 480 w 554"/>
                  <a:gd name="T7" fmla="*/ 397 h 417"/>
                  <a:gd name="T8" fmla="*/ 456 w 554"/>
                  <a:gd name="T9" fmla="*/ 415 h 417"/>
                  <a:gd name="T10" fmla="*/ 437 w 554"/>
                  <a:gd name="T11" fmla="*/ 402 h 417"/>
                  <a:gd name="T12" fmla="*/ 412 w 554"/>
                  <a:gd name="T13" fmla="*/ 412 h 417"/>
                  <a:gd name="T14" fmla="*/ 375 w 554"/>
                  <a:gd name="T15" fmla="*/ 399 h 417"/>
                  <a:gd name="T16" fmla="*/ 360 w 554"/>
                  <a:gd name="T17" fmla="*/ 366 h 417"/>
                  <a:gd name="T18" fmla="*/ 355 w 554"/>
                  <a:gd name="T19" fmla="*/ 358 h 417"/>
                  <a:gd name="T20" fmla="*/ 341 w 554"/>
                  <a:gd name="T21" fmla="*/ 341 h 417"/>
                  <a:gd name="T22" fmla="*/ 333 w 554"/>
                  <a:gd name="T23" fmla="*/ 347 h 417"/>
                  <a:gd name="T24" fmla="*/ 337 w 554"/>
                  <a:gd name="T25" fmla="*/ 316 h 417"/>
                  <a:gd name="T26" fmla="*/ 312 w 554"/>
                  <a:gd name="T27" fmla="*/ 347 h 417"/>
                  <a:gd name="T28" fmla="*/ 299 w 554"/>
                  <a:gd name="T29" fmla="*/ 333 h 417"/>
                  <a:gd name="T30" fmla="*/ 278 w 554"/>
                  <a:gd name="T31" fmla="*/ 309 h 417"/>
                  <a:gd name="T32" fmla="*/ 239 w 554"/>
                  <a:gd name="T33" fmla="*/ 299 h 417"/>
                  <a:gd name="T34" fmla="*/ 192 w 554"/>
                  <a:gd name="T35" fmla="*/ 311 h 417"/>
                  <a:gd name="T36" fmla="*/ 154 w 554"/>
                  <a:gd name="T37" fmla="*/ 321 h 417"/>
                  <a:gd name="T38" fmla="*/ 124 w 554"/>
                  <a:gd name="T39" fmla="*/ 337 h 417"/>
                  <a:gd name="T40" fmla="*/ 89 w 554"/>
                  <a:gd name="T41" fmla="*/ 339 h 417"/>
                  <a:gd name="T42" fmla="*/ 57 w 554"/>
                  <a:gd name="T43" fmla="*/ 353 h 417"/>
                  <a:gd name="T44" fmla="*/ 25 w 554"/>
                  <a:gd name="T45" fmla="*/ 333 h 417"/>
                  <a:gd name="T46" fmla="*/ 35 w 554"/>
                  <a:gd name="T47" fmla="*/ 310 h 417"/>
                  <a:gd name="T48" fmla="*/ 25 w 554"/>
                  <a:gd name="T49" fmla="*/ 270 h 417"/>
                  <a:gd name="T50" fmla="*/ 10 w 554"/>
                  <a:gd name="T51" fmla="*/ 234 h 417"/>
                  <a:gd name="T52" fmla="*/ 6 w 554"/>
                  <a:gd name="T53" fmla="*/ 217 h 417"/>
                  <a:gd name="T54" fmla="*/ 13 w 554"/>
                  <a:gd name="T55" fmla="*/ 211 h 417"/>
                  <a:gd name="T56" fmla="*/ 8 w 554"/>
                  <a:gd name="T57" fmla="*/ 176 h 417"/>
                  <a:gd name="T58" fmla="*/ 18 w 554"/>
                  <a:gd name="T59" fmla="*/ 160 h 417"/>
                  <a:gd name="T60" fmla="*/ 51 w 554"/>
                  <a:gd name="T61" fmla="*/ 140 h 417"/>
                  <a:gd name="T62" fmla="*/ 89 w 554"/>
                  <a:gd name="T63" fmla="*/ 131 h 417"/>
                  <a:gd name="T64" fmla="*/ 118 w 554"/>
                  <a:gd name="T65" fmla="*/ 111 h 417"/>
                  <a:gd name="T66" fmla="*/ 134 w 554"/>
                  <a:gd name="T67" fmla="*/ 80 h 417"/>
                  <a:gd name="T68" fmla="*/ 147 w 554"/>
                  <a:gd name="T69" fmla="*/ 85 h 417"/>
                  <a:gd name="T70" fmla="*/ 155 w 554"/>
                  <a:gd name="T71" fmla="*/ 79 h 417"/>
                  <a:gd name="T72" fmla="*/ 163 w 554"/>
                  <a:gd name="T73" fmla="*/ 61 h 417"/>
                  <a:gd name="T74" fmla="*/ 177 w 554"/>
                  <a:gd name="T75" fmla="*/ 47 h 417"/>
                  <a:gd name="T76" fmla="*/ 206 w 554"/>
                  <a:gd name="T77" fmla="*/ 56 h 417"/>
                  <a:gd name="T78" fmla="*/ 218 w 554"/>
                  <a:gd name="T79" fmla="*/ 58 h 417"/>
                  <a:gd name="T80" fmla="*/ 227 w 554"/>
                  <a:gd name="T81" fmla="*/ 46 h 417"/>
                  <a:gd name="T82" fmla="*/ 245 w 554"/>
                  <a:gd name="T83" fmla="*/ 21 h 417"/>
                  <a:gd name="T84" fmla="*/ 260 w 554"/>
                  <a:gd name="T85" fmla="*/ 11 h 417"/>
                  <a:gd name="T86" fmla="*/ 280 w 554"/>
                  <a:gd name="T87" fmla="*/ 14 h 417"/>
                  <a:gd name="T88" fmla="*/ 308 w 554"/>
                  <a:gd name="T89" fmla="*/ 21 h 417"/>
                  <a:gd name="T90" fmla="*/ 321 w 554"/>
                  <a:gd name="T91" fmla="*/ 32 h 417"/>
                  <a:gd name="T92" fmla="*/ 305 w 554"/>
                  <a:gd name="T93" fmla="*/ 58 h 417"/>
                  <a:gd name="T94" fmla="*/ 340 w 554"/>
                  <a:gd name="T95" fmla="*/ 81 h 417"/>
                  <a:gd name="T96" fmla="*/ 368 w 554"/>
                  <a:gd name="T97" fmla="*/ 98 h 417"/>
                  <a:gd name="T98" fmla="*/ 386 w 554"/>
                  <a:gd name="T99" fmla="*/ 72 h 417"/>
                  <a:gd name="T100" fmla="*/ 391 w 554"/>
                  <a:gd name="T101" fmla="*/ 37 h 417"/>
                  <a:gd name="T102" fmla="*/ 397 w 554"/>
                  <a:gd name="T103" fmla="*/ 7 h 417"/>
                  <a:gd name="T104" fmla="*/ 411 w 554"/>
                  <a:gd name="T105" fmla="*/ 23 h 417"/>
                  <a:gd name="T106" fmla="*/ 427 w 554"/>
                  <a:gd name="T107" fmla="*/ 50 h 417"/>
                  <a:gd name="T108" fmla="*/ 443 w 554"/>
                  <a:gd name="T109" fmla="*/ 77 h 417"/>
                  <a:gd name="T110" fmla="*/ 454 w 554"/>
                  <a:gd name="T111" fmla="*/ 109 h 417"/>
                  <a:gd name="T112" fmla="*/ 482 w 554"/>
                  <a:gd name="T113" fmla="*/ 130 h 417"/>
                  <a:gd name="T114" fmla="*/ 497 w 554"/>
                  <a:gd name="T115" fmla="*/ 158 h 417"/>
                  <a:gd name="T116" fmla="*/ 516 w 554"/>
                  <a:gd name="T117" fmla="*/ 169 h 417"/>
                  <a:gd name="T118" fmla="*/ 535 w 554"/>
                  <a:gd name="T119" fmla="*/ 198 h 417"/>
                  <a:gd name="T120" fmla="*/ 547 w 554"/>
                  <a:gd name="T121" fmla="*/ 229 h 417"/>
                  <a:gd name="T122" fmla="*/ 551 w 554"/>
                  <a:gd name="T123" fmla="*/ 26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4" h="417">
                    <a:moveTo>
                      <a:pt x="548" y="276"/>
                    </a:moveTo>
                    <a:lnTo>
                      <a:pt x="548" y="278"/>
                    </a:lnTo>
                    <a:lnTo>
                      <a:pt x="547" y="280"/>
                    </a:lnTo>
                    <a:lnTo>
                      <a:pt x="546" y="284"/>
                    </a:lnTo>
                    <a:lnTo>
                      <a:pt x="546" y="286"/>
                    </a:lnTo>
                    <a:lnTo>
                      <a:pt x="546" y="288"/>
                    </a:lnTo>
                    <a:lnTo>
                      <a:pt x="546" y="292"/>
                    </a:lnTo>
                    <a:lnTo>
                      <a:pt x="546" y="294"/>
                    </a:lnTo>
                    <a:lnTo>
                      <a:pt x="545" y="296"/>
                    </a:lnTo>
                    <a:lnTo>
                      <a:pt x="544" y="299"/>
                    </a:lnTo>
                    <a:lnTo>
                      <a:pt x="543" y="302"/>
                    </a:lnTo>
                    <a:lnTo>
                      <a:pt x="542" y="305"/>
                    </a:lnTo>
                    <a:lnTo>
                      <a:pt x="539" y="307"/>
                    </a:lnTo>
                    <a:lnTo>
                      <a:pt x="539" y="313"/>
                    </a:lnTo>
                    <a:lnTo>
                      <a:pt x="539" y="313"/>
                    </a:lnTo>
                    <a:lnTo>
                      <a:pt x="537" y="314"/>
                    </a:lnTo>
                    <a:lnTo>
                      <a:pt x="535" y="318"/>
                    </a:lnTo>
                    <a:lnTo>
                      <a:pt x="533" y="319"/>
                    </a:lnTo>
                    <a:lnTo>
                      <a:pt x="529" y="320"/>
                    </a:lnTo>
                    <a:lnTo>
                      <a:pt x="528" y="323"/>
                    </a:lnTo>
                    <a:lnTo>
                      <a:pt x="526" y="325"/>
                    </a:lnTo>
                    <a:lnTo>
                      <a:pt x="525" y="328"/>
                    </a:lnTo>
                    <a:lnTo>
                      <a:pt x="522" y="331"/>
                    </a:lnTo>
                    <a:lnTo>
                      <a:pt x="522" y="333"/>
                    </a:lnTo>
                    <a:lnTo>
                      <a:pt x="521" y="336"/>
                    </a:lnTo>
                    <a:lnTo>
                      <a:pt x="520" y="339"/>
                    </a:lnTo>
                    <a:lnTo>
                      <a:pt x="518" y="341"/>
                    </a:lnTo>
                    <a:lnTo>
                      <a:pt x="517" y="344"/>
                    </a:lnTo>
                    <a:lnTo>
                      <a:pt x="517" y="347"/>
                    </a:lnTo>
                    <a:lnTo>
                      <a:pt x="516" y="349"/>
                    </a:lnTo>
                    <a:lnTo>
                      <a:pt x="516" y="352"/>
                    </a:lnTo>
                    <a:lnTo>
                      <a:pt x="516" y="353"/>
                    </a:lnTo>
                    <a:lnTo>
                      <a:pt x="514" y="355"/>
                    </a:lnTo>
                    <a:lnTo>
                      <a:pt x="511" y="357"/>
                    </a:lnTo>
                    <a:lnTo>
                      <a:pt x="510" y="359"/>
                    </a:lnTo>
                    <a:lnTo>
                      <a:pt x="509" y="362"/>
                    </a:lnTo>
                    <a:lnTo>
                      <a:pt x="508" y="365"/>
                    </a:lnTo>
                    <a:lnTo>
                      <a:pt x="506" y="367"/>
                    </a:lnTo>
                    <a:lnTo>
                      <a:pt x="506" y="370"/>
                    </a:lnTo>
                    <a:lnTo>
                      <a:pt x="506" y="373"/>
                    </a:lnTo>
                    <a:lnTo>
                      <a:pt x="505" y="375"/>
                    </a:lnTo>
                    <a:lnTo>
                      <a:pt x="504" y="378"/>
                    </a:lnTo>
                    <a:lnTo>
                      <a:pt x="504" y="380"/>
                    </a:lnTo>
                    <a:lnTo>
                      <a:pt x="503" y="383"/>
                    </a:lnTo>
                    <a:lnTo>
                      <a:pt x="504" y="386"/>
                    </a:lnTo>
                    <a:lnTo>
                      <a:pt x="504" y="388"/>
                    </a:lnTo>
                    <a:lnTo>
                      <a:pt x="504" y="389"/>
                    </a:lnTo>
                    <a:lnTo>
                      <a:pt x="504" y="391"/>
                    </a:lnTo>
                    <a:lnTo>
                      <a:pt x="503" y="392"/>
                    </a:lnTo>
                    <a:lnTo>
                      <a:pt x="501" y="393"/>
                    </a:lnTo>
                    <a:lnTo>
                      <a:pt x="499" y="396"/>
                    </a:lnTo>
                    <a:lnTo>
                      <a:pt x="495" y="396"/>
                    </a:lnTo>
                    <a:lnTo>
                      <a:pt x="488" y="396"/>
                    </a:lnTo>
                    <a:lnTo>
                      <a:pt x="486" y="396"/>
                    </a:lnTo>
                    <a:lnTo>
                      <a:pt x="483" y="396"/>
                    </a:lnTo>
                    <a:lnTo>
                      <a:pt x="480" y="397"/>
                    </a:lnTo>
                    <a:lnTo>
                      <a:pt x="477" y="398"/>
                    </a:lnTo>
                    <a:lnTo>
                      <a:pt x="475" y="399"/>
                    </a:lnTo>
                    <a:lnTo>
                      <a:pt x="473" y="400"/>
                    </a:lnTo>
                    <a:lnTo>
                      <a:pt x="469" y="402"/>
                    </a:lnTo>
                    <a:lnTo>
                      <a:pt x="467" y="405"/>
                    </a:lnTo>
                    <a:lnTo>
                      <a:pt x="465" y="408"/>
                    </a:lnTo>
                    <a:lnTo>
                      <a:pt x="461" y="410"/>
                    </a:lnTo>
                    <a:lnTo>
                      <a:pt x="461" y="409"/>
                    </a:lnTo>
                    <a:lnTo>
                      <a:pt x="459" y="410"/>
                    </a:lnTo>
                    <a:lnTo>
                      <a:pt x="456" y="410"/>
                    </a:lnTo>
                    <a:lnTo>
                      <a:pt x="453" y="410"/>
                    </a:lnTo>
                    <a:lnTo>
                      <a:pt x="453" y="413"/>
                    </a:lnTo>
                    <a:lnTo>
                      <a:pt x="457" y="412"/>
                    </a:lnTo>
                    <a:lnTo>
                      <a:pt x="456" y="415"/>
                    </a:lnTo>
                    <a:lnTo>
                      <a:pt x="456" y="417"/>
                    </a:lnTo>
                    <a:lnTo>
                      <a:pt x="453" y="415"/>
                    </a:lnTo>
                    <a:lnTo>
                      <a:pt x="451" y="413"/>
                    </a:lnTo>
                    <a:lnTo>
                      <a:pt x="449" y="413"/>
                    </a:lnTo>
                    <a:lnTo>
                      <a:pt x="445" y="409"/>
                    </a:lnTo>
                    <a:lnTo>
                      <a:pt x="443" y="408"/>
                    </a:lnTo>
                    <a:lnTo>
                      <a:pt x="443" y="406"/>
                    </a:lnTo>
                    <a:lnTo>
                      <a:pt x="443" y="402"/>
                    </a:lnTo>
                    <a:lnTo>
                      <a:pt x="440" y="404"/>
                    </a:lnTo>
                    <a:lnTo>
                      <a:pt x="440" y="406"/>
                    </a:lnTo>
                    <a:lnTo>
                      <a:pt x="436" y="407"/>
                    </a:lnTo>
                    <a:lnTo>
                      <a:pt x="434" y="405"/>
                    </a:lnTo>
                    <a:lnTo>
                      <a:pt x="437" y="402"/>
                    </a:lnTo>
                    <a:lnTo>
                      <a:pt x="437" y="402"/>
                    </a:lnTo>
                    <a:lnTo>
                      <a:pt x="437" y="400"/>
                    </a:lnTo>
                    <a:lnTo>
                      <a:pt x="435" y="397"/>
                    </a:lnTo>
                    <a:lnTo>
                      <a:pt x="433" y="399"/>
                    </a:lnTo>
                    <a:lnTo>
                      <a:pt x="431" y="400"/>
                    </a:lnTo>
                    <a:lnTo>
                      <a:pt x="427" y="401"/>
                    </a:lnTo>
                    <a:lnTo>
                      <a:pt x="431" y="404"/>
                    </a:lnTo>
                    <a:lnTo>
                      <a:pt x="427" y="404"/>
                    </a:lnTo>
                    <a:lnTo>
                      <a:pt x="427" y="405"/>
                    </a:lnTo>
                    <a:lnTo>
                      <a:pt x="424" y="407"/>
                    </a:lnTo>
                    <a:lnTo>
                      <a:pt x="422" y="408"/>
                    </a:lnTo>
                    <a:lnTo>
                      <a:pt x="419" y="410"/>
                    </a:lnTo>
                    <a:lnTo>
                      <a:pt x="416" y="413"/>
                    </a:lnTo>
                    <a:lnTo>
                      <a:pt x="416" y="413"/>
                    </a:lnTo>
                    <a:lnTo>
                      <a:pt x="412" y="412"/>
                    </a:lnTo>
                    <a:lnTo>
                      <a:pt x="410" y="409"/>
                    </a:lnTo>
                    <a:lnTo>
                      <a:pt x="408" y="408"/>
                    </a:lnTo>
                    <a:lnTo>
                      <a:pt x="405" y="407"/>
                    </a:lnTo>
                    <a:lnTo>
                      <a:pt x="402" y="405"/>
                    </a:lnTo>
                    <a:lnTo>
                      <a:pt x="400" y="405"/>
                    </a:lnTo>
                    <a:lnTo>
                      <a:pt x="397" y="405"/>
                    </a:lnTo>
                    <a:lnTo>
                      <a:pt x="394" y="404"/>
                    </a:lnTo>
                    <a:lnTo>
                      <a:pt x="391" y="404"/>
                    </a:lnTo>
                    <a:lnTo>
                      <a:pt x="389" y="406"/>
                    </a:lnTo>
                    <a:lnTo>
                      <a:pt x="386" y="404"/>
                    </a:lnTo>
                    <a:lnTo>
                      <a:pt x="383" y="401"/>
                    </a:lnTo>
                    <a:lnTo>
                      <a:pt x="381" y="400"/>
                    </a:lnTo>
                    <a:lnTo>
                      <a:pt x="378" y="400"/>
                    </a:lnTo>
                    <a:lnTo>
                      <a:pt x="375" y="399"/>
                    </a:lnTo>
                    <a:lnTo>
                      <a:pt x="373" y="398"/>
                    </a:lnTo>
                    <a:lnTo>
                      <a:pt x="372" y="395"/>
                    </a:lnTo>
                    <a:lnTo>
                      <a:pt x="369" y="392"/>
                    </a:lnTo>
                    <a:lnTo>
                      <a:pt x="368" y="391"/>
                    </a:lnTo>
                    <a:lnTo>
                      <a:pt x="366" y="389"/>
                    </a:lnTo>
                    <a:lnTo>
                      <a:pt x="365" y="387"/>
                    </a:lnTo>
                    <a:lnTo>
                      <a:pt x="364" y="383"/>
                    </a:lnTo>
                    <a:lnTo>
                      <a:pt x="366" y="381"/>
                    </a:lnTo>
                    <a:lnTo>
                      <a:pt x="366" y="380"/>
                    </a:lnTo>
                    <a:lnTo>
                      <a:pt x="366" y="378"/>
                    </a:lnTo>
                    <a:lnTo>
                      <a:pt x="365" y="374"/>
                    </a:lnTo>
                    <a:lnTo>
                      <a:pt x="364" y="372"/>
                    </a:lnTo>
                    <a:lnTo>
                      <a:pt x="363" y="370"/>
                    </a:lnTo>
                    <a:lnTo>
                      <a:pt x="360" y="366"/>
                    </a:lnTo>
                    <a:lnTo>
                      <a:pt x="357" y="364"/>
                    </a:lnTo>
                    <a:lnTo>
                      <a:pt x="355" y="362"/>
                    </a:lnTo>
                    <a:lnTo>
                      <a:pt x="357" y="364"/>
                    </a:lnTo>
                    <a:lnTo>
                      <a:pt x="360" y="366"/>
                    </a:lnTo>
                    <a:lnTo>
                      <a:pt x="362" y="369"/>
                    </a:lnTo>
                    <a:lnTo>
                      <a:pt x="364" y="371"/>
                    </a:lnTo>
                    <a:lnTo>
                      <a:pt x="362" y="367"/>
                    </a:lnTo>
                    <a:lnTo>
                      <a:pt x="359" y="365"/>
                    </a:lnTo>
                    <a:lnTo>
                      <a:pt x="357" y="363"/>
                    </a:lnTo>
                    <a:lnTo>
                      <a:pt x="356" y="361"/>
                    </a:lnTo>
                    <a:lnTo>
                      <a:pt x="358" y="361"/>
                    </a:lnTo>
                    <a:lnTo>
                      <a:pt x="359" y="358"/>
                    </a:lnTo>
                    <a:lnTo>
                      <a:pt x="357" y="357"/>
                    </a:lnTo>
                    <a:lnTo>
                      <a:pt x="355" y="358"/>
                    </a:lnTo>
                    <a:lnTo>
                      <a:pt x="352" y="361"/>
                    </a:lnTo>
                    <a:lnTo>
                      <a:pt x="350" y="361"/>
                    </a:lnTo>
                    <a:lnTo>
                      <a:pt x="347" y="362"/>
                    </a:lnTo>
                    <a:lnTo>
                      <a:pt x="345" y="362"/>
                    </a:lnTo>
                    <a:lnTo>
                      <a:pt x="342" y="363"/>
                    </a:lnTo>
                    <a:lnTo>
                      <a:pt x="343" y="359"/>
                    </a:lnTo>
                    <a:lnTo>
                      <a:pt x="347" y="357"/>
                    </a:lnTo>
                    <a:lnTo>
                      <a:pt x="347" y="355"/>
                    </a:lnTo>
                    <a:lnTo>
                      <a:pt x="347" y="352"/>
                    </a:lnTo>
                    <a:lnTo>
                      <a:pt x="347" y="349"/>
                    </a:lnTo>
                    <a:lnTo>
                      <a:pt x="347" y="347"/>
                    </a:lnTo>
                    <a:lnTo>
                      <a:pt x="345" y="344"/>
                    </a:lnTo>
                    <a:lnTo>
                      <a:pt x="343" y="341"/>
                    </a:lnTo>
                    <a:lnTo>
                      <a:pt x="341" y="341"/>
                    </a:lnTo>
                    <a:lnTo>
                      <a:pt x="339" y="344"/>
                    </a:lnTo>
                    <a:lnTo>
                      <a:pt x="339" y="346"/>
                    </a:lnTo>
                    <a:lnTo>
                      <a:pt x="339" y="347"/>
                    </a:lnTo>
                    <a:lnTo>
                      <a:pt x="339" y="349"/>
                    </a:lnTo>
                    <a:lnTo>
                      <a:pt x="338" y="352"/>
                    </a:lnTo>
                    <a:lnTo>
                      <a:pt x="335" y="355"/>
                    </a:lnTo>
                    <a:lnTo>
                      <a:pt x="333" y="354"/>
                    </a:lnTo>
                    <a:lnTo>
                      <a:pt x="330" y="355"/>
                    </a:lnTo>
                    <a:lnTo>
                      <a:pt x="325" y="356"/>
                    </a:lnTo>
                    <a:lnTo>
                      <a:pt x="326" y="354"/>
                    </a:lnTo>
                    <a:lnTo>
                      <a:pt x="328" y="350"/>
                    </a:lnTo>
                    <a:lnTo>
                      <a:pt x="330" y="350"/>
                    </a:lnTo>
                    <a:lnTo>
                      <a:pt x="333" y="349"/>
                    </a:lnTo>
                    <a:lnTo>
                      <a:pt x="333" y="347"/>
                    </a:lnTo>
                    <a:lnTo>
                      <a:pt x="333" y="344"/>
                    </a:lnTo>
                    <a:lnTo>
                      <a:pt x="333" y="344"/>
                    </a:lnTo>
                    <a:lnTo>
                      <a:pt x="333" y="340"/>
                    </a:lnTo>
                    <a:lnTo>
                      <a:pt x="334" y="338"/>
                    </a:lnTo>
                    <a:lnTo>
                      <a:pt x="335" y="335"/>
                    </a:lnTo>
                    <a:lnTo>
                      <a:pt x="337" y="332"/>
                    </a:lnTo>
                    <a:lnTo>
                      <a:pt x="340" y="330"/>
                    </a:lnTo>
                    <a:lnTo>
                      <a:pt x="339" y="327"/>
                    </a:lnTo>
                    <a:lnTo>
                      <a:pt x="339" y="324"/>
                    </a:lnTo>
                    <a:lnTo>
                      <a:pt x="341" y="323"/>
                    </a:lnTo>
                    <a:lnTo>
                      <a:pt x="340" y="320"/>
                    </a:lnTo>
                    <a:lnTo>
                      <a:pt x="339" y="318"/>
                    </a:lnTo>
                    <a:lnTo>
                      <a:pt x="338" y="315"/>
                    </a:lnTo>
                    <a:lnTo>
                      <a:pt x="337" y="316"/>
                    </a:lnTo>
                    <a:lnTo>
                      <a:pt x="338" y="319"/>
                    </a:lnTo>
                    <a:lnTo>
                      <a:pt x="337" y="321"/>
                    </a:lnTo>
                    <a:lnTo>
                      <a:pt x="334" y="323"/>
                    </a:lnTo>
                    <a:lnTo>
                      <a:pt x="332" y="325"/>
                    </a:lnTo>
                    <a:lnTo>
                      <a:pt x="332" y="328"/>
                    </a:lnTo>
                    <a:lnTo>
                      <a:pt x="330" y="331"/>
                    </a:lnTo>
                    <a:lnTo>
                      <a:pt x="328" y="332"/>
                    </a:lnTo>
                    <a:lnTo>
                      <a:pt x="325" y="333"/>
                    </a:lnTo>
                    <a:lnTo>
                      <a:pt x="322" y="335"/>
                    </a:lnTo>
                    <a:lnTo>
                      <a:pt x="320" y="337"/>
                    </a:lnTo>
                    <a:lnTo>
                      <a:pt x="317" y="339"/>
                    </a:lnTo>
                    <a:lnTo>
                      <a:pt x="316" y="341"/>
                    </a:lnTo>
                    <a:lnTo>
                      <a:pt x="314" y="344"/>
                    </a:lnTo>
                    <a:lnTo>
                      <a:pt x="312" y="347"/>
                    </a:lnTo>
                    <a:lnTo>
                      <a:pt x="311" y="349"/>
                    </a:lnTo>
                    <a:lnTo>
                      <a:pt x="313" y="349"/>
                    </a:lnTo>
                    <a:lnTo>
                      <a:pt x="313" y="353"/>
                    </a:lnTo>
                    <a:lnTo>
                      <a:pt x="311" y="350"/>
                    </a:lnTo>
                    <a:lnTo>
                      <a:pt x="308" y="352"/>
                    </a:lnTo>
                    <a:lnTo>
                      <a:pt x="306" y="348"/>
                    </a:lnTo>
                    <a:lnTo>
                      <a:pt x="304" y="346"/>
                    </a:lnTo>
                    <a:lnTo>
                      <a:pt x="303" y="344"/>
                    </a:lnTo>
                    <a:lnTo>
                      <a:pt x="305" y="344"/>
                    </a:lnTo>
                    <a:lnTo>
                      <a:pt x="304" y="341"/>
                    </a:lnTo>
                    <a:lnTo>
                      <a:pt x="303" y="339"/>
                    </a:lnTo>
                    <a:lnTo>
                      <a:pt x="303" y="336"/>
                    </a:lnTo>
                    <a:lnTo>
                      <a:pt x="303" y="336"/>
                    </a:lnTo>
                    <a:lnTo>
                      <a:pt x="299" y="333"/>
                    </a:lnTo>
                    <a:lnTo>
                      <a:pt x="297" y="330"/>
                    </a:lnTo>
                    <a:lnTo>
                      <a:pt x="297" y="328"/>
                    </a:lnTo>
                    <a:lnTo>
                      <a:pt x="295" y="325"/>
                    </a:lnTo>
                    <a:lnTo>
                      <a:pt x="291" y="323"/>
                    </a:lnTo>
                    <a:lnTo>
                      <a:pt x="289" y="323"/>
                    </a:lnTo>
                    <a:lnTo>
                      <a:pt x="287" y="320"/>
                    </a:lnTo>
                    <a:lnTo>
                      <a:pt x="289" y="318"/>
                    </a:lnTo>
                    <a:lnTo>
                      <a:pt x="289" y="318"/>
                    </a:lnTo>
                    <a:lnTo>
                      <a:pt x="289" y="314"/>
                    </a:lnTo>
                    <a:lnTo>
                      <a:pt x="287" y="313"/>
                    </a:lnTo>
                    <a:lnTo>
                      <a:pt x="283" y="313"/>
                    </a:lnTo>
                    <a:lnTo>
                      <a:pt x="283" y="311"/>
                    </a:lnTo>
                    <a:lnTo>
                      <a:pt x="281" y="307"/>
                    </a:lnTo>
                    <a:lnTo>
                      <a:pt x="278" y="309"/>
                    </a:lnTo>
                    <a:lnTo>
                      <a:pt x="275" y="310"/>
                    </a:lnTo>
                    <a:lnTo>
                      <a:pt x="270" y="306"/>
                    </a:lnTo>
                    <a:lnTo>
                      <a:pt x="269" y="305"/>
                    </a:lnTo>
                    <a:lnTo>
                      <a:pt x="266" y="305"/>
                    </a:lnTo>
                    <a:lnTo>
                      <a:pt x="263" y="306"/>
                    </a:lnTo>
                    <a:lnTo>
                      <a:pt x="261" y="306"/>
                    </a:lnTo>
                    <a:lnTo>
                      <a:pt x="258" y="304"/>
                    </a:lnTo>
                    <a:lnTo>
                      <a:pt x="255" y="302"/>
                    </a:lnTo>
                    <a:lnTo>
                      <a:pt x="253" y="301"/>
                    </a:lnTo>
                    <a:lnTo>
                      <a:pt x="249" y="299"/>
                    </a:lnTo>
                    <a:lnTo>
                      <a:pt x="247" y="298"/>
                    </a:lnTo>
                    <a:lnTo>
                      <a:pt x="245" y="299"/>
                    </a:lnTo>
                    <a:lnTo>
                      <a:pt x="241" y="301"/>
                    </a:lnTo>
                    <a:lnTo>
                      <a:pt x="239" y="299"/>
                    </a:lnTo>
                    <a:lnTo>
                      <a:pt x="236" y="299"/>
                    </a:lnTo>
                    <a:lnTo>
                      <a:pt x="234" y="299"/>
                    </a:lnTo>
                    <a:lnTo>
                      <a:pt x="228" y="301"/>
                    </a:lnTo>
                    <a:lnTo>
                      <a:pt x="226" y="301"/>
                    </a:lnTo>
                    <a:lnTo>
                      <a:pt x="223" y="301"/>
                    </a:lnTo>
                    <a:lnTo>
                      <a:pt x="220" y="301"/>
                    </a:lnTo>
                    <a:lnTo>
                      <a:pt x="218" y="302"/>
                    </a:lnTo>
                    <a:lnTo>
                      <a:pt x="214" y="303"/>
                    </a:lnTo>
                    <a:lnTo>
                      <a:pt x="209" y="305"/>
                    </a:lnTo>
                    <a:lnTo>
                      <a:pt x="204" y="307"/>
                    </a:lnTo>
                    <a:lnTo>
                      <a:pt x="201" y="309"/>
                    </a:lnTo>
                    <a:lnTo>
                      <a:pt x="198" y="309"/>
                    </a:lnTo>
                    <a:lnTo>
                      <a:pt x="195" y="310"/>
                    </a:lnTo>
                    <a:lnTo>
                      <a:pt x="192" y="311"/>
                    </a:lnTo>
                    <a:lnTo>
                      <a:pt x="189" y="311"/>
                    </a:lnTo>
                    <a:lnTo>
                      <a:pt x="186" y="311"/>
                    </a:lnTo>
                    <a:lnTo>
                      <a:pt x="184" y="311"/>
                    </a:lnTo>
                    <a:lnTo>
                      <a:pt x="180" y="311"/>
                    </a:lnTo>
                    <a:lnTo>
                      <a:pt x="178" y="310"/>
                    </a:lnTo>
                    <a:lnTo>
                      <a:pt x="176" y="311"/>
                    </a:lnTo>
                    <a:lnTo>
                      <a:pt x="173" y="312"/>
                    </a:lnTo>
                    <a:lnTo>
                      <a:pt x="171" y="313"/>
                    </a:lnTo>
                    <a:lnTo>
                      <a:pt x="168" y="315"/>
                    </a:lnTo>
                    <a:lnTo>
                      <a:pt x="166" y="316"/>
                    </a:lnTo>
                    <a:lnTo>
                      <a:pt x="163" y="318"/>
                    </a:lnTo>
                    <a:lnTo>
                      <a:pt x="160" y="319"/>
                    </a:lnTo>
                    <a:lnTo>
                      <a:pt x="158" y="320"/>
                    </a:lnTo>
                    <a:lnTo>
                      <a:pt x="154" y="321"/>
                    </a:lnTo>
                    <a:lnTo>
                      <a:pt x="152" y="322"/>
                    </a:lnTo>
                    <a:lnTo>
                      <a:pt x="150" y="324"/>
                    </a:lnTo>
                    <a:lnTo>
                      <a:pt x="149" y="328"/>
                    </a:lnTo>
                    <a:lnTo>
                      <a:pt x="149" y="330"/>
                    </a:lnTo>
                    <a:lnTo>
                      <a:pt x="145" y="332"/>
                    </a:lnTo>
                    <a:lnTo>
                      <a:pt x="145" y="332"/>
                    </a:lnTo>
                    <a:lnTo>
                      <a:pt x="143" y="335"/>
                    </a:lnTo>
                    <a:lnTo>
                      <a:pt x="139" y="335"/>
                    </a:lnTo>
                    <a:lnTo>
                      <a:pt x="137" y="337"/>
                    </a:lnTo>
                    <a:lnTo>
                      <a:pt x="134" y="335"/>
                    </a:lnTo>
                    <a:lnTo>
                      <a:pt x="132" y="335"/>
                    </a:lnTo>
                    <a:lnTo>
                      <a:pt x="129" y="336"/>
                    </a:lnTo>
                    <a:lnTo>
                      <a:pt x="126" y="336"/>
                    </a:lnTo>
                    <a:lnTo>
                      <a:pt x="124" y="337"/>
                    </a:lnTo>
                    <a:lnTo>
                      <a:pt x="121" y="335"/>
                    </a:lnTo>
                    <a:lnTo>
                      <a:pt x="119" y="335"/>
                    </a:lnTo>
                    <a:lnTo>
                      <a:pt x="117" y="335"/>
                    </a:lnTo>
                    <a:lnTo>
                      <a:pt x="115" y="335"/>
                    </a:lnTo>
                    <a:lnTo>
                      <a:pt x="112" y="335"/>
                    </a:lnTo>
                    <a:lnTo>
                      <a:pt x="109" y="335"/>
                    </a:lnTo>
                    <a:lnTo>
                      <a:pt x="107" y="335"/>
                    </a:lnTo>
                    <a:lnTo>
                      <a:pt x="104" y="335"/>
                    </a:lnTo>
                    <a:lnTo>
                      <a:pt x="101" y="336"/>
                    </a:lnTo>
                    <a:lnTo>
                      <a:pt x="99" y="336"/>
                    </a:lnTo>
                    <a:lnTo>
                      <a:pt x="95" y="336"/>
                    </a:lnTo>
                    <a:lnTo>
                      <a:pt x="94" y="336"/>
                    </a:lnTo>
                    <a:lnTo>
                      <a:pt x="91" y="337"/>
                    </a:lnTo>
                    <a:lnTo>
                      <a:pt x="89" y="339"/>
                    </a:lnTo>
                    <a:lnTo>
                      <a:pt x="86" y="341"/>
                    </a:lnTo>
                    <a:lnTo>
                      <a:pt x="85" y="344"/>
                    </a:lnTo>
                    <a:lnTo>
                      <a:pt x="83" y="345"/>
                    </a:lnTo>
                    <a:lnTo>
                      <a:pt x="79" y="344"/>
                    </a:lnTo>
                    <a:lnTo>
                      <a:pt x="77" y="345"/>
                    </a:lnTo>
                    <a:lnTo>
                      <a:pt x="74" y="347"/>
                    </a:lnTo>
                    <a:lnTo>
                      <a:pt x="72" y="350"/>
                    </a:lnTo>
                    <a:lnTo>
                      <a:pt x="69" y="352"/>
                    </a:lnTo>
                    <a:lnTo>
                      <a:pt x="67" y="353"/>
                    </a:lnTo>
                    <a:lnTo>
                      <a:pt x="65" y="353"/>
                    </a:lnTo>
                    <a:lnTo>
                      <a:pt x="65" y="354"/>
                    </a:lnTo>
                    <a:lnTo>
                      <a:pt x="61" y="353"/>
                    </a:lnTo>
                    <a:lnTo>
                      <a:pt x="59" y="354"/>
                    </a:lnTo>
                    <a:lnTo>
                      <a:pt x="57" y="353"/>
                    </a:lnTo>
                    <a:lnTo>
                      <a:pt x="53" y="353"/>
                    </a:lnTo>
                    <a:lnTo>
                      <a:pt x="51" y="353"/>
                    </a:lnTo>
                    <a:lnTo>
                      <a:pt x="48" y="353"/>
                    </a:lnTo>
                    <a:lnTo>
                      <a:pt x="45" y="352"/>
                    </a:lnTo>
                    <a:lnTo>
                      <a:pt x="43" y="350"/>
                    </a:lnTo>
                    <a:lnTo>
                      <a:pt x="40" y="349"/>
                    </a:lnTo>
                    <a:lnTo>
                      <a:pt x="38" y="347"/>
                    </a:lnTo>
                    <a:lnTo>
                      <a:pt x="35" y="345"/>
                    </a:lnTo>
                    <a:lnTo>
                      <a:pt x="32" y="342"/>
                    </a:lnTo>
                    <a:lnTo>
                      <a:pt x="30" y="341"/>
                    </a:lnTo>
                    <a:lnTo>
                      <a:pt x="26" y="341"/>
                    </a:lnTo>
                    <a:lnTo>
                      <a:pt x="25" y="339"/>
                    </a:lnTo>
                    <a:lnTo>
                      <a:pt x="25" y="337"/>
                    </a:lnTo>
                    <a:lnTo>
                      <a:pt x="25" y="333"/>
                    </a:lnTo>
                    <a:lnTo>
                      <a:pt x="25" y="331"/>
                    </a:lnTo>
                    <a:lnTo>
                      <a:pt x="28" y="331"/>
                    </a:lnTo>
                    <a:lnTo>
                      <a:pt x="28" y="331"/>
                    </a:lnTo>
                    <a:lnTo>
                      <a:pt x="31" y="330"/>
                    </a:lnTo>
                    <a:lnTo>
                      <a:pt x="33" y="328"/>
                    </a:lnTo>
                    <a:lnTo>
                      <a:pt x="35" y="325"/>
                    </a:lnTo>
                    <a:lnTo>
                      <a:pt x="34" y="322"/>
                    </a:lnTo>
                    <a:lnTo>
                      <a:pt x="34" y="320"/>
                    </a:lnTo>
                    <a:lnTo>
                      <a:pt x="34" y="318"/>
                    </a:lnTo>
                    <a:lnTo>
                      <a:pt x="34" y="314"/>
                    </a:lnTo>
                    <a:lnTo>
                      <a:pt x="34" y="318"/>
                    </a:lnTo>
                    <a:lnTo>
                      <a:pt x="35" y="314"/>
                    </a:lnTo>
                    <a:lnTo>
                      <a:pt x="35" y="312"/>
                    </a:lnTo>
                    <a:lnTo>
                      <a:pt x="35" y="310"/>
                    </a:lnTo>
                    <a:lnTo>
                      <a:pt x="35" y="306"/>
                    </a:lnTo>
                    <a:lnTo>
                      <a:pt x="35" y="304"/>
                    </a:lnTo>
                    <a:lnTo>
                      <a:pt x="35" y="301"/>
                    </a:lnTo>
                    <a:lnTo>
                      <a:pt x="33" y="298"/>
                    </a:lnTo>
                    <a:lnTo>
                      <a:pt x="32" y="296"/>
                    </a:lnTo>
                    <a:lnTo>
                      <a:pt x="31" y="293"/>
                    </a:lnTo>
                    <a:lnTo>
                      <a:pt x="30" y="290"/>
                    </a:lnTo>
                    <a:lnTo>
                      <a:pt x="27" y="287"/>
                    </a:lnTo>
                    <a:lnTo>
                      <a:pt x="26" y="285"/>
                    </a:lnTo>
                    <a:lnTo>
                      <a:pt x="26" y="282"/>
                    </a:lnTo>
                    <a:lnTo>
                      <a:pt x="25" y="279"/>
                    </a:lnTo>
                    <a:lnTo>
                      <a:pt x="25" y="277"/>
                    </a:lnTo>
                    <a:lnTo>
                      <a:pt x="25" y="276"/>
                    </a:lnTo>
                    <a:lnTo>
                      <a:pt x="25" y="270"/>
                    </a:lnTo>
                    <a:lnTo>
                      <a:pt x="25" y="268"/>
                    </a:lnTo>
                    <a:lnTo>
                      <a:pt x="24" y="265"/>
                    </a:lnTo>
                    <a:lnTo>
                      <a:pt x="23" y="262"/>
                    </a:lnTo>
                    <a:lnTo>
                      <a:pt x="21" y="260"/>
                    </a:lnTo>
                    <a:lnTo>
                      <a:pt x="19" y="258"/>
                    </a:lnTo>
                    <a:lnTo>
                      <a:pt x="19" y="255"/>
                    </a:lnTo>
                    <a:lnTo>
                      <a:pt x="17" y="252"/>
                    </a:lnTo>
                    <a:lnTo>
                      <a:pt x="16" y="250"/>
                    </a:lnTo>
                    <a:lnTo>
                      <a:pt x="14" y="247"/>
                    </a:lnTo>
                    <a:lnTo>
                      <a:pt x="13" y="244"/>
                    </a:lnTo>
                    <a:lnTo>
                      <a:pt x="14" y="242"/>
                    </a:lnTo>
                    <a:lnTo>
                      <a:pt x="13" y="239"/>
                    </a:lnTo>
                    <a:lnTo>
                      <a:pt x="13" y="236"/>
                    </a:lnTo>
                    <a:lnTo>
                      <a:pt x="10" y="234"/>
                    </a:lnTo>
                    <a:lnTo>
                      <a:pt x="9" y="230"/>
                    </a:lnTo>
                    <a:lnTo>
                      <a:pt x="7" y="228"/>
                    </a:lnTo>
                    <a:lnTo>
                      <a:pt x="5" y="226"/>
                    </a:lnTo>
                    <a:lnTo>
                      <a:pt x="5" y="225"/>
                    </a:lnTo>
                    <a:lnTo>
                      <a:pt x="2" y="222"/>
                    </a:lnTo>
                    <a:lnTo>
                      <a:pt x="0" y="219"/>
                    </a:lnTo>
                    <a:lnTo>
                      <a:pt x="4" y="222"/>
                    </a:lnTo>
                    <a:lnTo>
                      <a:pt x="4" y="219"/>
                    </a:lnTo>
                    <a:lnTo>
                      <a:pt x="5" y="222"/>
                    </a:lnTo>
                    <a:lnTo>
                      <a:pt x="6" y="225"/>
                    </a:lnTo>
                    <a:lnTo>
                      <a:pt x="8" y="226"/>
                    </a:lnTo>
                    <a:lnTo>
                      <a:pt x="10" y="222"/>
                    </a:lnTo>
                    <a:lnTo>
                      <a:pt x="8" y="220"/>
                    </a:lnTo>
                    <a:lnTo>
                      <a:pt x="6" y="217"/>
                    </a:lnTo>
                    <a:lnTo>
                      <a:pt x="5" y="215"/>
                    </a:lnTo>
                    <a:lnTo>
                      <a:pt x="4" y="212"/>
                    </a:lnTo>
                    <a:lnTo>
                      <a:pt x="6" y="212"/>
                    </a:lnTo>
                    <a:lnTo>
                      <a:pt x="8" y="216"/>
                    </a:lnTo>
                    <a:lnTo>
                      <a:pt x="8" y="218"/>
                    </a:lnTo>
                    <a:lnTo>
                      <a:pt x="8" y="219"/>
                    </a:lnTo>
                    <a:lnTo>
                      <a:pt x="10" y="217"/>
                    </a:lnTo>
                    <a:lnTo>
                      <a:pt x="10" y="219"/>
                    </a:lnTo>
                    <a:lnTo>
                      <a:pt x="11" y="221"/>
                    </a:lnTo>
                    <a:lnTo>
                      <a:pt x="15" y="222"/>
                    </a:lnTo>
                    <a:lnTo>
                      <a:pt x="14" y="219"/>
                    </a:lnTo>
                    <a:lnTo>
                      <a:pt x="15" y="217"/>
                    </a:lnTo>
                    <a:lnTo>
                      <a:pt x="15" y="215"/>
                    </a:lnTo>
                    <a:lnTo>
                      <a:pt x="13" y="211"/>
                    </a:lnTo>
                    <a:lnTo>
                      <a:pt x="11" y="209"/>
                    </a:lnTo>
                    <a:lnTo>
                      <a:pt x="9" y="207"/>
                    </a:lnTo>
                    <a:lnTo>
                      <a:pt x="8" y="203"/>
                    </a:lnTo>
                    <a:lnTo>
                      <a:pt x="7" y="201"/>
                    </a:lnTo>
                    <a:lnTo>
                      <a:pt x="7" y="201"/>
                    </a:lnTo>
                    <a:lnTo>
                      <a:pt x="6" y="198"/>
                    </a:lnTo>
                    <a:lnTo>
                      <a:pt x="4" y="195"/>
                    </a:lnTo>
                    <a:lnTo>
                      <a:pt x="4" y="192"/>
                    </a:lnTo>
                    <a:lnTo>
                      <a:pt x="4" y="190"/>
                    </a:lnTo>
                    <a:lnTo>
                      <a:pt x="5" y="187"/>
                    </a:lnTo>
                    <a:lnTo>
                      <a:pt x="5" y="184"/>
                    </a:lnTo>
                    <a:lnTo>
                      <a:pt x="7" y="182"/>
                    </a:lnTo>
                    <a:lnTo>
                      <a:pt x="8" y="179"/>
                    </a:lnTo>
                    <a:lnTo>
                      <a:pt x="8" y="176"/>
                    </a:lnTo>
                    <a:lnTo>
                      <a:pt x="9" y="174"/>
                    </a:lnTo>
                    <a:lnTo>
                      <a:pt x="8" y="170"/>
                    </a:lnTo>
                    <a:lnTo>
                      <a:pt x="7" y="168"/>
                    </a:lnTo>
                    <a:lnTo>
                      <a:pt x="8" y="167"/>
                    </a:lnTo>
                    <a:lnTo>
                      <a:pt x="9" y="164"/>
                    </a:lnTo>
                    <a:lnTo>
                      <a:pt x="10" y="161"/>
                    </a:lnTo>
                    <a:lnTo>
                      <a:pt x="10" y="158"/>
                    </a:lnTo>
                    <a:lnTo>
                      <a:pt x="14" y="156"/>
                    </a:lnTo>
                    <a:lnTo>
                      <a:pt x="14" y="159"/>
                    </a:lnTo>
                    <a:lnTo>
                      <a:pt x="13" y="161"/>
                    </a:lnTo>
                    <a:lnTo>
                      <a:pt x="14" y="165"/>
                    </a:lnTo>
                    <a:lnTo>
                      <a:pt x="16" y="166"/>
                    </a:lnTo>
                    <a:lnTo>
                      <a:pt x="17" y="164"/>
                    </a:lnTo>
                    <a:lnTo>
                      <a:pt x="18" y="160"/>
                    </a:lnTo>
                    <a:lnTo>
                      <a:pt x="19" y="159"/>
                    </a:lnTo>
                    <a:lnTo>
                      <a:pt x="21" y="157"/>
                    </a:lnTo>
                    <a:lnTo>
                      <a:pt x="23" y="156"/>
                    </a:lnTo>
                    <a:lnTo>
                      <a:pt x="24" y="154"/>
                    </a:lnTo>
                    <a:lnTo>
                      <a:pt x="27" y="153"/>
                    </a:lnTo>
                    <a:lnTo>
                      <a:pt x="30" y="152"/>
                    </a:lnTo>
                    <a:lnTo>
                      <a:pt x="33" y="151"/>
                    </a:lnTo>
                    <a:lnTo>
                      <a:pt x="35" y="149"/>
                    </a:lnTo>
                    <a:lnTo>
                      <a:pt x="38" y="145"/>
                    </a:lnTo>
                    <a:lnTo>
                      <a:pt x="40" y="144"/>
                    </a:lnTo>
                    <a:lnTo>
                      <a:pt x="43" y="142"/>
                    </a:lnTo>
                    <a:lnTo>
                      <a:pt x="45" y="142"/>
                    </a:lnTo>
                    <a:lnTo>
                      <a:pt x="49" y="140"/>
                    </a:lnTo>
                    <a:lnTo>
                      <a:pt x="51" y="140"/>
                    </a:lnTo>
                    <a:lnTo>
                      <a:pt x="55" y="139"/>
                    </a:lnTo>
                    <a:lnTo>
                      <a:pt x="57" y="141"/>
                    </a:lnTo>
                    <a:lnTo>
                      <a:pt x="59" y="140"/>
                    </a:lnTo>
                    <a:lnTo>
                      <a:pt x="62" y="140"/>
                    </a:lnTo>
                    <a:lnTo>
                      <a:pt x="65" y="139"/>
                    </a:lnTo>
                    <a:lnTo>
                      <a:pt x="67" y="136"/>
                    </a:lnTo>
                    <a:lnTo>
                      <a:pt x="69" y="135"/>
                    </a:lnTo>
                    <a:lnTo>
                      <a:pt x="73" y="135"/>
                    </a:lnTo>
                    <a:lnTo>
                      <a:pt x="74" y="134"/>
                    </a:lnTo>
                    <a:lnTo>
                      <a:pt x="77" y="134"/>
                    </a:lnTo>
                    <a:lnTo>
                      <a:pt x="79" y="132"/>
                    </a:lnTo>
                    <a:lnTo>
                      <a:pt x="82" y="130"/>
                    </a:lnTo>
                    <a:lnTo>
                      <a:pt x="86" y="130"/>
                    </a:lnTo>
                    <a:lnTo>
                      <a:pt x="89" y="131"/>
                    </a:lnTo>
                    <a:lnTo>
                      <a:pt x="91" y="130"/>
                    </a:lnTo>
                    <a:lnTo>
                      <a:pt x="93" y="130"/>
                    </a:lnTo>
                    <a:lnTo>
                      <a:pt x="94" y="130"/>
                    </a:lnTo>
                    <a:lnTo>
                      <a:pt x="96" y="128"/>
                    </a:lnTo>
                    <a:lnTo>
                      <a:pt x="99" y="128"/>
                    </a:lnTo>
                    <a:lnTo>
                      <a:pt x="102" y="127"/>
                    </a:lnTo>
                    <a:lnTo>
                      <a:pt x="104" y="126"/>
                    </a:lnTo>
                    <a:lnTo>
                      <a:pt x="108" y="125"/>
                    </a:lnTo>
                    <a:lnTo>
                      <a:pt x="110" y="123"/>
                    </a:lnTo>
                    <a:lnTo>
                      <a:pt x="112" y="121"/>
                    </a:lnTo>
                    <a:lnTo>
                      <a:pt x="115" y="117"/>
                    </a:lnTo>
                    <a:lnTo>
                      <a:pt x="116" y="115"/>
                    </a:lnTo>
                    <a:lnTo>
                      <a:pt x="116" y="111"/>
                    </a:lnTo>
                    <a:lnTo>
                      <a:pt x="118" y="111"/>
                    </a:lnTo>
                    <a:lnTo>
                      <a:pt x="119" y="108"/>
                    </a:lnTo>
                    <a:lnTo>
                      <a:pt x="121" y="108"/>
                    </a:lnTo>
                    <a:lnTo>
                      <a:pt x="124" y="105"/>
                    </a:lnTo>
                    <a:lnTo>
                      <a:pt x="126" y="102"/>
                    </a:lnTo>
                    <a:lnTo>
                      <a:pt x="124" y="101"/>
                    </a:lnTo>
                    <a:lnTo>
                      <a:pt x="124" y="99"/>
                    </a:lnTo>
                    <a:lnTo>
                      <a:pt x="124" y="96"/>
                    </a:lnTo>
                    <a:lnTo>
                      <a:pt x="124" y="93"/>
                    </a:lnTo>
                    <a:lnTo>
                      <a:pt x="125" y="90"/>
                    </a:lnTo>
                    <a:lnTo>
                      <a:pt x="126" y="88"/>
                    </a:lnTo>
                    <a:lnTo>
                      <a:pt x="128" y="87"/>
                    </a:lnTo>
                    <a:lnTo>
                      <a:pt x="130" y="84"/>
                    </a:lnTo>
                    <a:lnTo>
                      <a:pt x="132" y="82"/>
                    </a:lnTo>
                    <a:lnTo>
                      <a:pt x="134" y="80"/>
                    </a:lnTo>
                    <a:lnTo>
                      <a:pt x="135" y="82"/>
                    </a:lnTo>
                    <a:lnTo>
                      <a:pt x="136" y="84"/>
                    </a:lnTo>
                    <a:lnTo>
                      <a:pt x="138" y="88"/>
                    </a:lnTo>
                    <a:lnTo>
                      <a:pt x="139" y="90"/>
                    </a:lnTo>
                    <a:lnTo>
                      <a:pt x="141" y="92"/>
                    </a:lnTo>
                    <a:lnTo>
                      <a:pt x="143" y="96"/>
                    </a:lnTo>
                    <a:lnTo>
                      <a:pt x="143" y="96"/>
                    </a:lnTo>
                    <a:lnTo>
                      <a:pt x="143" y="93"/>
                    </a:lnTo>
                    <a:lnTo>
                      <a:pt x="143" y="90"/>
                    </a:lnTo>
                    <a:lnTo>
                      <a:pt x="143" y="88"/>
                    </a:lnTo>
                    <a:lnTo>
                      <a:pt x="146" y="90"/>
                    </a:lnTo>
                    <a:lnTo>
                      <a:pt x="147" y="90"/>
                    </a:lnTo>
                    <a:lnTo>
                      <a:pt x="146" y="88"/>
                    </a:lnTo>
                    <a:lnTo>
                      <a:pt x="147" y="85"/>
                    </a:lnTo>
                    <a:lnTo>
                      <a:pt x="145" y="85"/>
                    </a:lnTo>
                    <a:lnTo>
                      <a:pt x="143" y="83"/>
                    </a:lnTo>
                    <a:lnTo>
                      <a:pt x="142" y="81"/>
                    </a:lnTo>
                    <a:lnTo>
                      <a:pt x="144" y="80"/>
                    </a:lnTo>
                    <a:lnTo>
                      <a:pt x="145" y="79"/>
                    </a:lnTo>
                    <a:lnTo>
                      <a:pt x="143" y="76"/>
                    </a:lnTo>
                    <a:lnTo>
                      <a:pt x="145" y="76"/>
                    </a:lnTo>
                    <a:lnTo>
                      <a:pt x="147" y="79"/>
                    </a:lnTo>
                    <a:lnTo>
                      <a:pt x="150" y="77"/>
                    </a:lnTo>
                    <a:lnTo>
                      <a:pt x="152" y="79"/>
                    </a:lnTo>
                    <a:lnTo>
                      <a:pt x="159" y="79"/>
                    </a:lnTo>
                    <a:lnTo>
                      <a:pt x="161" y="80"/>
                    </a:lnTo>
                    <a:lnTo>
                      <a:pt x="159" y="79"/>
                    </a:lnTo>
                    <a:lnTo>
                      <a:pt x="155" y="79"/>
                    </a:lnTo>
                    <a:lnTo>
                      <a:pt x="154" y="75"/>
                    </a:lnTo>
                    <a:lnTo>
                      <a:pt x="156" y="73"/>
                    </a:lnTo>
                    <a:lnTo>
                      <a:pt x="154" y="72"/>
                    </a:lnTo>
                    <a:lnTo>
                      <a:pt x="154" y="68"/>
                    </a:lnTo>
                    <a:lnTo>
                      <a:pt x="154" y="68"/>
                    </a:lnTo>
                    <a:lnTo>
                      <a:pt x="156" y="66"/>
                    </a:lnTo>
                    <a:lnTo>
                      <a:pt x="159" y="64"/>
                    </a:lnTo>
                    <a:lnTo>
                      <a:pt x="161" y="65"/>
                    </a:lnTo>
                    <a:lnTo>
                      <a:pt x="163" y="66"/>
                    </a:lnTo>
                    <a:lnTo>
                      <a:pt x="164" y="67"/>
                    </a:lnTo>
                    <a:lnTo>
                      <a:pt x="164" y="64"/>
                    </a:lnTo>
                    <a:lnTo>
                      <a:pt x="161" y="64"/>
                    </a:lnTo>
                    <a:lnTo>
                      <a:pt x="160" y="62"/>
                    </a:lnTo>
                    <a:lnTo>
                      <a:pt x="163" y="61"/>
                    </a:lnTo>
                    <a:lnTo>
                      <a:pt x="166" y="61"/>
                    </a:lnTo>
                    <a:lnTo>
                      <a:pt x="167" y="62"/>
                    </a:lnTo>
                    <a:lnTo>
                      <a:pt x="164" y="58"/>
                    </a:lnTo>
                    <a:lnTo>
                      <a:pt x="164" y="56"/>
                    </a:lnTo>
                    <a:lnTo>
                      <a:pt x="167" y="54"/>
                    </a:lnTo>
                    <a:lnTo>
                      <a:pt x="169" y="53"/>
                    </a:lnTo>
                    <a:lnTo>
                      <a:pt x="170" y="53"/>
                    </a:lnTo>
                    <a:lnTo>
                      <a:pt x="170" y="50"/>
                    </a:lnTo>
                    <a:lnTo>
                      <a:pt x="171" y="53"/>
                    </a:lnTo>
                    <a:lnTo>
                      <a:pt x="175" y="54"/>
                    </a:lnTo>
                    <a:lnTo>
                      <a:pt x="177" y="51"/>
                    </a:lnTo>
                    <a:lnTo>
                      <a:pt x="177" y="49"/>
                    </a:lnTo>
                    <a:lnTo>
                      <a:pt x="178" y="47"/>
                    </a:lnTo>
                    <a:lnTo>
                      <a:pt x="177" y="47"/>
                    </a:lnTo>
                    <a:lnTo>
                      <a:pt x="178" y="46"/>
                    </a:lnTo>
                    <a:lnTo>
                      <a:pt x="179" y="48"/>
                    </a:lnTo>
                    <a:lnTo>
                      <a:pt x="181" y="46"/>
                    </a:lnTo>
                    <a:lnTo>
                      <a:pt x="183" y="47"/>
                    </a:lnTo>
                    <a:lnTo>
                      <a:pt x="186" y="47"/>
                    </a:lnTo>
                    <a:lnTo>
                      <a:pt x="188" y="45"/>
                    </a:lnTo>
                    <a:lnTo>
                      <a:pt x="188" y="42"/>
                    </a:lnTo>
                    <a:lnTo>
                      <a:pt x="189" y="41"/>
                    </a:lnTo>
                    <a:lnTo>
                      <a:pt x="190" y="45"/>
                    </a:lnTo>
                    <a:lnTo>
                      <a:pt x="194" y="45"/>
                    </a:lnTo>
                    <a:lnTo>
                      <a:pt x="200" y="48"/>
                    </a:lnTo>
                    <a:lnTo>
                      <a:pt x="201" y="51"/>
                    </a:lnTo>
                    <a:lnTo>
                      <a:pt x="204" y="54"/>
                    </a:lnTo>
                    <a:lnTo>
                      <a:pt x="206" y="56"/>
                    </a:lnTo>
                    <a:lnTo>
                      <a:pt x="206" y="57"/>
                    </a:lnTo>
                    <a:lnTo>
                      <a:pt x="205" y="59"/>
                    </a:lnTo>
                    <a:lnTo>
                      <a:pt x="204" y="62"/>
                    </a:lnTo>
                    <a:lnTo>
                      <a:pt x="204" y="65"/>
                    </a:lnTo>
                    <a:lnTo>
                      <a:pt x="204" y="66"/>
                    </a:lnTo>
                    <a:lnTo>
                      <a:pt x="205" y="64"/>
                    </a:lnTo>
                    <a:lnTo>
                      <a:pt x="207" y="65"/>
                    </a:lnTo>
                    <a:lnTo>
                      <a:pt x="206" y="63"/>
                    </a:lnTo>
                    <a:lnTo>
                      <a:pt x="206" y="61"/>
                    </a:lnTo>
                    <a:lnTo>
                      <a:pt x="209" y="61"/>
                    </a:lnTo>
                    <a:lnTo>
                      <a:pt x="210" y="57"/>
                    </a:lnTo>
                    <a:lnTo>
                      <a:pt x="212" y="56"/>
                    </a:lnTo>
                    <a:lnTo>
                      <a:pt x="215" y="57"/>
                    </a:lnTo>
                    <a:lnTo>
                      <a:pt x="218" y="58"/>
                    </a:lnTo>
                    <a:lnTo>
                      <a:pt x="220" y="61"/>
                    </a:lnTo>
                    <a:lnTo>
                      <a:pt x="220" y="58"/>
                    </a:lnTo>
                    <a:lnTo>
                      <a:pt x="223" y="58"/>
                    </a:lnTo>
                    <a:lnTo>
                      <a:pt x="226" y="61"/>
                    </a:lnTo>
                    <a:lnTo>
                      <a:pt x="227" y="63"/>
                    </a:lnTo>
                    <a:lnTo>
                      <a:pt x="227" y="62"/>
                    </a:lnTo>
                    <a:lnTo>
                      <a:pt x="226" y="58"/>
                    </a:lnTo>
                    <a:lnTo>
                      <a:pt x="229" y="57"/>
                    </a:lnTo>
                    <a:lnTo>
                      <a:pt x="226" y="55"/>
                    </a:lnTo>
                    <a:lnTo>
                      <a:pt x="223" y="53"/>
                    </a:lnTo>
                    <a:lnTo>
                      <a:pt x="222" y="50"/>
                    </a:lnTo>
                    <a:lnTo>
                      <a:pt x="224" y="47"/>
                    </a:lnTo>
                    <a:lnTo>
                      <a:pt x="224" y="47"/>
                    </a:lnTo>
                    <a:lnTo>
                      <a:pt x="227" y="46"/>
                    </a:lnTo>
                    <a:lnTo>
                      <a:pt x="228" y="40"/>
                    </a:lnTo>
                    <a:lnTo>
                      <a:pt x="231" y="39"/>
                    </a:lnTo>
                    <a:lnTo>
                      <a:pt x="234" y="37"/>
                    </a:lnTo>
                    <a:lnTo>
                      <a:pt x="236" y="37"/>
                    </a:lnTo>
                    <a:lnTo>
                      <a:pt x="232" y="34"/>
                    </a:lnTo>
                    <a:lnTo>
                      <a:pt x="232" y="31"/>
                    </a:lnTo>
                    <a:lnTo>
                      <a:pt x="235" y="31"/>
                    </a:lnTo>
                    <a:lnTo>
                      <a:pt x="236" y="29"/>
                    </a:lnTo>
                    <a:lnTo>
                      <a:pt x="238" y="27"/>
                    </a:lnTo>
                    <a:lnTo>
                      <a:pt x="239" y="24"/>
                    </a:lnTo>
                    <a:lnTo>
                      <a:pt x="241" y="25"/>
                    </a:lnTo>
                    <a:lnTo>
                      <a:pt x="243" y="24"/>
                    </a:lnTo>
                    <a:lnTo>
                      <a:pt x="245" y="23"/>
                    </a:lnTo>
                    <a:lnTo>
                      <a:pt x="245" y="21"/>
                    </a:lnTo>
                    <a:lnTo>
                      <a:pt x="247" y="21"/>
                    </a:lnTo>
                    <a:lnTo>
                      <a:pt x="250" y="21"/>
                    </a:lnTo>
                    <a:lnTo>
                      <a:pt x="253" y="22"/>
                    </a:lnTo>
                    <a:lnTo>
                      <a:pt x="255" y="21"/>
                    </a:lnTo>
                    <a:lnTo>
                      <a:pt x="258" y="22"/>
                    </a:lnTo>
                    <a:lnTo>
                      <a:pt x="261" y="21"/>
                    </a:lnTo>
                    <a:lnTo>
                      <a:pt x="263" y="21"/>
                    </a:lnTo>
                    <a:lnTo>
                      <a:pt x="264" y="21"/>
                    </a:lnTo>
                    <a:lnTo>
                      <a:pt x="266" y="19"/>
                    </a:lnTo>
                    <a:lnTo>
                      <a:pt x="267" y="16"/>
                    </a:lnTo>
                    <a:lnTo>
                      <a:pt x="267" y="14"/>
                    </a:lnTo>
                    <a:lnTo>
                      <a:pt x="265" y="11"/>
                    </a:lnTo>
                    <a:lnTo>
                      <a:pt x="263" y="10"/>
                    </a:lnTo>
                    <a:lnTo>
                      <a:pt x="260" y="11"/>
                    </a:lnTo>
                    <a:lnTo>
                      <a:pt x="257" y="8"/>
                    </a:lnTo>
                    <a:lnTo>
                      <a:pt x="256" y="8"/>
                    </a:lnTo>
                    <a:lnTo>
                      <a:pt x="258" y="6"/>
                    </a:lnTo>
                    <a:lnTo>
                      <a:pt x="261" y="8"/>
                    </a:lnTo>
                    <a:lnTo>
                      <a:pt x="261" y="6"/>
                    </a:lnTo>
                    <a:lnTo>
                      <a:pt x="263" y="6"/>
                    </a:lnTo>
                    <a:lnTo>
                      <a:pt x="265" y="8"/>
                    </a:lnTo>
                    <a:lnTo>
                      <a:pt x="266" y="8"/>
                    </a:lnTo>
                    <a:lnTo>
                      <a:pt x="269" y="11"/>
                    </a:lnTo>
                    <a:lnTo>
                      <a:pt x="271" y="8"/>
                    </a:lnTo>
                    <a:lnTo>
                      <a:pt x="273" y="11"/>
                    </a:lnTo>
                    <a:lnTo>
                      <a:pt x="274" y="13"/>
                    </a:lnTo>
                    <a:lnTo>
                      <a:pt x="277" y="13"/>
                    </a:lnTo>
                    <a:lnTo>
                      <a:pt x="280" y="14"/>
                    </a:lnTo>
                    <a:lnTo>
                      <a:pt x="282" y="14"/>
                    </a:lnTo>
                    <a:lnTo>
                      <a:pt x="284" y="14"/>
                    </a:lnTo>
                    <a:lnTo>
                      <a:pt x="288" y="16"/>
                    </a:lnTo>
                    <a:lnTo>
                      <a:pt x="290" y="17"/>
                    </a:lnTo>
                    <a:lnTo>
                      <a:pt x="292" y="19"/>
                    </a:lnTo>
                    <a:lnTo>
                      <a:pt x="295" y="17"/>
                    </a:lnTo>
                    <a:lnTo>
                      <a:pt x="298" y="20"/>
                    </a:lnTo>
                    <a:lnTo>
                      <a:pt x="300" y="21"/>
                    </a:lnTo>
                    <a:lnTo>
                      <a:pt x="303" y="21"/>
                    </a:lnTo>
                    <a:lnTo>
                      <a:pt x="306" y="20"/>
                    </a:lnTo>
                    <a:lnTo>
                      <a:pt x="308" y="19"/>
                    </a:lnTo>
                    <a:lnTo>
                      <a:pt x="311" y="15"/>
                    </a:lnTo>
                    <a:lnTo>
                      <a:pt x="311" y="19"/>
                    </a:lnTo>
                    <a:lnTo>
                      <a:pt x="308" y="21"/>
                    </a:lnTo>
                    <a:lnTo>
                      <a:pt x="312" y="20"/>
                    </a:lnTo>
                    <a:lnTo>
                      <a:pt x="313" y="22"/>
                    </a:lnTo>
                    <a:lnTo>
                      <a:pt x="315" y="24"/>
                    </a:lnTo>
                    <a:lnTo>
                      <a:pt x="317" y="23"/>
                    </a:lnTo>
                    <a:lnTo>
                      <a:pt x="317" y="21"/>
                    </a:lnTo>
                    <a:lnTo>
                      <a:pt x="318" y="17"/>
                    </a:lnTo>
                    <a:lnTo>
                      <a:pt x="321" y="16"/>
                    </a:lnTo>
                    <a:lnTo>
                      <a:pt x="321" y="20"/>
                    </a:lnTo>
                    <a:lnTo>
                      <a:pt x="324" y="20"/>
                    </a:lnTo>
                    <a:lnTo>
                      <a:pt x="326" y="23"/>
                    </a:lnTo>
                    <a:lnTo>
                      <a:pt x="324" y="25"/>
                    </a:lnTo>
                    <a:lnTo>
                      <a:pt x="321" y="28"/>
                    </a:lnTo>
                    <a:lnTo>
                      <a:pt x="320" y="30"/>
                    </a:lnTo>
                    <a:lnTo>
                      <a:pt x="321" y="32"/>
                    </a:lnTo>
                    <a:lnTo>
                      <a:pt x="320" y="34"/>
                    </a:lnTo>
                    <a:lnTo>
                      <a:pt x="317" y="34"/>
                    </a:lnTo>
                    <a:lnTo>
                      <a:pt x="314" y="34"/>
                    </a:lnTo>
                    <a:lnTo>
                      <a:pt x="312" y="37"/>
                    </a:lnTo>
                    <a:lnTo>
                      <a:pt x="312" y="39"/>
                    </a:lnTo>
                    <a:lnTo>
                      <a:pt x="312" y="41"/>
                    </a:lnTo>
                    <a:lnTo>
                      <a:pt x="314" y="41"/>
                    </a:lnTo>
                    <a:lnTo>
                      <a:pt x="313" y="44"/>
                    </a:lnTo>
                    <a:lnTo>
                      <a:pt x="312" y="47"/>
                    </a:lnTo>
                    <a:lnTo>
                      <a:pt x="311" y="49"/>
                    </a:lnTo>
                    <a:lnTo>
                      <a:pt x="308" y="51"/>
                    </a:lnTo>
                    <a:lnTo>
                      <a:pt x="307" y="55"/>
                    </a:lnTo>
                    <a:lnTo>
                      <a:pt x="305" y="56"/>
                    </a:lnTo>
                    <a:lnTo>
                      <a:pt x="305" y="58"/>
                    </a:lnTo>
                    <a:lnTo>
                      <a:pt x="308" y="61"/>
                    </a:lnTo>
                    <a:lnTo>
                      <a:pt x="311" y="62"/>
                    </a:lnTo>
                    <a:lnTo>
                      <a:pt x="314" y="64"/>
                    </a:lnTo>
                    <a:lnTo>
                      <a:pt x="316" y="65"/>
                    </a:lnTo>
                    <a:lnTo>
                      <a:pt x="317" y="68"/>
                    </a:lnTo>
                    <a:lnTo>
                      <a:pt x="321" y="70"/>
                    </a:lnTo>
                    <a:lnTo>
                      <a:pt x="322" y="70"/>
                    </a:lnTo>
                    <a:lnTo>
                      <a:pt x="324" y="73"/>
                    </a:lnTo>
                    <a:lnTo>
                      <a:pt x="326" y="72"/>
                    </a:lnTo>
                    <a:lnTo>
                      <a:pt x="330" y="73"/>
                    </a:lnTo>
                    <a:lnTo>
                      <a:pt x="332" y="75"/>
                    </a:lnTo>
                    <a:lnTo>
                      <a:pt x="334" y="76"/>
                    </a:lnTo>
                    <a:lnTo>
                      <a:pt x="338" y="79"/>
                    </a:lnTo>
                    <a:lnTo>
                      <a:pt x="340" y="81"/>
                    </a:lnTo>
                    <a:lnTo>
                      <a:pt x="340" y="81"/>
                    </a:lnTo>
                    <a:lnTo>
                      <a:pt x="343" y="83"/>
                    </a:lnTo>
                    <a:lnTo>
                      <a:pt x="346" y="84"/>
                    </a:lnTo>
                    <a:lnTo>
                      <a:pt x="349" y="84"/>
                    </a:lnTo>
                    <a:lnTo>
                      <a:pt x="351" y="85"/>
                    </a:lnTo>
                    <a:lnTo>
                      <a:pt x="355" y="87"/>
                    </a:lnTo>
                    <a:lnTo>
                      <a:pt x="356" y="89"/>
                    </a:lnTo>
                    <a:lnTo>
                      <a:pt x="357" y="91"/>
                    </a:lnTo>
                    <a:lnTo>
                      <a:pt x="358" y="92"/>
                    </a:lnTo>
                    <a:lnTo>
                      <a:pt x="360" y="93"/>
                    </a:lnTo>
                    <a:lnTo>
                      <a:pt x="364" y="96"/>
                    </a:lnTo>
                    <a:lnTo>
                      <a:pt x="365" y="96"/>
                    </a:lnTo>
                    <a:lnTo>
                      <a:pt x="367" y="97"/>
                    </a:lnTo>
                    <a:lnTo>
                      <a:pt x="368" y="98"/>
                    </a:lnTo>
                    <a:lnTo>
                      <a:pt x="371" y="98"/>
                    </a:lnTo>
                    <a:lnTo>
                      <a:pt x="373" y="97"/>
                    </a:lnTo>
                    <a:lnTo>
                      <a:pt x="376" y="96"/>
                    </a:lnTo>
                    <a:lnTo>
                      <a:pt x="377" y="94"/>
                    </a:lnTo>
                    <a:lnTo>
                      <a:pt x="380" y="92"/>
                    </a:lnTo>
                    <a:lnTo>
                      <a:pt x="381" y="90"/>
                    </a:lnTo>
                    <a:lnTo>
                      <a:pt x="382" y="87"/>
                    </a:lnTo>
                    <a:lnTo>
                      <a:pt x="383" y="84"/>
                    </a:lnTo>
                    <a:lnTo>
                      <a:pt x="384" y="83"/>
                    </a:lnTo>
                    <a:lnTo>
                      <a:pt x="385" y="81"/>
                    </a:lnTo>
                    <a:lnTo>
                      <a:pt x="386" y="77"/>
                    </a:lnTo>
                    <a:lnTo>
                      <a:pt x="388" y="75"/>
                    </a:lnTo>
                    <a:lnTo>
                      <a:pt x="388" y="74"/>
                    </a:lnTo>
                    <a:lnTo>
                      <a:pt x="386" y="72"/>
                    </a:lnTo>
                    <a:lnTo>
                      <a:pt x="388" y="70"/>
                    </a:lnTo>
                    <a:lnTo>
                      <a:pt x="388" y="66"/>
                    </a:lnTo>
                    <a:lnTo>
                      <a:pt x="389" y="64"/>
                    </a:lnTo>
                    <a:lnTo>
                      <a:pt x="390" y="63"/>
                    </a:lnTo>
                    <a:lnTo>
                      <a:pt x="391" y="59"/>
                    </a:lnTo>
                    <a:lnTo>
                      <a:pt x="390" y="57"/>
                    </a:lnTo>
                    <a:lnTo>
                      <a:pt x="389" y="55"/>
                    </a:lnTo>
                    <a:lnTo>
                      <a:pt x="389" y="51"/>
                    </a:lnTo>
                    <a:lnTo>
                      <a:pt x="390" y="49"/>
                    </a:lnTo>
                    <a:lnTo>
                      <a:pt x="390" y="47"/>
                    </a:lnTo>
                    <a:lnTo>
                      <a:pt x="388" y="44"/>
                    </a:lnTo>
                    <a:lnTo>
                      <a:pt x="389" y="41"/>
                    </a:lnTo>
                    <a:lnTo>
                      <a:pt x="390" y="38"/>
                    </a:lnTo>
                    <a:lnTo>
                      <a:pt x="391" y="37"/>
                    </a:lnTo>
                    <a:lnTo>
                      <a:pt x="391" y="37"/>
                    </a:lnTo>
                    <a:lnTo>
                      <a:pt x="390" y="33"/>
                    </a:lnTo>
                    <a:lnTo>
                      <a:pt x="390" y="31"/>
                    </a:lnTo>
                    <a:lnTo>
                      <a:pt x="392" y="29"/>
                    </a:lnTo>
                    <a:lnTo>
                      <a:pt x="395" y="28"/>
                    </a:lnTo>
                    <a:lnTo>
                      <a:pt x="392" y="25"/>
                    </a:lnTo>
                    <a:lnTo>
                      <a:pt x="390" y="25"/>
                    </a:lnTo>
                    <a:lnTo>
                      <a:pt x="391" y="22"/>
                    </a:lnTo>
                    <a:lnTo>
                      <a:pt x="392" y="20"/>
                    </a:lnTo>
                    <a:lnTo>
                      <a:pt x="395" y="19"/>
                    </a:lnTo>
                    <a:lnTo>
                      <a:pt x="394" y="15"/>
                    </a:lnTo>
                    <a:lnTo>
                      <a:pt x="395" y="13"/>
                    </a:lnTo>
                    <a:lnTo>
                      <a:pt x="397" y="11"/>
                    </a:lnTo>
                    <a:lnTo>
                      <a:pt x="397" y="7"/>
                    </a:lnTo>
                    <a:lnTo>
                      <a:pt x="398" y="5"/>
                    </a:lnTo>
                    <a:lnTo>
                      <a:pt x="400" y="3"/>
                    </a:lnTo>
                    <a:lnTo>
                      <a:pt x="401" y="0"/>
                    </a:lnTo>
                    <a:lnTo>
                      <a:pt x="403" y="0"/>
                    </a:lnTo>
                    <a:lnTo>
                      <a:pt x="402" y="3"/>
                    </a:lnTo>
                    <a:lnTo>
                      <a:pt x="405" y="4"/>
                    </a:lnTo>
                    <a:lnTo>
                      <a:pt x="407" y="6"/>
                    </a:lnTo>
                    <a:lnTo>
                      <a:pt x="407" y="8"/>
                    </a:lnTo>
                    <a:lnTo>
                      <a:pt x="407" y="12"/>
                    </a:lnTo>
                    <a:lnTo>
                      <a:pt x="407" y="14"/>
                    </a:lnTo>
                    <a:lnTo>
                      <a:pt x="410" y="16"/>
                    </a:lnTo>
                    <a:lnTo>
                      <a:pt x="412" y="17"/>
                    </a:lnTo>
                    <a:lnTo>
                      <a:pt x="410" y="20"/>
                    </a:lnTo>
                    <a:lnTo>
                      <a:pt x="411" y="23"/>
                    </a:lnTo>
                    <a:lnTo>
                      <a:pt x="414" y="25"/>
                    </a:lnTo>
                    <a:lnTo>
                      <a:pt x="414" y="28"/>
                    </a:lnTo>
                    <a:lnTo>
                      <a:pt x="416" y="31"/>
                    </a:lnTo>
                    <a:lnTo>
                      <a:pt x="416" y="33"/>
                    </a:lnTo>
                    <a:lnTo>
                      <a:pt x="416" y="37"/>
                    </a:lnTo>
                    <a:lnTo>
                      <a:pt x="417" y="39"/>
                    </a:lnTo>
                    <a:lnTo>
                      <a:pt x="416" y="41"/>
                    </a:lnTo>
                    <a:lnTo>
                      <a:pt x="417" y="45"/>
                    </a:lnTo>
                    <a:lnTo>
                      <a:pt x="417" y="45"/>
                    </a:lnTo>
                    <a:lnTo>
                      <a:pt x="418" y="47"/>
                    </a:lnTo>
                    <a:lnTo>
                      <a:pt x="419" y="50"/>
                    </a:lnTo>
                    <a:lnTo>
                      <a:pt x="422" y="53"/>
                    </a:lnTo>
                    <a:lnTo>
                      <a:pt x="425" y="51"/>
                    </a:lnTo>
                    <a:lnTo>
                      <a:pt x="427" y="50"/>
                    </a:lnTo>
                    <a:lnTo>
                      <a:pt x="429" y="48"/>
                    </a:lnTo>
                    <a:lnTo>
                      <a:pt x="431" y="50"/>
                    </a:lnTo>
                    <a:lnTo>
                      <a:pt x="432" y="54"/>
                    </a:lnTo>
                    <a:lnTo>
                      <a:pt x="434" y="54"/>
                    </a:lnTo>
                    <a:lnTo>
                      <a:pt x="436" y="57"/>
                    </a:lnTo>
                    <a:lnTo>
                      <a:pt x="440" y="58"/>
                    </a:lnTo>
                    <a:lnTo>
                      <a:pt x="441" y="58"/>
                    </a:lnTo>
                    <a:lnTo>
                      <a:pt x="440" y="62"/>
                    </a:lnTo>
                    <a:lnTo>
                      <a:pt x="440" y="64"/>
                    </a:lnTo>
                    <a:lnTo>
                      <a:pt x="440" y="67"/>
                    </a:lnTo>
                    <a:lnTo>
                      <a:pt x="441" y="70"/>
                    </a:lnTo>
                    <a:lnTo>
                      <a:pt x="441" y="72"/>
                    </a:lnTo>
                    <a:lnTo>
                      <a:pt x="443" y="75"/>
                    </a:lnTo>
                    <a:lnTo>
                      <a:pt x="443" y="77"/>
                    </a:lnTo>
                    <a:lnTo>
                      <a:pt x="442" y="80"/>
                    </a:lnTo>
                    <a:lnTo>
                      <a:pt x="444" y="83"/>
                    </a:lnTo>
                    <a:lnTo>
                      <a:pt x="446" y="85"/>
                    </a:lnTo>
                    <a:lnTo>
                      <a:pt x="446" y="87"/>
                    </a:lnTo>
                    <a:lnTo>
                      <a:pt x="450" y="87"/>
                    </a:lnTo>
                    <a:lnTo>
                      <a:pt x="449" y="89"/>
                    </a:lnTo>
                    <a:lnTo>
                      <a:pt x="450" y="91"/>
                    </a:lnTo>
                    <a:lnTo>
                      <a:pt x="451" y="94"/>
                    </a:lnTo>
                    <a:lnTo>
                      <a:pt x="452" y="97"/>
                    </a:lnTo>
                    <a:lnTo>
                      <a:pt x="451" y="99"/>
                    </a:lnTo>
                    <a:lnTo>
                      <a:pt x="451" y="102"/>
                    </a:lnTo>
                    <a:lnTo>
                      <a:pt x="450" y="105"/>
                    </a:lnTo>
                    <a:lnTo>
                      <a:pt x="452" y="108"/>
                    </a:lnTo>
                    <a:lnTo>
                      <a:pt x="454" y="109"/>
                    </a:lnTo>
                    <a:lnTo>
                      <a:pt x="454" y="113"/>
                    </a:lnTo>
                    <a:lnTo>
                      <a:pt x="454" y="115"/>
                    </a:lnTo>
                    <a:lnTo>
                      <a:pt x="457" y="117"/>
                    </a:lnTo>
                    <a:lnTo>
                      <a:pt x="462" y="121"/>
                    </a:lnTo>
                    <a:lnTo>
                      <a:pt x="465" y="121"/>
                    </a:lnTo>
                    <a:lnTo>
                      <a:pt x="468" y="122"/>
                    </a:lnTo>
                    <a:lnTo>
                      <a:pt x="470" y="122"/>
                    </a:lnTo>
                    <a:lnTo>
                      <a:pt x="471" y="125"/>
                    </a:lnTo>
                    <a:lnTo>
                      <a:pt x="471" y="125"/>
                    </a:lnTo>
                    <a:lnTo>
                      <a:pt x="473" y="127"/>
                    </a:lnTo>
                    <a:lnTo>
                      <a:pt x="475" y="126"/>
                    </a:lnTo>
                    <a:lnTo>
                      <a:pt x="476" y="128"/>
                    </a:lnTo>
                    <a:lnTo>
                      <a:pt x="479" y="130"/>
                    </a:lnTo>
                    <a:lnTo>
                      <a:pt x="482" y="130"/>
                    </a:lnTo>
                    <a:lnTo>
                      <a:pt x="483" y="133"/>
                    </a:lnTo>
                    <a:lnTo>
                      <a:pt x="486" y="133"/>
                    </a:lnTo>
                    <a:lnTo>
                      <a:pt x="488" y="134"/>
                    </a:lnTo>
                    <a:lnTo>
                      <a:pt x="490" y="136"/>
                    </a:lnTo>
                    <a:lnTo>
                      <a:pt x="487" y="139"/>
                    </a:lnTo>
                    <a:lnTo>
                      <a:pt x="488" y="141"/>
                    </a:lnTo>
                    <a:lnTo>
                      <a:pt x="491" y="143"/>
                    </a:lnTo>
                    <a:lnTo>
                      <a:pt x="493" y="144"/>
                    </a:lnTo>
                    <a:lnTo>
                      <a:pt x="494" y="148"/>
                    </a:lnTo>
                    <a:lnTo>
                      <a:pt x="495" y="148"/>
                    </a:lnTo>
                    <a:lnTo>
                      <a:pt x="495" y="151"/>
                    </a:lnTo>
                    <a:lnTo>
                      <a:pt x="497" y="152"/>
                    </a:lnTo>
                    <a:lnTo>
                      <a:pt x="497" y="154"/>
                    </a:lnTo>
                    <a:lnTo>
                      <a:pt x="497" y="158"/>
                    </a:lnTo>
                    <a:lnTo>
                      <a:pt x="499" y="160"/>
                    </a:lnTo>
                    <a:lnTo>
                      <a:pt x="500" y="162"/>
                    </a:lnTo>
                    <a:lnTo>
                      <a:pt x="501" y="166"/>
                    </a:lnTo>
                    <a:lnTo>
                      <a:pt x="503" y="165"/>
                    </a:lnTo>
                    <a:lnTo>
                      <a:pt x="504" y="167"/>
                    </a:lnTo>
                    <a:lnTo>
                      <a:pt x="504" y="166"/>
                    </a:lnTo>
                    <a:lnTo>
                      <a:pt x="503" y="164"/>
                    </a:lnTo>
                    <a:lnTo>
                      <a:pt x="504" y="161"/>
                    </a:lnTo>
                    <a:lnTo>
                      <a:pt x="508" y="164"/>
                    </a:lnTo>
                    <a:lnTo>
                      <a:pt x="512" y="167"/>
                    </a:lnTo>
                    <a:lnTo>
                      <a:pt x="512" y="165"/>
                    </a:lnTo>
                    <a:lnTo>
                      <a:pt x="514" y="165"/>
                    </a:lnTo>
                    <a:lnTo>
                      <a:pt x="514" y="167"/>
                    </a:lnTo>
                    <a:lnTo>
                      <a:pt x="516" y="169"/>
                    </a:lnTo>
                    <a:lnTo>
                      <a:pt x="514" y="173"/>
                    </a:lnTo>
                    <a:lnTo>
                      <a:pt x="516" y="175"/>
                    </a:lnTo>
                    <a:lnTo>
                      <a:pt x="516" y="177"/>
                    </a:lnTo>
                    <a:lnTo>
                      <a:pt x="517" y="181"/>
                    </a:lnTo>
                    <a:lnTo>
                      <a:pt x="516" y="181"/>
                    </a:lnTo>
                    <a:lnTo>
                      <a:pt x="519" y="182"/>
                    </a:lnTo>
                    <a:lnTo>
                      <a:pt x="520" y="184"/>
                    </a:lnTo>
                    <a:lnTo>
                      <a:pt x="523" y="186"/>
                    </a:lnTo>
                    <a:lnTo>
                      <a:pt x="525" y="187"/>
                    </a:lnTo>
                    <a:lnTo>
                      <a:pt x="528" y="187"/>
                    </a:lnTo>
                    <a:lnTo>
                      <a:pt x="530" y="190"/>
                    </a:lnTo>
                    <a:lnTo>
                      <a:pt x="531" y="192"/>
                    </a:lnTo>
                    <a:lnTo>
                      <a:pt x="533" y="194"/>
                    </a:lnTo>
                    <a:lnTo>
                      <a:pt x="535" y="198"/>
                    </a:lnTo>
                    <a:lnTo>
                      <a:pt x="538" y="199"/>
                    </a:lnTo>
                    <a:lnTo>
                      <a:pt x="539" y="201"/>
                    </a:lnTo>
                    <a:lnTo>
                      <a:pt x="539" y="203"/>
                    </a:lnTo>
                    <a:lnTo>
                      <a:pt x="542" y="205"/>
                    </a:lnTo>
                    <a:lnTo>
                      <a:pt x="545" y="208"/>
                    </a:lnTo>
                    <a:lnTo>
                      <a:pt x="544" y="211"/>
                    </a:lnTo>
                    <a:lnTo>
                      <a:pt x="545" y="213"/>
                    </a:lnTo>
                    <a:lnTo>
                      <a:pt x="546" y="215"/>
                    </a:lnTo>
                    <a:lnTo>
                      <a:pt x="548" y="216"/>
                    </a:lnTo>
                    <a:lnTo>
                      <a:pt x="547" y="218"/>
                    </a:lnTo>
                    <a:lnTo>
                      <a:pt x="547" y="221"/>
                    </a:lnTo>
                    <a:lnTo>
                      <a:pt x="547" y="224"/>
                    </a:lnTo>
                    <a:lnTo>
                      <a:pt x="547" y="227"/>
                    </a:lnTo>
                    <a:lnTo>
                      <a:pt x="547" y="229"/>
                    </a:lnTo>
                    <a:lnTo>
                      <a:pt x="548" y="232"/>
                    </a:lnTo>
                    <a:lnTo>
                      <a:pt x="547" y="235"/>
                    </a:lnTo>
                    <a:lnTo>
                      <a:pt x="548" y="237"/>
                    </a:lnTo>
                    <a:lnTo>
                      <a:pt x="550" y="241"/>
                    </a:lnTo>
                    <a:lnTo>
                      <a:pt x="552" y="243"/>
                    </a:lnTo>
                    <a:lnTo>
                      <a:pt x="552" y="245"/>
                    </a:lnTo>
                    <a:lnTo>
                      <a:pt x="553" y="248"/>
                    </a:lnTo>
                    <a:lnTo>
                      <a:pt x="554" y="248"/>
                    </a:lnTo>
                    <a:lnTo>
                      <a:pt x="554" y="252"/>
                    </a:lnTo>
                    <a:lnTo>
                      <a:pt x="554" y="254"/>
                    </a:lnTo>
                    <a:lnTo>
                      <a:pt x="554" y="256"/>
                    </a:lnTo>
                    <a:lnTo>
                      <a:pt x="554" y="260"/>
                    </a:lnTo>
                    <a:lnTo>
                      <a:pt x="552" y="262"/>
                    </a:lnTo>
                    <a:lnTo>
                      <a:pt x="551" y="265"/>
                    </a:lnTo>
                    <a:lnTo>
                      <a:pt x="551" y="268"/>
                    </a:lnTo>
                    <a:lnTo>
                      <a:pt x="551" y="270"/>
                    </a:lnTo>
                    <a:lnTo>
                      <a:pt x="550" y="273"/>
                    </a:lnTo>
                    <a:lnTo>
                      <a:pt x="548" y="276"/>
                    </a:lnTo>
                    <a:lnTo>
                      <a:pt x="54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sp>
            <p:nvSpPr>
              <p:cNvPr id="43" name="Freeform 239">
                <a:extLst>
                  <a:ext uri="{FF2B5EF4-FFF2-40B4-BE49-F238E27FC236}">
                    <a16:creationId xmlns:a16="http://schemas.microsoft.com/office/drawing/2014/main" id="{51D80FBF-F430-7C86-2D92-E16174BEFE6A}"/>
                  </a:ext>
                </a:extLst>
              </p:cNvPr>
              <p:cNvSpPr>
                <a:spLocks noEditPoints="1"/>
              </p:cNvSpPr>
              <p:nvPr/>
            </p:nvSpPr>
            <p:spPr bwMode="auto">
              <a:xfrm>
                <a:off x="3175000" y="2281238"/>
                <a:ext cx="6811962" cy="2960688"/>
              </a:xfrm>
              <a:custGeom>
                <a:avLst/>
                <a:gdLst>
                  <a:gd name="T0" fmla="*/ 4219 w 4291"/>
                  <a:gd name="T1" fmla="*/ 276 h 1865"/>
                  <a:gd name="T2" fmla="*/ 3874 w 4291"/>
                  <a:gd name="T3" fmla="*/ 206 h 1865"/>
                  <a:gd name="T4" fmla="*/ 3458 w 4291"/>
                  <a:gd name="T5" fmla="*/ 175 h 1865"/>
                  <a:gd name="T6" fmla="*/ 3144 w 4291"/>
                  <a:gd name="T7" fmla="*/ 122 h 1865"/>
                  <a:gd name="T8" fmla="*/ 3014 w 4291"/>
                  <a:gd name="T9" fmla="*/ 50 h 1865"/>
                  <a:gd name="T10" fmla="*/ 2764 w 4291"/>
                  <a:gd name="T11" fmla="*/ 182 h 1865"/>
                  <a:gd name="T12" fmla="*/ 2679 w 4291"/>
                  <a:gd name="T13" fmla="*/ 213 h 1865"/>
                  <a:gd name="T14" fmla="*/ 2405 w 4291"/>
                  <a:gd name="T15" fmla="*/ 238 h 1865"/>
                  <a:gd name="T16" fmla="*/ 2146 w 4291"/>
                  <a:gd name="T17" fmla="*/ 293 h 1865"/>
                  <a:gd name="T18" fmla="*/ 2066 w 4291"/>
                  <a:gd name="T19" fmla="*/ 180 h 1865"/>
                  <a:gd name="T20" fmla="*/ 1911 w 4291"/>
                  <a:gd name="T21" fmla="*/ 248 h 1865"/>
                  <a:gd name="T22" fmla="*/ 1822 w 4291"/>
                  <a:gd name="T23" fmla="*/ 357 h 1865"/>
                  <a:gd name="T24" fmla="*/ 1762 w 4291"/>
                  <a:gd name="T25" fmla="*/ 416 h 1865"/>
                  <a:gd name="T26" fmla="*/ 1905 w 4291"/>
                  <a:gd name="T27" fmla="*/ 501 h 1865"/>
                  <a:gd name="T28" fmla="*/ 1979 w 4291"/>
                  <a:gd name="T29" fmla="*/ 392 h 1865"/>
                  <a:gd name="T30" fmla="*/ 1877 w 4291"/>
                  <a:gd name="T31" fmla="*/ 549 h 1865"/>
                  <a:gd name="T32" fmla="*/ 1740 w 4291"/>
                  <a:gd name="T33" fmla="*/ 592 h 1865"/>
                  <a:gd name="T34" fmla="*/ 1565 w 4291"/>
                  <a:gd name="T35" fmla="*/ 782 h 1865"/>
                  <a:gd name="T36" fmla="*/ 1902 w 4291"/>
                  <a:gd name="T37" fmla="*/ 811 h 1865"/>
                  <a:gd name="T38" fmla="*/ 1982 w 4291"/>
                  <a:gd name="T39" fmla="*/ 818 h 1865"/>
                  <a:gd name="T40" fmla="*/ 2115 w 4291"/>
                  <a:gd name="T41" fmla="*/ 677 h 1865"/>
                  <a:gd name="T42" fmla="*/ 2071 w 4291"/>
                  <a:gd name="T43" fmla="*/ 784 h 1865"/>
                  <a:gd name="T44" fmla="*/ 2097 w 4291"/>
                  <a:gd name="T45" fmla="*/ 925 h 1865"/>
                  <a:gd name="T46" fmla="*/ 1563 w 4291"/>
                  <a:gd name="T47" fmla="*/ 902 h 1865"/>
                  <a:gd name="T48" fmla="*/ 1518 w 4291"/>
                  <a:gd name="T49" fmla="*/ 1268 h 1865"/>
                  <a:gd name="T50" fmla="*/ 1809 w 4291"/>
                  <a:gd name="T51" fmla="*/ 1378 h 1865"/>
                  <a:gd name="T52" fmla="*/ 2027 w 4291"/>
                  <a:gd name="T53" fmla="*/ 1852 h 1865"/>
                  <a:gd name="T54" fmla="*/ 2254 w 4291"/>
                  <a:gd name="T55" fmla="*/ 1392 h 1865"/>
                  <a:gd name="T56" fmla="*/ 2191 w 4291"/>
                  <a:gd name="T57" fmla="*/ 1071 h 1865"/>
                  <a:gd name="T58" fmla="*/ 2274 w 4291"/>
                  <a:gd name="T59" fmla="*/ 1170 h 1865"/>
                  <a:gd name="T60" fmla="*/ 2412 w 4291"/>
                  <a:gd name="T61" fmla="*/ 1032 h 1865"/>
                  <a:gd name="T62" fmla="*/ 2439 w 4291"/>
                  <a:gd name="T63" fmla="*/ 996 h 1865"/>
                  <a:gd name="T64" fmla="*/ 2683 w 4291"/>
                  <a:gd name="T65" fmla="*/ 1097 h 1865"/>
                  <a:gd name="T66" fmla="*/ 2798 w 4291"/>
                  <a:gd name="T67" fmla="*/ 1143 h 1865"/>
                  <a:gd name="T68" fmla="*/ 2926 w 4291"/>
                  <a:gd name="T69" fmla="*/ 1048 h 1865"/>
                  <a:gd name="T70" fmla="*/ 3035 w 4291"/>
                  <a:gd name="T71" fmla="*/ 1197 h 1865"/>
                  <a:gd name="T72" fmla="*/ 3044 w 4291"/>
                  <a:gd name="T73" fmla="*/ 1223 h 1865"/>
                  <a:gd name="T74" fmla="*/ 3166 w 4291"/>
                  <a:gd name="T75" fmla="*/ 1219 h 1865"/>
                  <a:gd name="T76" fmla="*/ 3197 w 4291"/>
                  <a:gd name="T77" fmla="*/ 1074 h 1865"/>
                  <a:gd name="T78" fmla="*/ 3350 w 4291"/>
                  <a:gd name="T79" fmla="*/ 956 h 1865"/>
                  <a:gd name="T80" fmla="*/ 3328 w 4291"/>
                  <a:gd name="T81" fmla="*/ 789 h 1865"/>
                  <a:gd name="T82" fmla="*/ 3457 w 4291"/>
                  <a:gd name="T83" fmla="*/ 845 h 1865"/>
                  <a:gd name="T84" fmla="*/ 3572 w 4291"/>
                  <a:gd name="T85" fmla="*/ 549 h 1865"/>
                  <a:gd name="T86" fmla="*/ 3865 w 4291"/>
                  <a:gd name="T87" fmla="*/ 390 h 1865"/>
                  <a:gd name="T88" fmla="*/ 3856 w 4291"/>
                  <a:gd name="T89" fmla="*/ 565 h 1865"/>
                  <a:gd name="T90" fmla="*/ 4091 w 4291"/>
                  <a:gd name="T91" fmla="*/ 384 h 1865"/>
                  <a:gd name="T92" fmla="*/ 4255 w 4291"/>
                  <a:gd name="T93" fmla="*/ 324 h 1865"/>
                  <a:gd name="T94" fmla="*/ 2431 w 4291"/>
                  <a:gd name="T95" fmla="*/ 777 h 1865"/>
                  <a:gd name="T96" fmla="*/ 2410 w 4291"/>
                  <a:gd name="T97" fmla="*/ 792 h 1865"/>
                  <a:gd name="T98" fmla="*/ 2419 w 4291"/>
                  <a:gd name="T99" fmla="*/ 804 h 1865"/>
                  <a:gd name="T100" fmla="*/ 2381 w 4291"/>
                  <a:gd name="T101" fmla="*/ 842 h 1865"/>
                  <a:gd name="T102" fmla="*/ 2361 w 4291"/>
                  <a:gd name="T103" fmla="*/ 796 h 1865"/>
                  <a:gd name="T104" fmla="*/ 2353 w 4291"/>
                  <a:gd name="T105" fmla="*/ 763 h 1865"/>
                  <a:gd name="T106" fmla="*/ 2326 w 4291"/>
                  <a:gd name="T107" fmla="*/ 719 h 1865"/>
                  <a:gd name="T108" fmla="*/ 2348 w 4291"/>
                  <a:gd name="T109" fmla="*/ 693 h 1865"/>
                  <a:gd name="T110" fmla="*/ 2372 w 4291"/>
                  <a:gd name="T111" fmla="*/ 678 h 1865"/>
                  <a:gd name="T112" fmla="*/ 2414 w 4291"/>
                  <a:gd name="T113" fmla="*/ 691 h 1865"/>
                  <a:gd name="T114" fmla="*/ 2397 w 4291"/>
                  <a:gd name="T115" fmla="*/ 702 h 1865"/>
                  <a:gd name="T116" fmla="*/ 2381 w 4291"/>
                  <a:gd name="T117" fmla="*/ 722 h 1865"/>
                  <a:gd name="T118" fmla="*/ 2405 w 4291"/>
                  <a:gd name="T119" fmla="*/ 765 h 1865"/>
                  <a:gd name="T120" fmla="*/ 2516 w 4291"/>
                  <a:gd name="T121" fmla="*/ 714 h 1865"/>
                  <a:gd name="T122" fmla="*/ 2504 w 4291"/>
                  <a:gd name="T123" fmla="*/ 690 h 1865"/>
                  <a:gd name="T124" fmla="*/ 2517 w 4291"/>
                  <a:gd name="T125" fmla="*/ 682 h 1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1" h="1865">
                    <a:moveTo>
                      <a:pt x="98" y="9"/>
                    </a:moveTo>
                    <a:lnTo>
                      <a:pt x="95" y="8"/>
                    </a:lnTo>
                    <a:lnTo>
                      <a:pt x="92" y="6"/>
                    </a:lnTo>
                    <a:lnTo>
                      <a:pt x="89" y="5"/>
                    </a:lnTo>
                    <a:lnTo>
                      <a:pt x="86" y="6"/>
                    </a:lnTo>
                    <a:lnTo>
                      <a:pt x="83" y="6"/>
                    </a:lnTo>
                    <a:lnTo>
                      <a:pt x="81" y="8"/>
                    </a:lnTo>
                    <a:lnTo>
                      <a:pt x="83" y="9"/>
                    </a:lnTo>
                    <a:lnTo>
                      <a:pt x="86" y="9"/>
                    </a:lnTo>
                    <a:lnTo>
                      <a:pt x="84" y="12"/>
                    </a:lnTo>
                    <a:lnTo>
                      <a:pt x="81" y="10"/>
                    </a:lnTo>
                    <a:lnTo>
                      <a:pt x="78" y="13"/>
                    </a:lnTo>
                    <a:lnTo>
                      <a:pt x="75" y="12"/>
                    </a:lnTo>
                    <a:lnTo>
                      <a:pt x="73" y="12"/>
                    </a:lnTo>
                    <a:lnTo>
                      <a:pt x="69" y="10"/>
                    </a:lnTo>
                    <a:lnTo>
                      <a:pt x="67" y="10"/>
                    </a:lnTo>
                    <a:lnTo>
                      <a:pt x="64" y="10"/>
                    </a:lnTo>
                    <a:lnTo>
                      <a:pt x="58" y="12"/>
                    </a:lnTo>
                    <a:lnTo>
                      <a:pt x="56" y="12"/>
                    </a:lnTo>
                    <a:lnTo>
                      <a:pt x="52" y="12"/>
                    </a:lnTo>
                    <a:lnTo>
                      <a:pt x="50" y="15"/>
                    </a:lnTo>
                    <a:lnTo>
                      <a:pt x="48" y="17"/>
                    </a:lnTo>
                    <a:lnTo>
                      <a:pt x="44" y="18"/>
                    </a:lnTo>
                    <a:lnTo>
                      <a:pt x="42" y="21"/>
                    </a:lnTo>
                    <a:lnTo>
                      <a:pt x="41" y="21"/>
                    </a:lnTo>
                    <a:lnTo>
                      <a:pt x="39" y="24"/>
                    </a:lnTo>
                    <a:lnTo>
                      <a:pt x="36" y="25"/>
                    </a:lnTo>
                    <a:lnTo>
                      <a:pt x="35" y="27"/>
                    </a:lnTo>
                    <a:lnTo>
                      <a:pt x="33" y="28"/>
                    </a:lnTo>
                    <a:lnTo>
                      <a:pt x="30" y="30"/>
                    </a:lnTo>
                    <a:lnTo>
                      <a:pt x="26" y="31"/>
                    </a:lnTo>
                    <a:lnTo>
                      <a:pt x="24" y="32"/>
                    </a:lnTo>
                    <a:lnTo>
                      <a:pt x="22" y="35"/>
                    </a:lnTo>
                    <a:lnTo>
                      <a:pt x="19" y="38"/>
                    </a:lnTo>
                    <a:lnTo>
                      <a:pt x="16" y="38"/>
                    </a:lnTo>
                    <a:lnTo>
                      <a:pt x="14" y="38"/>
                    </a:lnTo>
                    <a:lnTo>
                      <a:pt x="10" y="38"/>
                    </a:lnTo>
                    <a:lnTo>
                      <a:pt x="8" y="39"/>
                    </a:lnTo>
                    <a:lnTo>
                      <a:pt x="5" y="41"/>
                    </a:lnTo>
                    <a:lnTo>
                      <a:pt x="2" y="43"/>
                    </a:lnTo>
                    <a:lnTo>
                      <a:pt x="0" y="45"/>
                    </a:lnTo>
                    <a:lnTo>
                      <a:pt x="6" y="44"/>
                    </a:lnTo>
                    <a:lnTo>
                      <a:pt x="7" y="48"/>
                    </a:lnTo>
                    <a:lnTo>
                      <a:pt x="5" y="50"/>
                    </a:lnTo>
                    <a:lnTo>
                      <a:pt x="7" y="52"/>
                    </a:lnTo>
                    <a:lnTo>
                      <a:pt x="10" y="51"/>
                    </a:lnTo>
                    <a:lnTo>
                      <a:pt x="13" y="49"/>
                    </a:lnTo>
                    <a:lnTo>
                      <a:pt x="16" y="48"/>
                    </a:lnTo>
                    <a:lnTo>
                      <a:pt x="18" y="49"/>
                    </a:lnTo>
                    <a:lnTo>
                      <a:pt x="22" y="50"/>
                    </a:lnTo>
                    <a:lnTo>
                      <a:pt x="24" y="51"/>
                    </a:lnTo>
                    <a:lnTo>
                      <a:pt x="26" y="50"/>
                    </a:lnTo>
                    <a:lnTo>
                      <a:pt x="27" y="47"/>
                    </a:lnTo>
                    <a:lnTo>
                      <a:pt x="29" y="44"/>
                    </a:lnTo>
                    <a:lnTo>
                      <a:pt x="32" y="45"/>
                    </a:lnTo>
                    <a:lnTo>
                      <a:pt x="31" y="48"/>
                    </a:lnTo>
                    <a:lnTo>
                      <a:pt x="34" y="50"/>
                    </a:lnTo>
                    <a:lnTo>
                      <a:pt x="35" y="52"/>
                    </a:lnTo>
                    <a:lnTo>
                      <a:pt x="35" y="55"/>
                    </a:lnTo>
                    <a:lnTo>
                      <a:pt x="39" y="53"/>
                    </a:lnTo>
                    <a:lnTo>
                      <a:pt x="41" y="55"/>
                    </a:lnTo>
                    <a:lnTo>
                      <a:pt x="41" y="53"/>
                    </a:lnTo>
                    <a:lnTo>
                      <a:pt x="44" y="53"/>
                    </a:lnTo>
                    <a:lnTo>
                      <a:pt x="46" y="50"/>
                    </a:lnTo>
                    <a:lnTo>
                      <a:pt x="47" y="48"/>
                    </a:lnTo>
                    <a:lnTo>
                      <a:pt x="44" y="47"/>
                    </a:lnTo>
                    <a:lnTo>
                      <a:pt x="47" y="47"/>
                    </a:lnTo>
                    <a:lnTo>
                      <a:pt x="47" y="43"/>
                    </a:lnTo>
                    <a:lnTo>
                      <a:pt x="47" y="41"/>
                    </a:lnTo>
                    <a:lnTo>
                      <a:pt x="49" y="42"/>
                    </a:lnTo>
                    <a:lnTo>
                      <a:pt x="51" y="45"/>
                    </a:lnTo>
                    <a:lnTo>
                      <a:pt x="53" y="48"/>
                    </a:lnTo>
                    <a:lnTo>
                      <a:pt x="57" y="44"/>
                    </a:lnTo>
                    <a:lnTo>
                      <a:pt x="57" y="42"/>
                    </a:lnTo>
                    <a:lnTo>
                      <a:pt x="59" y="42"/>
                    </a:lnTo>
                    <a:lnTo>
                      <a:pt x="60" y="39"/>
                    </a:lnTo>
                    <a:lnTo>
                      <a:pt x="58" y="36"/>
                    </a:lnTo>
                    <a:lnTo>
                      <a:pt x="57" y="34"/>
                    </a:lnTo>
                    <a:lnTo>
                      <a:pt x="60" y="35"/>
                    </a:lnTo>
                    <a:lnTo>
                      <a:pt x="63" y="34"/>
                    </a:lnTo>
                    <a:lnTo>
                      <a:pt x="64" y="31"/>
                    </a:lnTo>
                    <a:lnTo>
                      <a:pt x="65" y="28"/>
                    </a:lnTo>
                    <a:lnTo>
                      <a:pt x="67" y="28"/>
                    </a:lnTo>
                    <a:lnTo>
                      <a:pt x="70" y="26"/>
                    </a:lnTo>
                    <a:lnTo>
                      <a:pt x="70" y="30"/>
                    </a:lnTo>
                    <a:lnTo>
                      <a:pt x="69" y="32"/>
                    </a:lnTo>
                    <a:lnTo>
                      <a:pt x="69" y="35"/>
                    </a:lnTo>
                    <a:lnTo>
                      <a:pt x="68" y="38"/>
                    </a:lnTo>
                    <a:lnTo>
                      <a:pt x="70" y="40"/>
                    </a:lnTo>
                    <a:lnTo>
                      <a:pt x="74" y="42"/>
                    </a:lnTo>
                    <a:lnTo>
                      <a:pt x="77" y="42"/>
                    </a:lnTo>
                    <a:lnTo>
                      <a:pt x="79" y="42"/>
                    </a:lnTo>
                    <a:lnTo>
                      <a:pt x="82" y="40"/>
                    </a:lnTo>
                    <a:lnTo>
                      <a:pt x="82" y="38"/>
                    </a:lnTo>
                    <a:lnTo>
                      <a:pt x="82" y="35"/>
                    </a:lnTo>
                    <a:lnTo>
                      <a:pt x="84" y="34"/>
                    </a:lnTo>
                    <a:lnTo>
                      <a:pt x="87" y="33"/>
                    </a:lnTo>
                    <a:lnTo>
                      <a:pt x="90" y="33"/>
                    </a:lnTo>
                    <a:lnTo>
                      <a:pt x="93" y="33"/>
                    </a:lnTo>
                    <a:lnTo>
                      <a:pt x="95" y="31"/>
                    </a:lnTo>
                    <a:lnTo>
                      <a:pt x="96" y="28"/>
                    </a:lnTo>
                    <a:lnTo>
                      <a:pt x="94" y="26"/>
                    </a:lnTo>
                    <a:lnTo>
                      <a:pt x="92" y="24"/>
                    </a:lnTo>
                    <a:lnTo>
                      <a:pt x="94" y="24"/>
                    </a:lnTo>
                    <a:lnTo>
                      <a:pt x="98" y="24"/>
                    </a:lnTo>
                    <a:lnTo>
                      <a:pt x="98" y="22"/>
                    </a:lnTo>
                    <a:lnTo>
                      <a:pt x="94" y="21"/>
                    </a:lnTo>
                    <a:lnTo>
                      <a:pt x="92" y="18"/>
                    </a:lnTo>
                    <a:lnTo>
                      <a:pt x="95" y="16"/>
                    </a:lnTo>
                    <a:lnTo>
                      <a:pt x="98" y="15"/>
                    </a:lnTo>
                    <a:lnTo>
                      <a:pt x="101" y="14"/>
                    </a:lnTo>
                    <a:lnTo>
                      <a:pt x="103" y="13"/>
                    </a:lnTo>
                    <a:lnTo>
                      <a:pt x="101" y="9"/>
                    </a:lnTo>
                    <a:lnTo>
                      <a:pt x="98" y="9"/>
                    </a:lnTo>
                    <a:close/>
                    <a:moveTo>
                      <a:pt x="4288" y="297"/>
                    </a:moveTo>
                    <a:lnTo>
                      <a:pt x="4286" y="297"/>
                    </a:lnTo>
                    <a:lnTo>
                      <a:pt x="4286" y="297"/>
                    </a:lnTo>
                    <a:lnTo>
                      <a:pt x="4284" y="298"/>
                    </a:lnTo>
                    <a:lnTo>
                      <a:pt x="4283" y="295"/>
                    </a:lnTo>
                    <a:lnTo>
                      <a:pt x="4281" y="293"/>
                    </a:lnTo>
                    <a:lnTo>
                      <a:pt x="4279" y="296"/>
                    </a:lnTo>
                    <a:lnTo>
                      <a:pt x="4281" y="293"/>
                    </a:lnTo>
                    <a:lnTo>
                      <a:pt x="4279" y="292"/>
                    </a:lnTo>
                    <a:lnTo>
                      <a:pt x="4275" y="290"/>
                    </a:lnTo>
                    <a:lnTo>
                      <a:pt x="4273" y="288"/>
                    </a:lnTo>
                    <a:lnTo>
                      <a:pt x="4269" y="287"/>
                    </a:lnTo>
                    <a:lnTo>
                      <a:pt x="4267" y="284"/>
                    </a:lnTo>
                    <a:lnTo>
                      <a:pt x="4264" y="282"/>
                    </a:lnTo>
                    <a:lnTo>
                      <a:pt x="4264" y="280"/>
                    </a:lnTo>
                    <a:lnTo>
                      <a:pt x="4260" y="279"/>
                    </a:lnTo>
                    <a:lnTo>
                      <a:pt x="4258" y="279"/>
                    </a:lnTo>
                    <a:lnTo>
                      <a:pt x="4255" y="279"/>
                    </a:lnTo>
                    <a:lnTo>
                      <a:pt x="4250" y="278"/>
                    </a:lnTo>
                    <a:lnTo>
                      <a:pt x="4252" y="278"/>
                    </a:lnTo>
                    <a:lnTo>
                      <a:pt x="4250" y="278"/>
                    </a:lnTo>
                    <a:lnTo>
                      <a:pt x="4248" y="276"/>
                    </a:lnTo>
                    <a:lnTo>
                      <a:pt x="4245" y="276"/>
                    </a:lnTo>
                    <a:lnTo>
                      <a:pt x="4248" y="278"/>
                    </a:lnTo>
                    <a:lnTo>
                      <a:pt x="4250" y="279"/>
                    </a:lnTo>
                    <a:lnTo>
                      <a:pt x="4248" y="280"/>
                    </a:lnTo>
                    <a:lnTo>
                      <a:pt x="4246" y="280"/>
                    </a:lnTo>
                    <a:lnTo>
                      <a:pt x="4242" y="279"/>
                    </a:lnTo>
                    <a:lnTo>
                      <a:pt x="4243" y="281"/>
                    </a:lnTo>
                    <a:lnTo>
                      <a:pt x="4241" y="282"/>
                    </a:lnTo>
                    <a:lnTo>
                      <a:pt x="4241" y="279"/>
                    </a:lnTo>
                    <a:lnTo>
                      <a:pt x="4243" y="276"/>
                    </a:lnTo>
                    <a:lnTo>
                      <a:pt x="4241" y="276"/>
                    </a:lnTo>
                    <a:lnTo>
                      <a:pt x="4238" y="275"/>
                    </a:lnTo>
                    <a:lnTo>
                      <a:pt x="4235" y="275"/>
                    </a:lnTo>
                    <a:lnTo>
                      <a:pt x="4232" y="275"/>
                    </a:lnTo>
                    <a:lnTo>
                      <a:pt x="4230" y="275"/>
                    </a:lnTo>
                    <a:lnTo>
                      <a:pt x="4226" y="275"/>
                    </a:lnTo>
                    <a:lnTo>
                      <a:pt x="4224" y="275"/>
                    </a:lnTo>
                    <a:lnTo>
                      <a:pt x="4226" y="276"/>
                    </a:lnTo>
                    <a:lnTo>
                      <a:pt x="4230" y="278"/>
                    </a:lnTo>
                    <a:lnTo>
                      <a:pt x="4231" y="281"/>
                    </a:lnTo>
                    <a:lnTo>
                      <a:pt x="4232" y="283"/>
                    </a:lnTo>
                    <a:lnTo>
                      <a:pt x="4230" y="287"/>
                    </a:lnTo>
                    <a:lnTo>
                      <a:pt x="4228" y="288"/>
                    </a:lnTo>
                    <a:lnTo>
                      <a:pt x="4230" y="288"/>
                    </a:lnTo>
                    <a:lnTo>
                      <a:pt x="4233" y="289"/>
                    </a:lnTo>
                    <a:lnTo>
                      <a:pt x="4234" y="291"/>
                    </a:lnTo>
                    <a:lnTo>
                      <a:pt x="4232" y="295"/>
                    </a:lnTo>
                    <a:lnTo>
                      <a:pt x="4231" y="296"/>
                    </a:lnTo>
                    <a:lnTo>
                      <a:pt x="4231" y="293"/>
                    </a:lnTo>
                    <a:lnTo>
                      <a:pt x="4232" y="291"/>
                    </a:lnTo>
                    <a:lnTo>
                      <a:pt x="4229" y="290"/>
                    </a:lnTo>
                    <a:lnTo>
                      <a:pt x="4226" y="292"/>
                    </a:lnTo>
                    <a:lnTo>
                      <a:pt x="4225" y="290"/>
                    </a:lnTo>
                    <a:lnTo>
                      <a:pt x="4223" y="288"/>
                    </a:lnTo>
                    <a:lnTo>
                      <a:pt x="4220" y="287"/>
                    </a:lnTo>
                    <a:lnTo>
                      <a:pt x="4220" y="284"/>
                    </a:lnTo>
                    <a:lnTo>
                      <a:pt x="4221" y="281"/>
                    </a:lnTo>
                    <a:lnTo>
                      <a:pt x="4219" y="276"/>
                    </a:lnTo>
                    <a:lnTo>
                      <a:pt x="4220" y="273"/>
                    </a:lnTo>
                    <a:lnTo>
                      <a:pt x="4221" y="271"/>
                    </a:lnTo>
                    <a:lnTo>
                      <a:pt x="4219" y="267"/>
                    </a:lnTo>
                    <a:lnTo>
                      <a:pt x="4216" y="270"/>
                    </a:lnTo>
                    <a:lnTo>
                      <a:pt x="4213" y="270"/>
                    </a:lnTo>
                    <a:lnTo>
                      <a:pt x="4215" y="267"/>
                    </a:lnTo>
                    <a:lnTo>
                      <a:pt x="4214" y="265"/>
                    </a:lnTo>
                    <a:lnTo>
                      <a:pt x="4214" y="263"/>
                    </a:lnTo>
                    <a:lnTo>
                      <a:pt x="4212" y="262"/>
                    </a:lnTo>
                    <a:lnTo>
                      <a:pt x="4209" y="261"/>
                    </a:lnTo>
                    <a:lnTo>
                      <a:pt x="4207" y="260"/>
                    </a:lnTo>
                    <a:lnTo>
                      <a:pt x="4204" y="257"/>
                    </a:lnTo>
                    <a:lnTo>
                      <a:pt x="4202" y="256"/>
                    </a:lnTo>
                    <a:lnTo>
                      <a:pt x="4196" y="254"/>
                    </a:lnTo>
                    <a:lnTo>
                      <a:pt x="4192" y="253"/>
                    </a:lnTo>
                    <a:lnTo>
                      <a:pt x="4188" y="249"/>
                    </a:lnTo>
                    <a:lnTo>
                      <a:pt x="4185" y="248"/>
                    </a:lnTo>
                    <a:lnTo>
                      <a:pt x="4182" y="250"/>
                    </a:lnTo>
                    <a:lnTo>
                      <a:pt x="4181" y="248"/>
                    </a:lnTo>
                    <a:lnTo>
                      <a:pt x="4183" y="248"/>
                    </a:lnTo>
                    <a:lnTo>
                      <a:pt x="4181" y="246"/>
                    </a:lnTo>
                    <a:lnTo>
                      <a:pt x="4178" y="245"/>
                    </a:lnTo>
                    <a:lnTo>
                      <a:pt x="4175" y="244"/>
                    </a:lnTo>
                    <a:lnTo>
                      <a:pt x="4173" y="243"/>
                    </a:lnTo>
                    <a:lnTo>
                      <a:pt x="4175" y="244"/>
                    </a:lnTo>
                    <a:lnTo>
                      <a:pt x="4178" y="245"/>
                    </a:lnTo>
                    <a:lnTo>
                      <a:pt x="4181" y="247"/>
                    </a:lnTo>
                    <a:lnTo>
                      <a:pt x="4178" y="248"/>
                    </a:lnTo>
                    <a:lnTo>
                      <a:pt x="4177" y="245"/>
                    </a:lnTo>
                    <a:lnTo>
                      <a:pt x="4174" y="244"/>
                    </a:lnTo>
                    <a:lnTo>
                      <a:pt x="4171" y="243"/>
                    </a:lnTo>
                    <a:lnTo>
                      <a:pt x="4169" y="243"/>
                    </a:lnTo>
                    <a:lnTo>
                      <a:pt x="4166" y="239"/>
                    </a:lnTo>
                    <a:lnTo>
                      <a:pt x="4170" y="240"/>
                    </a:lnTo>
                    <a:lnTo>
                      <a:pt x="4168" y="238"/>
                    </a:lnTo>
                    <a:lnTo>
                      <a:pt x="4164" y="237"/>
                    </a:lnTo>
                    <a:lnTo>
                      <a:pt x="4162" y="236"/>
                    </a:lnTo>
                    <a:lnTo>
                      <a:pt x="4158" y="236"/>
                    </a:lnTo>
                    <a:lnTo>
                      <a:pt x="4157" y="232"/>
                    </a:lnTo>
                    <a:lnTo>
                      <a:pt x="4154" y="233"/>
                    </a:lnTo>
                    <a:lnTo>
                      <a:pt x="4152" y="232"/>
                    </a:lnTo>
                    <a:lnTo>
                      <a:pt x="4149" y="231"/>
                    </a:lnTo>
                    <a:lnTo>
                      <a:pt x="4147" y="231"/>
                    </a:lnTo>
                    <a:lnTo>
                      <a:pt x="4144" y="229"/>
                    </a:lnTo>
                    <a:lnTo>
                      <a:pt x="4147" y="230"/>
                    </a:lnTo>
                    <a:lnTo>
                      <a:pt x="4144" y="228"/>
                    </a:lnTo>
                    <a:lnTo>
                      <a:pt x="4141" y="226"/>
                    </a:lnTo>
                    <a:lnTo>
                      <a:pt x="4138" y="224"/>
                    </a:lnTo>
                    <a:lnTo>
                      <a:pt x="4136" y="224"/>
                    </a:lnTo>
                    <a:lnTo>
                      <a:pt x="4132" y="224"/>
                    </a:lnTo>
                    <a:lnTo>
                      <a:pt x="4136" y="223"/>
                    </a:lnTo>
                    <a:lnTo>
                      <a:pt x="4132" y="221"/>
                    </a:lnTo>
                    <a:lnTo>
                      <a:pt x="4130" y="220"/>
                    </a:lnTo>
                    <a:lnTo>
                      <a:pt x="4127" y="220"/>
                    </a:lnTo>
                    <a:lnTo>
                      <a:pt x="4124" y="220"/>
                    </a:lnTo>
                    <a:lnTo>
                      <a:pt x="4121" y="219"/>
                    </a:lnTo>
                    <a:lnTo>
                      <a:pt x="4119" y="218"/>
                    </a:lnTo>
                    <a:lnTo>
                      <a:pt x="4117" y="216"/>
                    </a:lnTo>
                    <a:lnTo>
                      <a:pt x="4113" y="216"/>
                    </a:lnTo>
                    <a:lnTo>
                      <a:pt x="4107" y="215"/>
                    </a:lnTo>
                    <a:lnTo>
                      <a:pt x="4105" y="214"/>
                    </a:lnTo>
                    <a:lnTo>
                      <a:pt x="4102" y="213"/>
                    </a:lnTo>
                    <a:lnTo>
                      <a:pt x="4100" y="212"/>
                    </a:lnTo>
                    <a:lnTo>
                      <a:pt x="4097" y="210"/>
                    </a:lnTo>
                    <a:lnTo>
                      <a:pt x="4094" y="209"/>
                    </a:lnTo>
                    <a:lnTo>
                      <a:pt x="4092" y="209"/>
                    </a:lnTo>
                    <a:lnTo>
                      <a:pt x="4088" y="210"/>
                    </a:lnTo>
                    <a:lnTo>
                      <a:pt x="4086" y="211"/>
                    </a:lnTo>
                    <a:lnTo>
                      <a:pt x="4083" y="210"/>
                    </a:lnTo>
                    <a:lnTo>
                      <a:pt x="4074" y="210"/>
                    </a:lnTo>
                    <a:lnTo>
                      <a:pt x="4071" y="210"/>
                    </a:lnTo>
                    <a:lnTo>
                      <a:pt x="4069" y="210"/>
                    </a:lnTo>
                    <a:lnTo>
                      <a:pt x="4066" y="210"/>
                    </a:lnTo>
                    <a:lnTo>
                      <a:pt x="4063" y="209"/>
                    </a:lnTo>
                    <a:lnTo>
                      <a:pt x="4060" y="207"/>
                    </a:lnTo>
                    <a:lnTo>
                      <a:pt x="4058" y="209"/>
                    </a:lnTo>
                    <a:lnTo>
                      <a:pt x="4060" y="211"/>
                    </a:lnTo>
                    <a:lnTo>
                      <a:pt x="4058" y="212"/>
                    </a:lnTo>
                    <a:lnTo>
                      <a:pt x="4057" y="212"/>
                    </a:lnTo>
                    <a:lnTo>
                      <a:pt x="4054" y="210"/>
                    </a:lnTo>
                    <a:lnTo>
                      <a:pt x="4051" y="209"/>
                    </a:lnTo>
                    <a:lnTo>
                      <a:pt x="4049" y="207"/>
                    </a:lnTo>
                    <a:lnTo>
                      <a:pt x="4046" y="207"/>
                    </a:lnTo>
                    <a:lnTo>
                      <a:pt x="4043" y="207"/>
                    </a:lnTo>
                    <a:lnTo>
                      <a:pt x="4041" y="206"/>
                    </a:lnTo>
                    <a:lnTo>
                      <a:pt x="4038" y="206"/>
                    </a:lnTo>
                    <a:lnTo>
                      <a:pt x="4036" y="206"/>
                    </a:lnTo>
                    <a:lnTo>
                      <a:pt x="4034" y="205"/>
                    </a:lnTo>
                    <a:lnTo>
                      <a:pt x="4030" y="205"/>
                    </a:lnTo>
                    <a:lnTo>
                      <a:pt x="4028" y="205"/>
                    </a:lnTo>
                    <a:lnTo>
                      <a:pt x="4025" y="204"/>
                    </a:lnTo>
                    <a:lnTo>
                      <a:pt x="4023" y="204"/>
                    </a:lnTo>
                    <a:lnTo>
                      <a:pt x="4019" y="203"/>
                    </a:lnTo>
                    <a:lnTo>
                      <a:pt x="4020" y="206"/>
                    </a:lnTo>
                    <a:lnTo>
                      <a:pt x="4020" y="206"/>
                    </a:lnTo>
                    <a:lnTo>
                      <a:pt x="4020" y="210"/>
                    </a:lnTo>
                    <a:lnTo>
                      <a:pt x="4020" y="212"/>
                    </a:lnTo>
                    <a:lnTo>
                      <a:pt x="4018" y="213"/>
                    </a:lnTo>
                    <a:lnTo>
                      <a:pt x="4015" y="214"/>
                    </a:lnTo>
                    <a:lnTo>
                      <a:pt x="4018" y="216"/>
                    </a:lnTo>
                    <a:lnTo>
                      <a:pt x="4020" y="216"/>
                    </a:lnTo>
                    <a:lnTo>
                      <a:pt x="4021" y="219"/>
                    </a:lnTo>
                    <a:lnTo>
                      <a:pt x="4024" y="222"/>
                    </a:lnTo>
                    <a:lnTo>
                      <a:pt x="4026" y="224"/>
                    </a:lnTo>
                    <a:lnTo>
                      <a:pt x="4026" y="228"/>
                    </a:lnTo>
                    <a:lnTo>
                      <a:pt x="4028" y="230"/>
                    </a:lnTo>
                    <a:lnTo>
                      <a:pt x="4026" y="231"/>
                    </a:lnTo>
                    <a:lnTo>
                      <a:pt x="4023" y="232"/>
                    </a:lnTo>
                    <a:lnTo>
                      <a:pt x="4023" y="235"/>
                    </a:lnTo>
                    <a:lnTo>
                      <a:pt x="4023" y="236"/>
                    </a:lnTo>
                    <a:lnTo>
                      <a:pt x="4019" y="233"/>
                    </a:lnTo>
                    <a:lnTo>
                      <a:pt x="4020" y="237"/>
                    </a:lnTo>
                    <a:lnTo>
                      <a:pt x="4021" y="237"/>
                    </a:lnTo>
                    <a:lnTo>
                      <a:pt x="4018" y="236"/>
                    </a:lnTo>
                    <a:lnTo>
                      <a:pt x="4016" y="236"/>
                    </a:lnTo>
                    <a:lnTo>
                      <a:pt x="4012" y="236"/>
                    </a:lnTo>
                    <a:lnTo>
                      <a:pt x="4012" y="236"/>
                    </a:lnTo>
                    <a:lnTo>
                      <a:pt x="4010" y="236"/>
                    </a:lnTo>
                    <a:lnTo>
                      <a:pt x="4007" y="236"/>
                    </a:lnTo>
                    <a:lnTo>
                      <a:pt x="4004" y="233"/>
                    </a:lnTo>
                    <a:lnTo>
                      <a:pt x="4004" y="230"/>
                    </a:lnTo>
                    <a:lnTo>
                      <a:pt x="4002" y="229"/>
                    </a:lnTo>
                    <a:lnTo>
                      <a:pt x="3999" y="228"/>
                    </a:lnTo>
                    <a:lnTo>
                      <a:pt x="3996" y="227"/>
                    </a:lnTo>
                    <a:lnTo>
                      <a:pt x="3993" y="226"/>
                    </a:lnTo>
                    <a:lnTo>
                      <a:pt x="3991" y="226"/>
                    </a:lnTo>
                    <a:lnTo>
                      <a:pt x="3989" y="223"/>
                    </a:lnTo>
                    <a:lnTo>
                      <a:pt x="3989" y="218"/>
                    </a:lnTo>
                    <a:lnTo>
                      <a:pt x="3985" y="216"/>
                    </a:lnTo>
                    <a:lnTo>
                      <a:pt x="3984" y="213"/>
                    </a:lnTo>
                    <a:lnTo>
                      <a:pt x="3981" y="212"/>
                    </a:lnTo>
                    <a:lnTo>
                      <a:pt x="3978" y="214"/>
                    </a:lnTo>
                    <a:lnTo>
                      <a:pt x="3975" y="216"/>
                    </a:lnTo>
                    <a:lnTo>
                      <a:pt x="3973" y="218"/>
                    </a:lnTo>
                    <a:lnTo>
                      <a:pt x="3969" y="219"/>
                    </a:lnTo>
                    <a:lnTo>
                      <a:pt x="3967" y="219"/>
                    </a:lnTo>
                    <a:lnTo>
                      <a:pt x="3959" y="219"/>
                    </a:lnTo>
                    <a:lnTo>
                      <a:pt x="3956" y="218"/>
                    </a:lnTo>
                    <a:lnTo>
                      <a:pt x="3953" y="216"/>
                    </a:lnTo>
                    <a:lnTo>
                      <a:pt x="3950" y="216"/>
                    </a:lnTo>
                    <a:lnTo>
                      <a:pt x="3949" y="216"/>
                    </a:lnTo>
                    <a:lnTo>
                      <a:pt x="3947" y="216"/>
                    </a:lnTo>
                    <a:lnTo>
                      <a:pt x="3943" y="216"/>
                    </a:lnTo>
                    <a:lnTo>
                      <a:pt x="3938" y="216"/>
                    </a:lnTo>
                    <a:lnTo>
                      <a:pt x="3935" y="215"/>
                    </a:lnTo>
                    <a:lnTo>
                      <a:pt x="3932" y="213"/>
                    </a:lnTo>
                    <a:lnTo>
                      <a:pt x="3930" y="213"/>
                    </a:lnTo>
                    <a:lnTo>
                      <a:pt x="3926" y="214"/>
                    </a:lnTo>
                    <a:lnTo>
                      <a:pt x="3924" y="214"/>
                    </a:lnTo>
                    <a:lnTo>
                      <a:pt x="3922" y="213"/>
                    </a:lnTo>
                    <a:lnTo>
                      <a:pt x="3918" y="214"/>
                    </a:lnTo>
                    <a:lnTo>
                      <a:pt x="3916" y="214"/>
                    </a:lnTo>
                    <a:lnTo>
                      <a:pt x="3913" y="215"/>
                    </a:lnTo>
                    <a:lnTo>
                      <a:pt x="3910" y="214"/>
                    </a:lnTo>
                    <a:lnTo>
                      <a:pt x="3909" y="214"/>
                    </a:lnTo>
                    <a:lnTo>
                      <a:pt x="3906" y="215"/>
                    </a:lnTo>
                    <a:lnTo>
                      <a:pt x="3905" y="215"/>
                    </a:lnTo>
                    <a:lnTo>
                      <a:pt x="3902" y="215"/>
                    </a:lnTo>
                    <a:lnTo>
                      <a:pt x="3900" y="215"/>
                    </a:lnTo>
                    <a:lnTo>
                      <a:pt x="3897" y="215"/>
                    </a:lnTo>
                    <a:lnTo>
                      <a:pt x="3895" y="216"/>
                    </a:lnTo>
                    <a:lnTo>
                      <a:pt x="3891" y="218"/>
                    </a:lnTo>
                    <a:lnTo>
                      <a:pt x="3887" y="215"/>
                    </a:lnTo>
                    <a:lnTo>
                      <a:pt x="3884" y="214"/>
                    </a:lnTo>
                    <a:lnTo>
                      <a:pt x="3881" y="214"/>
                    </a:lnTo>
                    <a:lnTo>
                      <a:pt x="3880" y="215"/>
                    </a:lnTo>
                    <a:lnTo>
                      <a:pt x="3878" y="213"/>
                    </a:lnTo>
                    <a:lnTo>
                      <a:pt x="3875" y="213"/>
                    </a:lnTo>
                    <a:lnTo>
                      <a:pt x="3873" y="212"/>
                    </a:lnTo>
                    <a:lnTo>
                      <a:pt x="3872" y="210"/>
                    </a:lnTo>
                    <a:lnTo>
                      <a:pt x="3873" y="209"/>
                    </a:lnTo>
                    <a:lnTo>
                      <a:pt x="3873" y="207"/>
                    </a:lnTo>
                    <a:lnTo>
                      <a:pt x="3874" y="206"/>
                    </a:lnTo>
                    <a:lnTo>
                      <a:pt x="3874" y="206"/>
                    </a:lnTo>
                    <a:lnTo>
                      <a:pt x="3874" y="206"/>
                    </a:lnTo>
                    <a:lnTo>
                      <a:pt x="3874" y="205"/>
                    </a:lnTo>
                    <a:lnTo>
                      <a:pt x="3873" y="204"/>
                    </a:lnTo>
                    <a:lnTo>
                      <a:pt x="3875" y="202"/>
                    </a:lnTo>
                    <a:lnTo>
                      <a:pt x="3878" y="199"/>
                    </a:lnTo>
                    <a:lnTo>
                      <a:pt x="3876" y="196"/>
                    </a:lnTo>
                    <a:lnTo>
                      <a:pt x="3874" y="194"/>
                    </a:lnTo>
                    <a:lnTo>
                      <a:pt x="3872" y="190"/>
                    </a:lnTo>
                    <a:lnTo>
                      <a:pt x="3867" y="187"/>
                    </a:lnTo>
                    <a:lnTo>
                      <a:pt x="3856" y="182"/>
                    </a:lnTo>
                    <a:lnTo>
                      <a:pt x="3847" y="180"/>
                    </a:lnTo>
                    <a:lnTo>
                      <a:pt x="3839" y="180"/>
                    </a:lnTo>
                    <a:lnTo>
                      <a:pt x="3820" y="179"/>
                    </a:lnTo>
                    <a:lnTo>
                      <a:pt x="3797" y="182"/>
                    </a:lnTo>
                    <a:lnTo>
                      <a:pt x="3789" y="186"/>
                    </a:lnTo>
                    <a:lnTo>
                      <a:pt x="3786" y="185"/>
                    </a:lnTo>
                    <a:lnTo>
                      <a:pt x="3776" y="186"/>
                    </a:lnTo>
                    <a:lnTo>
                      <a:pt x="3770" y="185"/>
                    </a:lnTo>
                    <a:lnTo>
                      <a:pt x="3761" y="182"/>
                    </a:lnTo>
                    <a:lnTo>
                      <a:pt x="3767" y="182"/>
                    </a:lnTo>
                    <a:lnTo>
                      <a:pt x="3768" y="180"/>
                    </a:lnTo>
                    <a:lnTo>
                      <a:pt x="3762" y="176"/>
                    </a:lnTo>
                    <a:lnTo>
                      <a:pt x="3759" y="173"/>
                    </a:lnTo>
                    <a:lnTo>
                      <a:pt x="3756" y="173"/>
                    </a:lnTo>
                    <a:lnTo>
                      <a:pt x="3753" y="172"/>
                    </a:lnTo>
                    <a:lnTo>
                      <a:pt x="3751" y="172"/>
                    </a:lnTo>
                    <a:lnTo>
                      <a:pt x="3748" y="175"/>
                    </a:lnTo>
                    <a:lnTo>
                      <a:pt x="3745" y="175"/>
                    </a:lnTo>
                    <a:lnTo>
                      <a:pt x="3743" y="175"/>
                    </a:lnTo>
                    <a:lnTo>
                      <a:pt x="3739" y="177"/>
                    </a:lnTo>
                    <a:lnTo>
                      <a:pt x="3742" y="175"/>
                    </a:lnTo>
                    <a:lnTo>
                      <a:pt x="3745" y="173"/>
                    </a:lnTo>
                    <a:lnTo>
                      <a:pt x="3747" y="171"/>
                    </a:lnTo>
                    <a:lnTo>
                      <a:pt x="3744" y="169"/>
                    </a:lnTo>
                    <a:lnTo>
                      <a:pt x="3742" y="169"/>
                    </a:lnTo>
                    <a:lnTo>
                      <a:pt x="3737" y="170"/>
                    </a:lnTo>
                    <a:lnTo>
                      <a:pt x="3738" y="168"/>
                    </a:lnTo>
                    <a:lnTo>
                      <a:pt x="3735" y="166"/>
                    </a:lnTo>
                    <a:lnTo>
                      <a:pt x="3727" y="164"/>
                    </a:lnTo>
                    <a:lnTo>
                      <a:pt x="3724" y="166"/>
                    </a:lnTo>
                    <a:lnTo>
                      <a:pt x="3724" y="162"/>
                    </a:lnTo>
                    <a:lnTo>
                      <a:pt x="3726" y="162"/>
                    </a:lnTo>
                    <a:lnTo>
                      <a:pt x="3729" y="161"/>
                    </a:lnTo>
                    <a:lnTo>
                      <a:pt x="3731" y="160"/>
                    </a:lnTo>
                    <a:lnTo>
                      <a:pt x="3735" y="162"/>
                    </a:lnTo>
                    <a:lnTo>
                      <a:pt x="3737" y="161"/>
                    </a:lnTo>
                    <a:lnTo>
                      <a:pt x="3739" y="159"/>
                    </a:lnTo>
                    <a:lnTo>
                      <a:pt x="3734" y="153"/>
                    </a:lnTo>
                    <a:lnTo>
                      <a:pt x="3726" y="151"/>
                    </a:lnTo>
                    <a:lnTo>
                      <a:pt x="3718" y="149"/>
                    </a:lnTo>
                    <a:lnTo>
                      <a:pt x="3712" y="149"/>
                    </a:lnTo>
                    <a:lnTo>
                      <a:pt x="3701" y="149"/>
                    </a:lnTo>
                    <a:lnTo>
                      <a:pt x="3693" y="155"/>
                    </a:lnTo>
                    <a:lnTo>
                      <a:pt x="3688" y="160"/>
                    </a:lnTo>
                    <a:lnTo>
                      <a:pt x="3686" y="161"/>
                    </a:lnTo>
                    <a:lnTo>
                      <a:pt x="3680" y="163"/>
                    </a:lnTo>
                    <a:lnTo>
                      <a:pt x="3677" y="163"/>
                    </a:lnTo>
                    <a:lnTo>
                      <a:pt x="3675" y="166"/>
                    </a:lnTo>
                    <a:lnTo>
                      <a:pt x="3673" y="164"/>
                    </a:lnTo>
                    <a:lnTo>
                      <a:pt x="3669" y="164"/>
                    </a:lnTo>
                    <a:lnTo>
                      <a:pt x="3673" y="162"/>
                    </a:lnTo>
                    <a:lnTo>
                      <a:pt x="3670" y="159"/>
                    </a:lnTo>
                    <a:lnTo>
                      <a:pt x="3673" y="159"/>
                    </a:lnTo>
                    <a:lnTo>
                      <a:pt x="3676" y="160"/>
                    </a:lnTo>
                    <a:lnTo>
                      <a:pt x="3682" y="159"/>
                    </a:lnTo>
                    <a:lnTo>
                      <a:pt x="3679" y="151"/>
                    </a:lnTo>
                    <a:lnTo>
                      <a:pt x="3682" y="151"/>
                    </a:lnTo>
                    <a:lnTo>
                      <a:pt x="3684" y="153"/>
                    </a:lnTo>
                    <a:lnTo>
                      <a:pt x="3686" y="153"/>
                    </a:lnTo>
                    <a:lnTo>
                      <a:pt x="3686" y="155"/>
                    </a:lnTo>
                    <a:lnTo>
                      <a:pt x="3684" y="158"/>
                    </a:lnTo>
                    <a:lnTo>
                      <a:pt x="3684" y="161"/>
                    </a:lnTo>
                    <a:lnTo>
                      <a:pt x="3688" y="156"/>
                    </a:lnTo>
                    <a:lnTo>
                      <a:pt x="3696" y="149"/>
                    </a:lnTo>
                    <a:lnTo>
                      <a:pt x="3688" y="149"/>
                    </a:lnTo>
                    <a:lnTo>
                      <a:pt x="3671" y="150"/>
                    </a:lnTo>
                    <a:lnTo>
                      <a:pt x="3666" y="151"/>
                    </a:lnTo>
                    <a:lnTo>
                      <a:pt x="3663" y="152"/>
                    </a:lnTo>
                    <a:lnTo>
                      <a:pt x="3660" y="152"/>
                    </a:lnTo>
                    <a:lnTo>
                      <a:pt x="3659" y="151"/>
                    </a:lnTo>
                    <a:lnTo>
                      <a:pt x="3659" y="150"/>
                    </a:lnTo>
                    <a:lnTo>
                      <a:pt x="3665" y="150"/>
                    </a:lnTo>
                    <a:lnTo>
                      <a:pt x="3667" y="146"/>
                    </a:lnTo>
                    <a:lnTo>
                      <a:pt x="3670" y="142"/>
                    </a:lnTo>
                    <a:lnTo>
                      <a:pt x="3665" y="141"/>
                    </a:lnTo>
                    <a:lnTo>
                      <a:pt x="3661" y="141"/>
                    </a:lnTo>
                    <a:lnTo>
                      <a:pt x="3653" y="139"/>
                    </a:lnTo>
                    <a:lnTo>
                      <a:pt x="3651" y="139"/>
                    </a:lnTo>
                    <a:lnTo>
                      <a:pt x="3634" y="138"/>
                    </a:lnTo>
                    <a:lnTo>
                      <a:pt x="3628" y="138"/>
                    </a:lnTo>
                    <a:lnTo>
                      <a:pt x="3623" y="136"/>
                    </a:lnTo>
                    <a:lnTo>
                      <a:pt x="3619" y="135"/>
                    </a:lnTo>
                    <a:lnTo>
                      <a:pt x="3611" y="134"/>
                    </a:lnTo>
                    <a:lnTo>
                      <a:pt x="3611" y="136"/>
                    </a:lnTo>
                    <a:lnTo>
                      <a:pt x="3615" y="138"/>
                    </a:lnTo>
                    <a:lnTo>
                      <a:pt x="3615" y="141"/>
                    </a:lnTo>
                    <a:lnTo>
                      <a:pt x="3612" y="143"/>
                    </a:lnTo>
                    <a:lnTo>
                      <a:pt x="3607" y="144"/>
                    </a:lnTo>
                    <a:lnTo>
                      <a:pt x="3602" y="144"/>
                    </a:lnTo>
                    <a:lnTo>
                      <a:pt x="3599" y="144"/>
                    </a:lnTo>
                    <a:lnTo>
                      <a:pt x="3597" y="144"/>
                    </a:lnTo>
                    <a:lnTo>
                      <a:pt x="3591" y="147"/>
                    </a:lnTo>
                    <a:lnTo>
                      <a:pt x="3590" y="151"/>
                    </a:lnTo>
                    <a:lnTo>
                      <a:pt x="3592" y="153"/>
                    </a:lnTo>
                    <a:lnTo>
                      <a:pt x="3594" y="153"/>
                    </a:lnTo>
                    <a:lnTo>
                      <a:pt x="3598" y="151"/>
                    </a:lnTo>
                    <a:lnTo>
                      <a:pt x="3602" y="151"/>
                    </a:lnTo>
                    <a:lnTo>
                      <a:pt x="3605" y="152"/>
                    </a:lnTo>
                    <a:lnTo>
                      <a:pt x="3599" y="153"/>
                    </a:lnTo>
                    <a:lnTo>
                      <a:pt x="3598" y="156"/>
                    </a:lnTo>
                    <a:lnTo>
                      <a:pt x="3594" y="158"/>
                    </a:lnTo>
                    <a:lnTo>
                      <a:pt x="3598" y="160"/>
                    </a:lnTo>
                    <a:lnTo>
                      <a:pt x="3598" y="162"/>
                    </a:lnTo>
                    <a:lnTo>
                      <a:pt x="3599" y="166"/>
                    </a:lnTo>
                    <a:lnTo>
                      <a:pt x="3601" y="168"/>
                    </a:lnTo>
                    <a:lnTo>
                      <a:pt x="3602" y="170"/>
                    </a:lnTo>
                    <a:lnTo>
                      <a:pt x="3601" y="170"/>
                    </a:lnTo>
                    <a:lnTo>
                      <a:pt x="3599" y="170"/>
                    </a:lnTo>
                    <a:lnTo>
                      <a:pt x="3596" y="170"/>
                    </a:lnTo>
                    <a:lnTo>
                      <a:pt x="3593" y="171"/>
                    </a:lnTo>
                    <a:lnTo>
                      <a:pt x="3590" y="170"/>
                    </a:lnTo>
                    <a:lnTo>
                      <a:pt x="3589" y="168"/>
                    </a:lnTo>
                    <a:lnTo>
                      <a:pt x="3586" y="167"/>
                    </a:lnTo>
                    <a:lnTo>
                      <a:pt x="3583" y="166"/>
                    </a:lnTo>
                    <a:lnTo>
                      <a:pt x="3577" y="167"/>
                    </a:lnTo>
                    <a:lnTo>
                      <a:pt x="3575" y="168"/>
                    </a:lnTo>
                    <a:lnTo>
                      <a:pt x="3574" y="173"/>
                    </a:lnTo>
                    <a:lnTo>
                      <a:pt x="3580" y="175"/>
                    </a:lnTo>
                    <a:lnTo>
                      <a:pt x="3576" y="176"/>
                    </a:lnTo>
                    <a:lnTo>
                      <a:pt x="3571" y="177"/>
                    </a:lnTo>
                    <a:lnTo>
                      <a:pt x="3574" y="178"/>
                    </a:lnTo>
                    <a:lnTo>
                      <a:pt x="3568" y="177"/>
                    </a:lnTo>
                    <a:lnTo>
                      <a:pt x="3571" y="176"/>
                    </a:lnTo>
                    <a:lnTo>
                      <a:pt x="3568" y="176"/>
                    </a:lnTo>
                    <a:lnTo>
                      <a:pt x="3565" y="173"/>
                    </a:lnTo>
                    <a:lnTo>
                      <a:pt x="3559" y="170"/>
                    </a:lnTo>
                    <a:lnTo>
                      <a:pt x="3557" y="169"/>
                    </a:lnTo>
                    <a:lnTo>
                      <a:pt x="3555" y="169"/>
                    </a:lnTo>
                    <a:lnTo>
                      <a:pt x="3552" y="168"/>
                    </a:lnTo>
                    <a:lnTo>
                      <a:pt x="3547" y="166"/>
                    </a:lnTo>
                    <a:lnTo>
                      <a:pt x="3543" y="166"/>
                    </a:lnTo>
                    <a:lnTo>
                      <a:pt x="3541" y="167"/>
                    </a:lnTo>
                    <a:lnTo>
                      <a:pt x="3539" y="169"/>
                    </a:lnTo>
                    <a:lnTo>
                      <a:pt x="3535" y="168"/>
                    </a:lnTo>
                    <a:lnTo>
                      <a:pt x="3533" y="169"/>
                    </a:lnTo>
                    <a:lnTo>
                      <a:pt x="3530" y="171"/>
                    </a:lnTo>
                    <a:lnTo>
                      <a:pt x="3530" y="172"/>
                    </a:lnTo>
                    <a:lnTo>
                      <a:pt x="3529" y="176"/>
                    </a:lnTo>
                    <a:lnTo>
                      <a:pt x="3530" y="172"/>
                    </a:lnTo>
                    <a:lnTo>
                      <a:pt x="3521" y="172"/>
                    </a:lnTo>
                    <a:lnTo>
                      <a:pt x="3516" y="171"/>
                    </a:lnTo>
                    <a:lnTo>
                      <a:pt x="3511" y="169"/>
                    </a:lnTo>
                    <a:lnTo>
                      <a:pt x="3507" y="167"/>
                    </a:lnTo>
                    <a:lnTo>
                      <a:pt x="3503" y="161"/>
                    </a:lnTo>
                    <a:lnTo>
                      <a:pt x="3503" y="158"/>
                    </a:lnTo>
                    <a:lnTo>
                      <a:pt x="3499" y="160"/>
                    </a:lnTo>
                    <a:lnTo>
                      <a:pt x="3496" y="166"/>
                    </a:lnTo>
                    <a:lnTo>
                      <a:pt x="3494" y="171"/>
                    </a:lnTo>
                    <a:lnTo>
                      <a:pt x="3492" y="173"/>
                    </a:lnTo>
                    <a:lnTo>
                      <a:pt x="3494" y="177"/>
                    </a:lnTo>
                    <a:lnTo>
                      <a:pt x="3490" y="178"/>
                    </a:lnTo>
                    <a:lnTo>
                      <a:pt x="3488" y="180"/>
                    </a:lnTo>
                    <a:lnTo>
                      <a:pt x="3488" y="182"/>
                    </a:lnTo>
                    <a:lnTo>
                      <a:pt x="3486" y="186"/>
                    </a:lnTo>
                    <a:lnTo>
                      <a:pt x="3482" y="187"/>
                    </a:lnTo>
                    <a:lnTo>
                      <a:pt x="3480" y="188"/>
                    </a:lnTo>
                    <a:lnTo>
                      <a:pt x="3478" y="186"/>
                    </a:lnTo>
                    <a:lnTo>
                      <a:pt x="3477" y="184"/>
                    </a:lnTo>
                    <a:lnTo>
                      <a:pt x="3473" y="185"/>
                    </a:lnTo>
                    <a:lnTo>
                      <a:pt x="3471" y="184"/>
                    </a:lnTo>
                    <a:lnTo>
                      <a:pt x="3465" y="180"/>
                    </a:lnTo>
                    <a:lnTo>
                      <a:pt x="3462" y="179"/>
                    </a:lnTo>
                    <a:lnTo>
                      <a:pt x="3461" y="177"/>
                    </a:lnTo>
                    <a:lnTo>
                      <a:pt x="3458" y="175"/>
                    </a:lnTo>
                    <a:lnTo>
                      <a:pt x="3456" y="172"/>
                    </a:lnTo>
                    <a:lnTo>
                      <a:pt x="3455" y="169"/>
                    </a:lnTo>
                    <a:lnTo>
                      <a:pt x="3452" y="167"/>
                    </a:lnTo>
                    <a:lnTo>
                      <a:pt x="3449" y="167"/>
                    </a:lnTo>
                    <a:lnTo>
                      <a:pt x="3451" y="164"/>
                    </a:lnTo>
                    <a:lnTo>
                      <a:pt x="3453" y="164"/>
                    </a:lnTo>
                    <a:lnTo>
                      <a:pt x="3455" y="163"/>
                    </a:lnTo>
                    <a:lnTo>
                      <a:pt x="3458" y="164"/>
                    </a:lnTo>
                    <a:lnTo>
                      <a:pt x="3455" y="162"/>
                    </a:lnTo>
                    <a:lnTo>
                      <a:pt x="3454" y="159"/>
                    </a:lnTo>
                    <a:lnTo>
                      <a:pt x="3452" y="156"/>
                    </a:lnTo>
                    <a:lnTo>
                      <a:pt x="3452" y="156"/>
                    </a:lnTo>
                    <a:lnTo>
                      <a:pt x="3453" y="160"/>
                    </a:lnTo>
                    <a:lnTo>
                      <a:pt x="3453" y="162"/>
                    </a:lnTo>
                    <a:lnTo>
                      <a:pt x="3451" y="163"/>
                    </a:lnTo>
                    <a:lnTo>
                      <a:pt x="3448" y="162"/>
                    </a:lnTo>
                    <a:lnTo>
                      <a:pt x="3446" y="160"/>
                    </a:lnTo>
                    <a:lnTo>
                      <a:pt x="3444" y="158"/>
                    </a:lnTo>
                    <a:lnTo>
                      <a:pt x="3440" y="152"/>
                    </a:lnTo>
                    <a:lnTo>
                      <a:pt x="3440" y="151"/>
                    </a:lnTo>
                    <a:lnTo>
                      <a:pt x="3445" y="152"/>
                    </a:lnTo>
                    <a:lnTo>
                      <a:pt x="3446" y="154"/>
                    </a:lnTo>
                    <a:lnTo>
                      <a:pt x="3452" y="155"/>
                    </a:lnTo>
                    <a:lnTo>
                      <a:pt x="3455" y="154"/>
                    </a:lnTo>
                    <a:lnTo>
                      <a:pt x="3457" y="153"/>
                    </a:lnTo>
                    <a:lnTo>
                      <a:pt x="3455" y="153"/>
                    </a:lnTo>
                    <a:lnTo>
                      <a:pt x="3458" y="151"/>
                    </a:lnTo>
                    <a:lnTo>
                      <a:pt x="3456" y="150"/>
                    </a:lnTo>
                    <a:lnTo>
                      <a:pt x="3457" y="147"/>
                    </a:lnTo>
                    <a:lnTo>
                      <a:pt x="3457" y="147"/>
                    </a:lnTo>
                    <a:lnTo>
                      <a:pt x="3455" y="146"/>
                    </a:lnTo>
                    <a:lnTo>
                      <a:pt x="3454" y="144"/>
                    </a:lnTo>
                    <a:lnTo>
                      <a:pt x="3448" y="145"/>
                    </a:lnTo>
                    <a:lnTo>
                      <a:pt x="3445" y="144"/>
                    </a:lnTo>
                    <a:lnTo>
                      <a:pt x="3443" y="143"/>
                    </a:lnTo>
                    <a:lnTo>
                      <a:pt x="3443" y="143"/>
                    </a:lnTo>
                    <a:lnTo>
                      <a:pt x="3448" y="143"/>
                    </a:lnTo>
                    <a:lnTo>
                      <a:pt x="3451" y="139"/>
                    </a:lnTo>
                    <a:lnTo>
                      <a:pt x="3454" y="139"/>
                    </a:lnTo>
                    <a:lnTo>
                      <a:pt x="3454" y="138"/>
                    </a:lnTo>
                    <a:lnTo>
                      <a:pt x="3448" y="137"/>
                    </a:lnTo>
                    <a:lnTo>
                      <a:pt x="3449" y="136"/>
                    </a:lnTo>
                    <a:lnTo>
                      <a:pt x="3452" y="136"/>
                    </a:lnTo>
                    <a:lnTo>
                      <a:pt x="3455" y="136"/>
                    </a:lnTo>
                    <a:lnTo>
                      <a:pt x="3452" y="135"/>
                    </a:lnTo>
                    <a:lnTo>
                      <a:pt x="3444" y="134"/>
                    </a:lnTo>
                    <a:lnTo>
                      <a:pt x="3444" y="133"/>
                    </a:lnTo>
                    <a:lnTo>
                      <a:pt x="3446" y="133"/>
                    </a:lnTo>
                    <a:lnTo>
                      <a:pt x="3449" y="132"/>
                    </a:lnTo>
                    <a:lnTo>
                      <a:pt x="3452" y="130"/>
                    </a:lnTo>
                    <a:lnTo>
                      <a:pt x="3451" y="128"/>
                    </a:lnTo>
                    <a:lnTo>
                      <a:pt x="3448" y="129"/>
                    </a:lnTo>
                    <a:lnTo>
                      <a:pt x="3449" y="128"/>
                    </a:lnTo>
                    <a:lnTo>
                      <a:pt x="3449" y="125"/>
                    </a:lnTo>
                    <a:lnTo>
                      <a:pt x="3446" y="124"/>
                    </a:lnTo>
                    <a:lnTo>
                      <a:pt x="3444" y="125"/>
                    </a:lnTo>
                    <a:lnTo>
                      <a:pt x="3440" y="124"/>
                    </a:lnTo>
                    <a:lnTo>
                      <a:pt x="3441" y="121"/>
                    </a:lnTo>
                    <a:lnTo>
                      <a:pt x="3439" y="121"/>
                    </a:lnTo>
                    <a:lnTo>
                      <a:pt x="3436" y="119"/>
                    </a:lnTo>
                    <a:lnTo>
                      <a:pt x="3436" y="118"/>
                    </a:lnTo>
                    <a:lnTo>
                      <a:pt x="3430" y="118"/>
                    </a:lnTo>
                    <a:lnTo>
                      <a:pt x="3426" y="117"/>
                    </a:lnTo>
                    <a:lnTo>
                      <a:pt x="3422" y="117"/>
                    </a:lnTo>
                    <a:lnTo>
                      <a:pt x="3420" y="119"/>
                    </a:lnTo>
                    <a:lnTo>
                      <a:pt x="3418" y="121"/>
                    </a:lnTo>
                    <a:lnTo>
                      <a:pt x="3415" y="121"/>
                    </a:lnTo>
                    <a:lnTo>
                      <a:pt x="3415" y="120"/>
                    </a:lnTo>
                    <a:lnTo>
                      <a:pt x="3412" y="119"/>
                    </a:lnTo>
                    <a:lnTo>
                      <a:pt x="3415" y="119"/>
                    </a:lnTo>
                    <a:lnTo>
                      <a:pt x="3414" y="117"/>
                    </a:lnTo>
                    <a:lnTo>
                      <a:pt x="3412" y="117"/>
                    </a:lnTo>
                    <a:lnTo>
                      <a:pt x="3409" y="119"/>
                    </a:lnTo>
                    <a:lnTo>
                      <a:pt x="3410" y="117"/>
                    </a:lnTo>
                    <a:lnTo>
                      <a:pt x="3407" y="118"/>
                    </a:lnTo>
                    <a:lnTo>
                      <a:pt x="3404" y="119"/>
                    </a:lnTo>
                    <a:lnTo>
                      <a:pt x="3405" y="117"/>
                    </a:lnTo>
                    <a:lnTo>
                      <a:pt x="3402" y="116"/>
                    </a:lnTo>
                    <a:lnTo>
                      <a:pt x="3400" y="117"/>
                    </a:lnTo>
                    <a:lnTo>
                      <a:pt x="3400" y="113"/>
                    </a:lnTo>
                    <a:lnTo>
                      <a:pt x="3388" y="110"/>
                    </a:lnTo>
                    <a:lnTo>
                      <a:pt x="3385" y="112"/>
                    </a:lnTo>
                    <a:lnTo>
                      <a:pt x="3383" y="110"/>
                    </a:lnTo>
                    <a:lnTo>
                      <a:pt x="3381" y="113"/>
                    </a:lnTo>
                    <a:lnTo>
                      <a:pt x="3379" y="115"/>
                    </a:lnTo>
                    <a:lnTo>
                      <a:pt x="3377" y="112"/>
                    </a:lnTo>
                    <a:lnTo>
                      <a:pt x="3375" y="113"/>
                    </a:lnTo>
                    <a:lnTo>
                      <a:pt x="3373" y="116"/>
                    </a:lnTo>
                    <a:lnTo>
                      <a:pt x="3375" y="118"/>
                    </a:lnTo>
                    <a:lnTo>
                      <a:pt x="3373" y="121"/>
                    </a:lnTo>
                    <a:lnTo>
                      <a:pt x="3376" y="124"/>
                    </a:lnTo>
                    <a:lnTo>
                      <a:pt x="3377" y="127"/>
                    </a:lnTo>
                    <a:lnTo>
                      <a:pt x="3375" y="127"/>
                    </a:lnTo>
                    <a:lnTo>
                      <a:pt x="3373" y="129"/>
                    </a:lnTo>
                    <a:lnTo>
                      <a:pt x="3372" y="133"/>
                    </a:lnTo>
                    <a:lnTo>
                      <a:pt x="3369" y="133"/>
                    </a:lnTo>
                    <a:lnTo>
                      <a:pt x="3367" y="130"/>
                    </a:lnTo>
                    <a:lnTo>
                      <a:pt x="3363" y="130"/>
                    </a:lnTo>
                    <a:lnTo>
                      <a:pt x="3361" y="132"/>
                    </a:lnTo>
                    <a:lnTo>
                      <a:pt x="3359" y="132"/>
                    </a:lnTo>
                    <a:lnTo>
                      <a:pt x="3346" y="132"/>
                    </a:lnTo>
                    <a:lnTo>
                      <a:pt x="3343" y="133"/>
                    </a:lnTo>
                    <a:lnTo>
                      <a:pt x="3341" y="133"/>
                    </a:lnTo>
                    <a:lnTo>
                      <a:pt x="3335" y="132"/>
                    </a:lnTo>
                    <a:lnTo>
                      <a:pt x="3329" y="130"/>
                    </a:lnTo>
                    <a:lnTo>
                      <a:pt x="3325" y="130"/>
                    </a:lnTo>
                    <a:lnTo>
                      <a:pt x="3324" y="130"/>
                    </a:lnTo>
                    <a:lnTo>
                      <a:pt x="3320" y="129"/>
                    </a:lnTo>
                    <a:lnTo>
                      <a:pt x="3316" y="128"/>
                    </a:lnTo>
                    <a:lnTo>
                      <a:pt x="3307" y="126"/>
                    </a:lnTo>
                    <a:lnTo>
                      <a:pt x="3306" y="122"/>
                    </a:lnTo>
                    <a:lnTo>
                      <a:pt x="3306" y="120"/>
                    </a:lnTo>
                    <a:lnTo>
                      <a:pt x="3308" y="118"/>
                    </a:lnTo>
                    <a:lnTo>
                      <a:pt x="3311" y="119"/>
                    </a:lnTo>
                    <a:lnTo>
                      <a:pt x="3313" y="119"/>
                    </a:lnTo>
                    <a:lnTo>
                      <a:pt x="3310" y="116"/>
                    </a:lnTo>
                    <a:lnTo>
                      <a:pt x="3308" y="116"/>
                    </a:lnTo>
                    <a:lnTo>
                      <a:pt x="3294" y="116"/>
                    </a:lnTo>
                    <a:lnTo>
                      <a:pt x="3279" y="113"/>
                    </a:lnTo>
                    <a:lnTo>
                      <a:pt x="3277" y="113"/>
                    </a:lnTo>
                    <a:lnTo>
                      <a:pt x="3272" y="112"/>
                    </a:lnTo>
                    <a:lnTo>
                      <a:pt x="3262" y="112"/>
                    </a:lnTo>
                    <a:lnTo>
                      <a:pt x="3257" y="115"/>
                    </a:lnTo>
                    <a:lnTo>
                      <a:pt x="3247" y="116"/>
                    </a:lnTo>
                    <a:lnTo>
                      <a:pt x="3241" y="117"/>
                    </a:lnTo>
                    <a:lnTo>
                      <a:pt x="3240" y="120"/>
                    </a:lnTo>
                    <a:lnTo>
                      <a:pt x="3243" y="121"/>
                    </a:lnTo>
                    <a:lnTo>
                      <a:pt x="3245" y="121"/>
                    </a:lnTo>
                    <a:lnTo>
                      <a:pt x="3240" y="125"/>
                    </a:lnTo>
                    <a:lnTo>
                      <a:pt x="3239" y="125"/>
                    </a:lnTo>
                    <a:lnTo>
                      <a:pt x="3238" y="121"/>
                    </a:lnTo>
                    <a:lnTo>
                      <a:pt x="3235" y="118"/>
                    </a:lnTo>
                    <a:lnTo>
                      <a:pt x="3238" y="113"/>
                    </a:lnTo>
                    <a:lnTo>
                      <a:pt x="3234" y="108"/>
                    </a:lnTo>
                    <a:lnTo>
                      <a:pt x="3231" y="105"/>
                    </a:lnTo>
                    <a:lnTo>
                      <a:pt x="3231" y="111"/>
                    </a:lnTo>
                    <a:lnTo>
                      <a:pt x="3228" y="112"/>
                    </a:lnTo>
                    <a:lnTo>
                      <a:pt x="3222" y="112"/>
                    </a:lnTo>
                    <a:lnTo>
                      <a:pt x="3219" y="112"/>
                    </a:lnTo>
                    <a:lnTo>
                      <a:pt x="3213" y="111"/>
                    </a:lnTo>
                    <a:lnTo>
                      <a:pt x="3209" y="109"/>
                    </a:lnTo>
                    <a:lnTo>
                      <a:pt x="3208" y="108"/>
                    </a:lnTo>
                    <a:lnTo>
                      <a:pt x="3202" y="111"/>
                    </a:lnTo>
                    <a:lnTo>
                      <a:pt x="3204" y="112"/>
                    </a:lnTo>
                    <a:lnTo>
                      <a:pt x="3198" y="113"/>
                    </a:lnTo>
                    <a:lnTo>
                      <a:pt x="3195" y="116"/>
                    </a:lnTo>
                    <a:lnTo>
                      <a:pt x="3192" y="116"/>
                    </a:lnTo>
                    <a:lnTo>
                      <a:pt x="3190" y="118"/>
                    </a:lnTo>
                    <a:lnTo>
                      <a:pt x="3188" y="119"/>
                    </a:lnTo>
                    <a:lnTo>
                      <a:pt x="3185" y="119"/>
                    </a:lnTo>
                    <a:lnTo>
                      <a:pt x="3182" y="118"/>
                    </a:lnTo>
                    <a:lnTo>
                      <a:pt x="3180" y="117"/>
                    </a:lnTo>
                    <a:lnTo>
                      <a:pt x="3182" y="119"/>
                    </a:lnTo>
                    <a:lnTo>
                      <a:pt x="3180" y="118"/>
                    </a:lnTo>
                    <a:lnTo>
                      <a:pt x="3178" y="121"/>
                    </a:lnTo>
                    <a:lnTo>
                      <a:pt x="3175" y="121"/>
                    </a:lnTo>
                    <a:lnTo>
                      <a:pt x="3167" y="122"/>
                    </a:lnTo>
                    <a:lnTo>
                      <a:pt x="3162" y="126"/>
                    </a:lnTo>
                    <a:lnTo>
                      <a:pt x="3158" y="126"/>
                    </a:lnTo>
                    <a:lnTo>
                      <a:pt x="3153" y="127"/>
                    </a:lnTo>
                    <a:lnTo>
                      <a:pt x="3150" y="126"/>
                    </a:lnTo>
                    <a:lnTo>
                      <a:pt x="3147" y="127"/>
                    </a:lnTo>
                    <a:lnTo>
                      <a:pt x="3142" y="126"/>
                    </a:lnTo>
                    <a:lnTo>
                      <a:pt x="3139" y="127"/>
                    </a:lnTo>
                    <a:lnTo>
                      <a:pt x="3137" y="133"/>
                    </a:lnTo>
                    <a:lnTo>
                      <a:pt x="3129" y="137"/>
                    </a:lnTo>
                    <a:lnTo>
                      <a:pt x="3122" y="137"/>
                    </a:lnTo>
                    <a:lnTo>
                      <a:pt x="3122" y="136"/>
                    </a:lnTo>
                    <a:lnTo>
                      <a:pt x="3124" y="136"/>
                    </a:lnTo>
                    <a:lnTo>
                      <a:pt x="3130" y="134"/>
                    </a:lnTo>
                    <a:lnTo>
                      <a:pt x="3132" y="130"/>
                    </a:lnTo>
                    <a:lnTo>
                      <a:pt x="3133" y="128"/>
                    </a:lnTo>
                    <a:lnTo>
                      <a:pt x="3138" y="122"/>
                    </a:lnTo>
                    <a:lnTo>
                      <a:pt x="3144" y="122"/>
                    </a:lnTo>
                    <a:lnTo>
                      <a:pt x="3146" y="121"/>
                    </a:lnTo>
                    <a:lnTo>
                      <a:pt x="3148" y="119"/>
                    </a:lnTo>
                    <a:lnTo>
                      <a:pt x="3154" y="115"/>
                    </a:lnTo>
                    <a:lnTo>
                      <a:pt x="3159" y="115"/>
                    </a:lnTo>
                    <a:lnTo>
                      <a:pt x="3162" y="113"/>
                    </a:lnTo>
                    <a:lnTo>
                      <a:pt x="3165" y="113"/>
                    </a:lnTo>
                    <a:lnTo>
                      <a:pt x="3170" y="110"/>
                    </a:lnTo>
                    <a:lnTo>
                      <a:pt x="3173" y="107"/>
                    </a:lnTo>
                    <a:lnTo>
                      <a:pt x="3179" y="103"/>
                    </a:lnTo>
                    <a:lnTo>
                      <a:pt x="3184" y="102"/>
                    </a:lnTo>
                    <a:lnTo>
                      <a:pt x="3190" y="99"/>
                    </a:lnTo>
                    <a:lnTo>
                      <a:pt x="3187" y="96"/>
                    </a:lnTo>
                    <a:lnTo>
                      <a:pt x="3190" y="94"/>
                    </a:lnTo>
                    <a:lnTo>
                      <a:pt x="3193" y="94"/>
                    </a:lnTo>
                    <a:lnTo>
                      <a:pt x="3196" y="92"/>
                    </a:lnTo>
                    <a:lnTo>
                      <a:pt x="3198" y="92"/>
                    </a:lnTo>
                    <a:lnTo>
                      <a:pt x="3201" y="91"/>
                    </a:lnTo>
                    <a:lnTo>
                      <a:pt x="3204" y="90"/>
                    </a:lnTo>
                    <a:lnTo>
                      <a:pt x="3209" y="86"/>
                    </a:lnTo>
                    <a:lnTo>
                      <a:pt x="3213" y="86"/>
                    </a:lnTo>
                    <a:lnTo>
                      <a:pt x="3215" y="86"/>
                    </a:lnTo>
                    <a:lnTo>
                      <a:pt x="3219" y="81"/>
                    </a:lnTo>
                    <a:lnTo>
                      <a:pt x="3228" y="78"/>
                    </a:lnTo>
                    <a:lnTo>
                      <a:pt x="3231" y="77"/>
                    </a:lnTo>
                    <a:lnTo>
                      <a:pt x="3239" y="70"/>
                    </a:lnTo>
                    <a:lnTo>
                      <a:pt x="3241" y="68"/>
                    </a:lnTo>
                    <a:lnTo>
                      <a:pt x="3242" y="65"/>
                    </a:lnTo>
                    <a:lnTo>
                      <a:pt x="3236" y="62"/>
                    </a:lnTo>
                    <a:lnTo>
                      <a:pt x="3236" y="59"/>
                    </a:lnTo>
                    <a:lnTo>
                      <a:pt x="3233" y="60"/>
                    </a:lnTo>
                    <a:lnTo>
                      <a:pt x="3231" y="62"/>
                    </a:lnTo>
                    <a:lnTo>
                      <a:pt x="3230" y="57"/>
                    </a:lnTo>
                    <a:lnTo>
                      <a:pt x="3226" y="57"/>
                    </a:lnTo>
                    <a:lnTo>
                      <a:pt x="3224" y="55"/>
                    </a:lnTo>
                    <a:lnTo>
                      <a:pt x="3226" y="55"/>
                    </a:lnTo>
                    <a:lnTo>
                      <a:pt x="3235" y="58"/>
                    </a:lnTo>
                    <a:lnTo>
                      <a:pt x="3238" y="59"/>
                    </a:lnTo>
                    <a:lnTo>
                      <a:pt x="3240" y="60"/>
                    </a:lnTo>
                    <a:lnTo>
                      <a:pt x="3242" y="58"/>
                    </a:lnTo>
                    <a:lnTo>
                      <a:pt x="3243" y="55"/>
                    </a:lnTo>
                    <a:lnTo>
                      <a:pt x="3243" y="52"/>
                    </a:lnTo>
                    <a:lnTo>
                      <a:pt x="3238" y="51"/>
                    </a:lnTo>
                    <a:lnTo>
                      <a:pt x="3239" y="49"/>
                    </a:lnTo>
                    <a:lnTo>
                      <a:pt x="3239" y="45"/>
                    </a:lnTo>
                    <a:lnTo>
                      <a:pt x="3235" y="43"/>
                    </a:lnTo>
                    <a:lnTo>
                      <a:pt x="3233" y="42"/>
                    </a:lnTo>
                    <a:lnTo>
                      <a:pt x="3235" y="44"/>
                    </a:lnTo>
                    <a:lnTo>
                      <a:pt x="3233" y="45"/>
                    </a:lnTo>
                    <a:lnTo>
                      <a:pt x="3231" y="48"/>
                    </a:lnTo>
                    <a:lnTo>
                      <a:pt x="3228" y="48"/>
                    </a:lnTo>
                    <a:lnTo>
                      <a:pt x="3230" y="45"/>
                    </a:lnTo>
                    <a:lnTo>
                      <a:pt x="3227" y="44"/>
                    </a:lnTo>
                    <a:lnTo>
                      <a:pt x="3228" y="42"/>
                    </a:lnTo>
                    <a:lnTo>
                      <a:pt x="3226" y="39"/>
                    </a:lnTo>
                    <a:lnTo>
                      <a:pt x="3223" y="38"/>
                    </a:lnTo>
                    <a:lnTo>
                      <a:pt x="3221" y="38"/>
                    </a:lnTo>
                    <a:lnTo>
                      <a:pt x="3217" y="39"/>
                    </a:lnTo>
                    <a:lnTo>
                      <a:pt x="3221" y="36"/>
                    </a:lnTo>
                    <a:lnTo>
                      <a:pt x="3215" y="32"/>
                    </a:lnTo>
                    <a:lnTo>
                      <a:pt x="3212" y="32"/>
                    </a:lnTo>
                    <a:lnTo>
                      <a:pt x="3209" y="30"/>
                    </a:lnTo>
                    <a:lnTo>
                      <a:pt x="3206" y="31"/>
                    </a:lnTo>
                    <a:lnTo>
                      <a:pt x="3204" y="28"/>
                    </a:lnTo>
                    <a:lnTo>
                      <a:pt x="3200" y="30"/>
                    </a:lnTo>
                    <a:lnTo>
                      <a:pt x="3198" y="28"/>
                    </a:lnTo>
                    <a:lnTo>
                      <a:pt x="3195" y="28"/>
                    </a:lnTo>
                    <a:lnTo>
                      <a:pt x="3192" y="30"/>
                    </a:lnTo>
                    <a:lnTo>
                      <a:pt x="3188" y="30"/>
                    </a:lnTo>
                    <a:lnTo>
                      <a:pt x="3185" y="28"/>
                    </a:lnTo>
                    <a:lnTo>
                      <a:pt x="3182" y="28"/>
                    </a:lnTo>
                    <a:lnTo>
                      <a:pt x="3174" y="30"/>
                    </a:lnTo>
                    <a:lnTo>
                      <a:pt x="3168" y="30"/>
                    </a:lnTo>
                    <a:lnTo>
                      <a:pt x="3163" y="28"/>
                    </a:lnTo>
                    <a:lnTo>
                      <a:pt x="3163" y="32"/>
                    </a:lnTo>
                    <a:lnTo>
                      <a:pt x="3161" y="34"/>
                    </a:lnTo>
                    <a:lnTo>
                      <a:pt x="3158" y="35"/>
                    </a:lnTo>
                    <a:lnTo>
                      <a:pt x="3153" y="35"/>
                    </a:lnTo>
                    <a:lnTo>
                      <a:pt x="3145" y="35"/>
                    </a:lnTo>
                    <a:lnTo>
                      <a:pt x="3141" y="35"/>
                    </a:lnTo>
                    <a:lnTo>
                      <a:pt x="3140" y="35"/>
                    </a:lnTo>
                    <a:lnTo>
                      <a:pt x="3144" y="34"/>
                    </a:lnTo>
                    <a:lnTo>
                      <a:pt x="3146" y="31"/>
                    </a:lnTo>
                    <a:lnTo>
                      <a:pt x="3148" y="30"/>
                    </a:lnTo>
                    <a:lnTo>
                      <a:pt x="3150" y="27"/>
                    </a:lnTo>
                    <a:lnTo>
                      <a:pt x="3154" y="25"/>
                    </a:lnTo>
                    <a:lnTo>
                      <a:pt x="3154" y="23"/>
                    </a:lnTo>
                    <a:lnTo>
                      <a:pt x="3150" y="21"/>
                    </a:lnTo>
                    <a:lnTo>
                      <a:pt x="3148" y="21"/>
                    </a:lnTo>
                    <a:lnTo>
                      <a:pt x="3145" y="21"/>
                    </a:lnTo>
                    <a:lnTo>
                      <a:pt x="3142" y="21"/>
                    </a:lnTo>
                    <a:lnTo>
                      <a:pt x="3140" y="19"/>
                    </a:lnTo>
                    <a:lnTo>
                      <a:pt x="3137" y="19"/>
                    </a:lnTo>
                    <a:lnTo>
                      <a:pt x="3134" y="22"/>
                    </a:lnTo>
                    <a:lnTo>
                      <a:pt x="3129" y="22"/>
                    </a:lnTo>
                    <a:lnTo>
                      <a:pt x="3131" y="21"/>
                    </a:lnTo>
                    <a:lnTo>
                      <a:pt x="3133" y="17"/>
                    </a:lnTo>
                    <a:lnTo>
                      <a:pt x="3125" y="18"/>
                    </a:lnTo>
                    <a:lnTo>
                      <a:pt x="3123" y="18"/>
                    </a:lnTo>
                    <a:lnTo>
                      <a:pt x="3120" y="18"/>
                    </a:lnTo>
                    <a:lnTo>
                      <a:pt x="3117" y="17"/>
                    </a:lnTo>
                    <a:lnTo>
                      <a:pt x="3111" y="19"/>
                    </a:lnTo>
                    <a:lnTo>
                      <a:pt x="3108" y="18"/>
                    </a:lnTo>
                    <a:lnTo>
                      <a:pt x="3111" y="17"/>
                    </a:lnTo>
                    <a:lnTo>
                      <a:pt x="3114" y="17"/>
                    </a:lnTo>
                    <a:lnTo>
                      <a:pt x="3116" y="16"/>
                    </a:lnTo>
                    <a:lnTo>
                      <a:pt x="3122" y="16"/>
                    </a:lnTo>
                    <a:lnTo>
                      <a:pt x="3125" y="15"/>
                    </a:lnTo>
                    <a:lnTo>
                      <a:pt x="3128" y="14"/>
                    </a:lnTo>
                    <a:lnTo>
                      <a:pt x="3131" y="12"/>
                    </a:lnTo>
                    <a:lnTo>
                      <a:pt x="3133" y="10"/>
                    </a:lnTo>
                    <a:lnTo>
                      <a:pt x="3137" y="12"/>
                    </a:lnTo>
                    <a:lnTo>
                      <a:pt x="3134" y="8"/>
                    </a:lnTo>
                    <a:lnTo>
                      <a:pt x="3132" y="6"/>
                    </a:lnTo>
                    <a:lnTo>
                      <a:pt x="3130" y="5"/>
                    </a:lnTo>
                    <a:lnTo>
                      <a:pt x="3127" y="6"/>
                    </a:lnTo>
                    <a:lnTo>
                      <a:pt x="3124" y="5"/>
                    </a:lnTo>
                    <a:lnTo>
                      <a:pt x="3119" y="4"/>
                    </a:lnTo>
                    <a:lnTo>
                      <a:pt x="3115" y="1"/>
                    </a:lnTo>
                    <a:lnTo>
                      <a:pt x="3113" y="1"/>
                    </a:lnTo>
                    <a:lnTo>
                      <a:pt x="3110" y="0"/>
                    </a:lnTo>
                    <a:lnTo>
                      <a:pt x="3107" y="0"/>
                    </a:lnTo>
                    <a:lnTo>
                      <a:pt x="3098" y="4"/>
                    </a:lnTo>
                    <a:lnTo>
                      <a:pt x="3096" y="2"/>
                    </a:lnTo>
                    <a:lnTo>
                      <a:pt x="3093" y="4"/>
                    </a:lnTo>
                    <a:lnTo>
                      <a:pt x="3090" y="6"/>
                    </a:lnTo>
                    <a:lnTo>
                      <a:pt x="3087" y="7"/>
                    </a:lnTo>
                    <a:lnTo>
                      <a:pt x="3085" y="8"/>
                    </a:lnTo>
                    <a:lnTo>
                      <a:pt x="3081" y="10"/>
                    </a:lnTo>
                    <a:lnTo>
                      <a:pt x="3079" y="10"/>
                    </a:lnTo>
                    <a:lnTo>
                      <a:pt x="3079" y="13"/>
                    </a:lnTo>
                    <a:lnTo>
                      <a:pt x="3077" y="14"/>
                    </a:lnTo>
                    <a:lnTo>
                      <a:pt x="3072" y="17"/>
                    </a:lnTo>
                    <a:lnTo>
                      <a:pt x="3071" y="21"/>
                    </a:lnTo>
                    <a:lnTo>
                      <a:pt x="3068" y="22"/>
                    </a:lnTo>
                    <a:lnTo>
                      <a:pt x="3065" y="24"/>
                    </a:lnTo>
                    <a:lnTo>
                      <a:pt x="3068" y="27"/>
                    </a:lnTo>
                    <a:lnTo>
                      <a:pt x="3070" y="27"/>
                    </a:lnTo>
                    <a:lnTo>
                      <a:pt x="3069" y="31"/>
                    </a:lnTo>
                    <a:lnTo>
                      <a:pt x="3069" y="33"/>
                    </a:lnTo>
                    <a:lnTo>
                      <a:pt x="3072" y="35"/>
                    </a:lnTo>
                    <a:lnTo>
                      <a:pt x="3084" y="38"/>
                    </a:lnTo>
                    <a:lnTo>
                      <a:pt x="3081" y="39"/>
                    </a:lnTo>
                    <a:lnTo>
                      <a:pt x="3078" y="36"/>
                    </a:lnTo>
                    <a:lnTo>
                      <a:pt x="3074" y="36"/>
                    </a:lnTo>
                    <a:lnTo>
                      <a:pt x="3072" y="36"/>
                    </a:lnTo>
                    <a:lnTo>
                      <a:pt x="3069" y="36"/>
                    </a:lnTo>
                    <a:lnTo>
                      <a:pt x="3067" y="35"/>
                    </a:lnTo>
                    <a:lnTo>
                      <a:pt x="3057" y="36"/>
                    </a:lnTo>
                    <a:lnTo>
                      <a:pt x="3054" y="35"/>
                    </a:lnTo>
                    <a:lnTo>
                      <a:pt x="3046" y="36"/>
                    </a:lnTo>
                    <a:lnTo>
                      <a:pt x="3043" y="35"/>
                    </a:lnTo>
                    <a:lnTo>
                      <a:pt x="3040" y="35"/>
                    </a:lnTo>
                    <a:lnTo>
                      <a:pt x="3040" y="38"/>
                    </a:lnTo>
                    <a:lnTo>
                      <a:pt x="3046" y="42"/>
                    </a:lnTo>
                    <a:lnTo>
                      <a:pt x="3048" y="42"/>
                    </a:lnTo>
                    <a:lnTo>
                      <a:pt x="3052" y="48"/>
                    </a:lnTo>
                    <a:lnTo>
                      <a:pt x="3052" y="48"/>
                    </a:lnTo>
                    <a:lnTo>
                      <a:pt x="3048" y="48"/>
                    </a:lnTo>
                    <a:lnTo>
                      <a:pt x="3048" y="45"/>
                    </a:lnTo>
                    <a:lnTo>
                      <a:pt x="3043" y="47"/>
                    </a:lnTo>
                    <a:lnTo>
                      <a:pt x="3040" y="43"/>
                    </a:lnTo>
                    <a:lnTo>
                      <a:pt x="3038" y="44"/>
                    </a:lnTo>
                    <a:lnTo>
                      <a:pt x="3036" y="43"/>
                    </a:lnTo>
                    <a:lnTo>
                      <a:pt x="3033" y="44"/>
                    </a:lnTo>
                    <a:lnTo>
                      <a:pt x="3027" y="45"/>
                    </a:lnTo>
                    <a:lnTo>
                      <a:pt x="3029" y="47"/>
                    </a:lnTo>
                    <a:lnTo>
                      <a:pt x="3027" y="48"/>
                    </a:lnTo>
                    <a:lnTo>
                      <a:pt x="3025" y="48"/>
                    </a:lnTo>
                    <a:lnTo>
                      <a:pt x="3021" y="48"/>
                    </a:lnTo>
                    <a:lnTo>
                      <a:pt x="3025" y="49"/>
                    </a:lnTo>
                    <a:lnTo>
                      <a:pt x="3019" y="50"/>
                    </a:lnTo>
                    <a:lnTo>
                      <a:pt x="3016" y="51"/>
                    </a:lnTo>
                    <a:lnTo>
                      <a:pt x="3018" y="49"/>
                    </a:lnTo>
                    <a:lnTo>
                      <a:pt x="3014" y="50"/>
                    </a:lnTo>
                    <a:lnTo>
                      <a:pt x="3012" y="51"/>
                    </a:lnTo>
                    <a:lnTo>
                      <a:pt x="3006" y="53"/>
                    </a:lnTo>
                    <a:lnTo>
                      <a:pt x="3009" y="50"/>
                    </a:lnTo>
                    <a:lnTo>
                      <a:pt x="3005" y="49"/>
                    </a:lnTo>
                    <a:lnTo>
                      <a:pt x="3003" y="51"/>
                    </a:lnTo>
                    <a:lnTo>
                      <a:pt x="3000" y="51"/>
                    </a:lnTo>
                    <a:lnTo>
                      <a:pt x="2994" y="53"/>
                    </a:lnTo>
                    <a:lnTo>
                      <a:pt x="3000" y="48"/>
                    </a:lnTo>
                    <a:lnTo>
                      <a:pt x="2997" y="45"/>
                    </a:lnTo>
                    <a:lnTo>
                      <a:pt x="2992" y="45"/>
                    </a:lnTo>
                    <a:lnTo>
                      <a:pt x="2989" y="47"/>
                    </a:lnTo>
                    <a:lnTo>
                      <a:pt x="2986" y="47"/>
                    </a:lnTo>
                    <a:lnTo>
                      <a:pt x="2980" y="45"/>
                    </a:lnTo>
                    <a:lnTo>
                      <a:pt x="2980" y="48"/>
                    </a:lnTo>
                    <a:lnTo>
                      <a:pt x="2977" y="47"/>
                    </a:lnTo>
                    <a:lnTo>
                      <a:pt x="2968" y="47"/>
                    </a:lnTo>
                    <a:lnTo>
                      <a:pt x="2971" y="48"/>
                    </a:lnTo>
                    <a:lnTo>
                      <a:pt x="2969" y="49"/>
                    </a:lnTo>
                    <a:lnTo>
                      <a:pt x="2963" y="48"/>
                    </a:lnTo>
                    <a:lnTo>
                      <a:pt x="2960" y="47"/>
                    </a:lnTo>
                    <a:lnTo>
                      <a:pt x="2958" y="48"/>
                    </a:lnTo>
                    <a:lnTo>
                      <a:pt x="2956" y="51"/>
                    </a:lnTo>
                    <a:lnTo>
                      <a:pt x="2959" y="52"/>
                    </a:lnTo>
                    <a:lnTo>
                      <a:pt x="2962" y="50"/>
                    </a:lnTo>
                    <a:lnTo>
                      <a:pt x="2963" y="53"/>
                    </a:lnTo>
                    <a:lnTo>
                      <a:pt x="2965" y="51"/>
                    </a:lnTo>
                    <a:lnTo>
                      <a:pt x="2968" y="52"/>
                    </a:lnTo>
                    <a:lnTo>
                      <a:pt x="2974" y="51"/>
                    </a:lnTo>
                    <a:lnTo>
                      <a:pt x="2971" y="52"/>
                    </a:lnTo>
                    <a:lnTo>
                      <a:pt x="2962" y="55"/>
                    </a:lnTo>
                    <a:lnTo>
                      <a:pt x="2946" y="57"/>
                    </a:lnTo>
                    <a:lnTo>
                      <a:pt x="2941" y="57"/>
                    </a:lnTo>
                    <a:lnTo>
                      <a:pt x="2939" y="60"/>
                    </a:lnTo>
                    <a:lnTo>
                      <a:pt x="2936" y="59"/>
                    </a:lnTo>
                    <a:lnTo>
                      <a:pt x="2931" y="60"/>
                    </a:lnTo>
                    <a:lnTo>
                      <a:pt x="2928" y="59"/>
                    </a:lnTo>
                    <a:lnTo>
                      <a:pt x="2925" y="60"/>
                    </a:lnTo>
                    <a:lnTo>
                      <a:pt x="2917" y="61"/>
                    </a:lnTo>
                    <a:lnTo>
                      <a:pt x="2917" y="64"/>
                    </a:lnTo>
                    <a:lnTo>
                      <a:pt x="2915" y="64"/>
                    </a:lnTo>
                    <a:lnTo>
                      <a:pt x="2911" y="65"/>
                    </a:lnTo>
                    <a:lnTo>
                      <a:pt x="2906" y="65"/>
                    </a:lnTo>
                    <a:lnTo>
                      <a:pt x="2903" y="65"/>
                    </a:lnTo>
                    <a:lnTo>
                      <a:pt x="2898" y="69"/>
                    </a:lnTo>
                    <a:lnTo>
                      <a:pt x="2894" y="70"/>
                    </a:lnTo>
                    <a:lnTo>
                      <a:pt x="2892" y="74"/>
                    </a:lnTo>
                    <a:lnTo>
                      <a:pt x="2889" y="75"/>
                    </a:lnTo>
                    <a:lnTo>
                      <a:pt x="2883" y="74"/>
                    </a:lnTo>
                    <a:lnTo>
                      <a:pt x="2877" y="73"/>
                    </a:lnTo>
                    <a:lnTo>
                      <a:pt x="2875" y="74"/>
                    </a:lnTo>
                    <a:lnTo>
                      <a:pt x="2876" y="75"/>
                    </a:lnTo>
                    <a:lnTo>
                      <a:pt x="2882" y="76"/>
                    </a:lnTo>
                    <a:lnTo>
                      <a:pt x="2885" y="76"/>
                    </a:lnTo>
                    <a:lnTo>
                      <a:pt x="2884" y="79"/>
                    </a:lnTo>
                    <a:lnTo>
                      <a:pt x="2881" y="77"/>
                    </a:lnTo>
                    <a:lnTo>
                      <a:pt x="2878" y="77"/>
                    </a:lnTo>
                    <a:lnTo>
                      <a:pt x="2881" y="78"/>
                    </a:lnTo>
                    <a:lnTo>
                      <a:pt x="2878" y="81"/>
                    </a:lnTo>
                    <a:lnTo>
                      <a:pt x="2877" y="83"/>
                    </a:lnTo>
                    <a:lnTo>
                      <a:pt x="2874" y="84"/>
                    </a:lnTo>
                    <a:lnTo>
                      <a:pt x="2875" y="87"/>
                    </a:lnTo>
                    <a:lnTo>
                      <a:pt x="2872" y="87"/>
                    </a:lnTo>
                    <a:lnTo>
                      <a:pt x="2869" y="85"/>
                    </a:lnTo>
                    <a:lnTo>
                      <a:pt x="2867" y="85"/>
                    </a:lnTo>
                    <a:lnTo>
                      <a:pt x="2865" y="83"/>
                    </a:lnTo>
                    <a:lnTo>
                      <a:pt x="2863" y="85"/>
                    </a:lnTo>
                    <a:lnTo>
                      <a:pt x="2860" y="86"/>
                    </a:lnTo>
                    <a:lnTo>
                      <a:pt x="2863" y="87"/>
                    </a:lnTo>
                    <a:lnTo>
                      <a:pt x="2872" y="90"/>
                    </a:lnTo>
                    <a:lnTo>
                      <a:pt x="2872" y="92"/>
                    </a:lnTo>
                    <a:lnTo>
                      <a:pt x="2875" y="93"/>
                    </a:lnTo>
                    <a:lnTo>
                      <a:pt x="2877" y="94"/>
                    </a:lnTo>
                    <a:lnTo>
                      <a:pt x="2876" y="96"/>
                    </a:lnTo>
                    <a:lnTo>
                      <a:pt x="2874" y="96"/>
                    </a:lnTo>
                    <a:lnTo>
                      <a:pt x="2872" y="94"/>
                    </a:lnTo>
                    <a:lnTo>
                      <a:pt x="2868" y="92"/>
                    </a:lnTo>
                    <a:lnTo>
                      <a:pt x="2866" y="93"/>
                    </a:lnTo>
                    <a:lnTo>
                      <a:pt x="2863" y="93"/>
                    </a:lnTo>
                    <a:lnTo>
                      <a:pt x="2866" y="94"/>
                    </a:lnTo>
                    <a:lnTo>
                      <a:pt x="2863" y="95"/>
                    </a:lnTo>
                    <a:lnTo>
                      <a:pt x="2865" y="98"/>
                    </a:lnTo>
                    <a:lnTo>
                      <a:pt x="2871" y="98"/>
                    </a:lnTo>
                    <a:lnTo>
                      <a:pt x="2873" y="100"/>
                    </a:lnTo>
                    <a:lnTo>
                      <a:pt x="2874" y="102"/>
                    </a:lnTo>
                    <a:lnTo>
                      <a:pt x="2880" y="103"/>
                    </a:lnTo>
                    <a:lnTo>
                      <a:pt x="2876" y="103"/>
                    </a:lnTo>
                    <a:lnTo>
                      <a:pt x="2878" y="108"/>
                    </a:lnTo>
                    <a:lnTo>
                      <a:pt x="2877" y="108"/>
                    </a:lnTo>
                    <a:lnTo>
                      <a:pt x="2876" y="108"/>
                    </a:lnTo>
                    <a:lnTo>
                      <a:pt x="2874" y="108"/>
                    </a:lnTo>
                    <a:lnTo>
                      <a:pt x="2863" y="108"/>
                    </a:lnTo>
                    <a:lnTo>
                      <a:pt x="2859" y="109"/>
                    </a:lnTo>
                    <a:lnTo>
                      <a:pt x="2857" y="109"/>
                    </a:lnTo>
                    <a:lnTo>
                      <a:pt x="2855" y="112"/>
                    </a:lnTo>
                    <a:lnTo>
                      <a:pt x="2851" y="112"/>
                    </a:lnTo>
                    <a:lnTo>
                      <a:pt x="2849" y="112"/>
                    </a:lnTo>
                    <a:lnTo>
                      <a:pt x="2847" y="111"/>
                    </a:lnTo>
                    <a:lnTo>
                      <a:pt x="2843" y="111"/>
                    </a:lnTo>
                    <a:lnTo>
                      <a:pt x="2838" y="112"/>
                    </a:lnTo>
                    <a:lnTo>
                      <a:pt x="2832" y="112"/>
                    </a:lnTo>
                    <a:lnTo>
                      <a:pt x="2826" y="113"/>
                    </a:lnTo>
                    <a:lnTo>
                      <a:pt x="2815" y="113"/>
                    </a:lnTo>
                    <a:lnTo>
                      <a:pt x="2806" y="113"/>
                    </a:lnTo>
                    <a:lnTo>
                      <a:pt x="2800" y="113"/>
                    </a:lnTo>
                    <a:lnTo>
                      <a:pt x="2798" y="115"/>
                    </a:lnTo>
                    <a:lnTo>
                      <a:pt x="2795" y="115"/>
                    </a:lnTo>
                    <a:lnTo>
                      <a:pt x="2792" y="116"/>
                    </a:lnTo>
                    <a:lnTo>
                      <a:pt x="2789" y="118"/>
                    </a:lnTo>
                    <a:lnTo>
                      <a:pt x="2787" y="120"/>
                    </a:lnTo>
                    <a:lnTo>
                      <a:pt x="2784" y="124"/>
                    </a:lnTo>
                    <a:lnTo>
                      <a:pt x="2788" y="125"/>
                    </a:lnTo>
                    <a:lnTo>
                      <a:pt x="2784" y="126"/>
                    </a:lnTo>
                    <a:lnTo>
                      <a:pt x="2788" y="129"/>
                    </a:lnTo>
                    <a:lnTo>
                      <a:pt x="2790" y="130"/>
                    </a:lnTo>
                    <a:lnTo>
                      <a:pt x="2791" y="133"/>
                    </a:lnTo>
                    <a:lnTo>
                      <a:pt x="2790" y="136"/>
                    </a:lnTo>
                    <a:lnTo>
                      <a:pt x="2789" y="138"/>
                    </a:lnTo>
                    <a:lnTo>
                      <a:pt x="2791" y="141"/>
                    </a:lnTo>
                    <a:lnTo>
                      <a:pt x="2791" y="144"/>
                    </a:lnTo>
                    <a:lnTo>
                      <a:pt x="2797" y="147"/>
                    </a:lnTo>
                    <a:lnTo>
                      <a:pt x="2805" y="149"/>
                    </a:lnTo>
                    <a:lnTo>
                      <a:pt x="2807" y="150"/>
                    </a:lnTo>
                    <a:lnTo>
                      <a:pt x="2811" y="150"/>
                    </a:lnTo>
                    <a:lnTo>
                      <a:pt x="2812" y="153"/>
                    </a:lnTo>
                    <a:lnTo>
                      <a:pt x="2812" y="155"/>
                    </a:lnTo>
                    <a:lnTo>
                      <a:pt x="2815" y="156"/>
                    </a:lnTo>
                    <a:lnTo>
                      <a:pt x="2817" y="161"/>
                    </a:lnTo>
                    <a:lnTo>
                      <a:pt x="2817" y="162"/>
                    </a:lnTo>
                    <a:lnTo>
                      <a:pt x="2809" y="164"/>
                    </a:lnTo>
                    <a:lnTo>
                      <a:pt x="2804" y="164"/>
                    </a:lnTo>
                    <a:lnTo>
                      <a:pt x="2798" y="162"/>
                    </a:lnTo>
                    <a:lnTo>
                      <a:pt x="2796" y="160"/>
                    </a:lnTo>
                    <a:lnTo>
                      <a:pt x="2791" y="156"/>
                    </a:lnTo>
                    <a:lnTo>
                      <a:pt x="2789" y="154"/>
                    </a:lnTo>
                    <a:lnTo>
                      <a:pt x="2787" y="153"/>
                    </a:lnTo>
                    <a:lnTo>
                      <a:pt x="2781" y="152"/>
                    </a:lnTo>
                    <a:lnTo>
                      <a:pt x="2778" y="150"/>
                    </a:lnTo>
                    <a:lnTo>
                      <a:pt x="2775" y="149"/>
                    </a:lnTo>
                    <a:lnTo>
                      <a:pt x="2772" y="147"/>
                    </a:lnTo>
                    <a:lnTo>
                      <a:pt x="2766" y="147"/>
                    </a:lnTo>
                    <a:lnTo>
                      <a:pt x="2760" y="146"/>
                    </a:lnTo>
                    <a:lnTo>
                      <a:pt x="2760" y="147"/>
                    </a:lnTo>
                    <a:lnTo>
                      <a:pt x="2754" y="147"/>
                    </a:lnTo>
                    <a:lnTo>
                      <a:pt x="2752" y="149"/>
                    </a:lnTo>
                    <a:lnTo>
                      <a:pt x="2749" y="152"/>
                    </a:lnTo>
                    <a:lnTo>
                      <a:pt x="2746" y="151"/>
                    </a:lnTo>
                    <a:lnTo>
                      <a:pt x="2745" y="154"/>
                    </a:lnTo>
                    <a:lnTo>
                      <a:pt x="2747" y="154"/>
                    </a:lnTo>
                    <a:lnTo>
                      <a:pt x="2750" y="154"/>
                    </a:lnTo>
                    <a:lnTo>
                      <a:pt x="2753" y="154"/>
                    </a:lnTo>
                    <a:lnTo>
                      <a:pt x="2755" y="156"/>
                    </a:lnTo>
                    <a:lnTo>
                      <a:pt x="2755" y="159"/>
                    </a:lnTo>
                    <a:lnTo>
                      <a:pt x="2749" y="161"/>
                    </a:lnTo>
                    <a:lnTo>
                      <a:pt x="2747" y="161"/>
                    </a:lnTo>
                    <a:lnTo>
                      <a:pt x="2741" y="158"/>
                    </a:lnTo>
                    <a:lnTo>
                      <a:pt x="2737" y="155"/>
                    </a:lnTo>
                    <a:lnTo>
                      <a:pt x="2735" y="155"/>
                    </a:lnTo>
                    <a:lnTo>
                      <a:pt x="2729" y="158"/>
                    </a:lnTo>
                    <a:lnTo>
                      <a:pt x="2727" y="159"/>
                    </a:lnTo>
                    <a:lnTo>
                      <a:pt x="2727" y="161"/>
                    </a:lnTo>
                    <a:lnTo>
                      <a:pt x="2729" y="167"/>
                    </a:lnTo>
                    <a:lnTo>
                      <a:pt x="2735" y="170"/>
                    </a:lnTo>
                    <a:lnTo>
                      <a:pt x="2737" y="171"/>
                    </a:lnTo>
                    <a:lnTo>
                      <a:pt x="2740" y="171"/>
                    </a:lnTo>
                    <a:lnTo>
                      <a:pt x="2746" y="175"/>
                    </a:lnTo>
                    <a:lnTo>
                      <a:pt x="2748" y="175"/>
                    </a:lnTo>
                    <a:lnTo>
                      <a:pt x="2752" y="173"/>
                    </a:lnTo>
                    <a:lnTo>
                      <a:pt x="2754" y="175"/>
                    </a:lnTo>
                    <a:lnTo>
                      <a:pt x="2757" y="176"/>
                    </a:lnTo>
                    <a:lnTo>
                      <a:pt x="2756" y="178"/>
                    </a:lnTo>
                    <a:lnTo>
                      <a:pt x="2760" y="181"/>
                    </a:lnTo>
                    <a:lnTo>
                      <a:pt x="2758" y="184"/>
                    </a:lnTo>
                    <a:lnTo>
                      <a:pt x="2762" y="182"/>
                    </a:lnTo>
                    <a:lnTo>
                      <a:pt x="2764" y="182"/>
                    </a:lnTo>
                    <a:lnTo>
                      <a:pt x="2767" y="181"/>
                    </a:lnTo>
                    <a:lnTo>
                      <a:pt x="2764" y="184"/>
                    </a:lnTo>
                    <a:lnTo>
                      <a:pt x="2758" y="185"/>
                    </a:lnTo>
                    <a:lnTo>
                      <a:pt x="2756" y="184"/>
                    </a:lnTo>
                    <a:lnTo>
                      <a:pt x="2753" y="182"/>
                    </a:lnTo>
                    <a:lnTo>
                      <a:pt x="2752" y="180"/>
                    </a:lnTo>
                    <a:lnTo>
                      <a:pt x="2748" y="178"/>
                    </a:lnTo>
                    <a:lnTo>
                      <a:pt x="2739" y="177"/>
                    </a:lnTo>
                    <a:lnTo>
                      <a:pt x="2738" y="180"/>
                    </a:lnTo>
                    <a:lnTo>
                      <a:pt x="2738" y="178"/>
                    </a:lnTo>
                    <a:lnTo>
                      <a:pt x="2735" y="177"/>
                    </a:lnTo>
                    <a:lnTo>
                      <a:pt x="2727" y="177"/>
                    </a:lnTo>
                    <a:lnTo>
                      <a:pt x="2723" y="176"/>
                    </a:lnTo>
                    <a:lnTo>
                      <a:pt x="2719" y="175"/>
                    </a:lnTo>
                    <a:lnTo>
                      <a:pt x="2715" y="173"/>
                    </a:lnTo>
                    <a:lnTo>
                      <a:pt x="2715" y="170"/>
                    </a:lnTo>
                    <a:lnTo>
                      <a:pt x="2719" y="169"/>
                    </a:lnTo>
                    <a:lnTo>
                      <a:pt x="2718" y="166"/>
                    </a:lnTo>
                    <a:lnTo>
                      <a:pt x="2715" y="163"/>
                    </a:lnTo>
                    <a:lnTo>
                      <a:pt x="2715" y="161"/>
                    </a:lnTo>
                    <a:lnTo>
                      <a:pt x="2715" y="158"/>
                    </a:lnTo>
                    <a:lnTo>
                      <a:pt x="2718" y="156"/>
                    </a:lnTo>
                    <a:lnTo>
                      <a:pt x="2721" y="149"/>
                    </a:lnTo>
                    <a:lnTo>
                      <a:pt x="2719" y="141"/>
                    </a:lnTo>
                    <a:lnTo>
                      <a:pt x="2719" y="137"/>
                    </a:lnTo>
                    <a:lnTo>
                      <a:pt x="2715" y="135"/>
                    </a:lnTo>
                    <a:lnTo>
                      <a:pt x="2713" y="135"/>
                    </a:lnTo>
                    <a:lnTo>
                      <a:pt x="2711" y="135"/>
                    </a:lnTo>
                    <a:lnTo>
                      <a:pt x="2710" y="137"/>
                    </a:lnTo>
                    <a:lnTo>
                      <a:pt x="2712" y="139"/>
                    </a:lnTo>
                    <a:lnTo>
                      <a:pt x="2713" y="149"/>
                    </a:lnTo>
                    <a:lnTo>
                      <a:pt x="2713" y="151"/>
                    </a:lnTo>
                    <a:lnTo>
                      <a:pt x="2711" y="153"/>
                    </a:lnTo>
                    <a:lnTo>
                      <a:pt x="2709" y="155"/>
                    </a:lnTo>
                    <a:lnTo>
                      <a:pt x="2705" y="156"/>
                    </a:lnTo>
                    <a:lnTo>
                      <a:pt x="2694" y="160"/>
                    </a:lnTo>
                    <a:lnTo>
                      <a:pt x="2692" y="161"/>
                    </a:lnTo>
                    <a:lnTo>
                      <a:pt x="2692" y="164"/>
                    </a:lnTo>
                    <a:lnTo>
                      <a:pt x="2689" y="167"/>
                    </a:lnTo>
                    <a:lnTo>
                      <a:pt x="2687" y="169"/>
                    </a:lnTo>
                    <a:lnTo>
                      <a:pt x="2685" y="172"/>
                    </a:lnTo>
                    <a:lnTo>
                      <a:pt x="2690" y="175"/>
                    </a:lnTo>
                    <a:lnTo>
                      <a:pt x="2693" y="178"/>
                    </a:lnTo>
                    <a:lnTo>
                      <a:pt x="2694" y="180"/>
                    </a:lnTo>
                    <a:lnTo>
                      <a:pt x="2697" y="182"/>
                    </a:lnTo>
                    <a:lnTo>
                      <a:pt x="2697" y="186"/>
                    </a:lnTo>
                    <a:lnTo>
                      <a:pt x="2702" y="190"/>
                    </a:lnTo>
                    <a:lnTo>
                      <a:pt x="2703" y="193"/>
                    </a:lnTo>
                    <a:lnTo>
                      <a:pt x="2698" y="198"/>
                    </a:lnTo>
                    <a:lnTo>
                      <a:pt x="2696" y="201"/>
                    </a:lnTo>
                    <a:lnTo>
                      <a:pt x="2694" y="206"/>
                    </a:lnTo>
                    <a:lnTo>
                      <a:pt x="2694" y="207"/>
                    </a:lnTo>
                    <a:lnTo>
                      <a:pt x="2693" y="210"/>
                    </a:lnTo>
                    <a:lnTo>
                      <a:pt x="2692" y="213"/>
                    </a:lnTo>
                    <a:lnTo>
                      <a:pt x="2693" y="215"/>
                    </a:lnTo>
                    <a:lnTo>
                      <a:pt x="2695" y="218"/>
                    </a:lnTo>
                    <a:lnTo>
                      <a:pt x="2696" y="221"/>
                    </a:lnTo>
                    <a:lnTo>
                      <a:pt x="2696" y="223"/>
                    </a:lnTo>
                    <a:lnTo>
                      <a:pt x="2695" y="227"/>
                    </a:lnTo>
                    <a:lnTo>
                      <a:pt x="2697" y="229"/>
                    </a:lnTo>
                    <a:lnTo>
                      <a:pt x="2702" y="228"/>
                    </a:lnTo>
                    <a:lnTo>
                      <a:pt x="2705" y="228"/>
                    </a:lnTo>
                    <a:lnTo>
                      <a:pt x="2707" y="229"/>
                    </a:lnTo>
                    <a:lnTo>
                      <a:pt x="2711" y="229"/>
                    </a:lnTo>
                    <a:lnTo>
                      <a:pt x="2717" y="226"/>
                    </a:lnTo>
                    <a:lnTo>
                      <a:pt x="2720" y="224"/>
                    </a:lnTo>
                    <a:lnTo>
                      <a:pt x="2722" y="226"/>
                    </a:lnTo>
                    <a:lnTo>
                      <a:pt x="2724" y="226"/>
                    </a:lnTo>
                    <a:lnTo>
                      <a:pt x="2730" y="227"/>
                    </a:lnTo>
                    <a:lnTo>
                      <a:pt x="2736" y="228"/>
                    </a:lnTo>
                    <a:lnTo>
                      <a:pt x="2738" y="230"/>
                    </a:lnTo>
                    <a:lnTo>
                      <a:pt x="2746" y="232"/>
                    </a:lnTo>
                    <a:lnTo>
                      <a:pt x="2748" y="236"/>
                    </a:lnTo>
                    <a:lnTo>
                      <a:pt x="2749" y="238"/>
                    </a:lnTo>
                    <a:lnTo>
                      <a:pt x="2749" y="240"/>
                    </a:lnTo>
                    <a:lnTo>
                      <a:pt x="2752" y="244"/>
                    </a:lnTo>
                    <a:lnTo>
                      <a:pt x="2754" y="246"/>
                    </a:lnTo>
                    <a:lnTo>
                      <a:pt x="2754" y="248"/>
                    </a:lnTo>
                    <a:lnTo>
                      <a:pt x="2748" y="249"/>
                    </a:lnTo>
                    <a:lnTo>
                      <a:pt x="2746" y="253"/>
                    </a:lnTo>
                    <a:lnTo>
                      <a:pt x="2746" y="258"/>
                    </a:lnTo>
                    <a:lnTo>
                      <a:pt x="2746" y="261"/>
                    </a:lnTo>
                    <a:lnTo>
                      <a:pt x="2752" y="261"/>
                    </a:lnTo>
                    <a:lnTo>
                      <a:pt x="2753" y="262"/>
                    </a:lnTo>
                    <a:lnTo>
                      <a:pt x="2761" y="264"/>
                    </a:lnTo>
                    <a:lnTo>
                      <a:pt x="2763" y="263"/>
                    </a:lnTo>
                    <a:lnTo>
                      <a:pt x="2766" y="265"/>
                    </a:lnTo>
                    <a:lnTo>
                      <a:pt x="2763" y="264"/>
                    </a:lnTo>
                    <a:lnTo>
                      <a:pt x="2761" y="265"/>
                    </a:lnTo>
                    <a:lnTo>
                      <a:pt x="2760" y="265"/>
                    </a:lnTo>
                    <a:lnTo>
                      <a:pt x="2757" y="265"/>
                    </a:lnTo>
                    <a:lnTo>
                      <a:pt x="2754" y="265"/>
                    </a:lnTo>
                    <a:lnTo>
                      <a:pt x="2750" y="265"/>
                    </a:lnTo>
                    <a:lnTo>
                      <a:pt x="2741" y="261"/>
                    </a:lnTo>
                    <a:lnTo>
                      <a:pt x="2743" y="258"/>
                    </a:lnTo>
                    <a:lnTo>
                      <a:pt x="2741" y="255"/>
                    </a:lnTo>
                    <a:lnTo>
                      <a:pt x="2741" y="253"/>
                    </a:lnTo>
                    <a:lnTo>
                      <a:pt x="2744" y="249"/>
                    </a:lnTo>
                    <a:lnTo>
                      <a:pt x="2741" y="247"/>
                    </a:lnTo>
                    <a:lnTo>
                      <a:pt x="2743" y="245"/>
                    </a:lnTo>
                    <a:lnTo>
                      <a:pt x="2743" y="241"/>
                    </a:lnTo>
                    <a:lnTo>
                      <a:pt x="2740" y="241"/>
                    </a:lnTo>
                    <a:lnTo>
                      <a:pt x="2737" y="238"/>
                    </a:lnTo>
                    <a:lnTo>
                      <a:pt x="2735" y="237"/>
                    </a:lnTo>
                    <a:lnTo>
                      <a:pt x="2735" y="235"/>
                    </a:lnTo>
                    <a:lnTo>
                      <a:pt x="2732" y="231"/>
                    </a:lnTo>
                    <a:lnTo>
                      <a:pt x="2728" y="231"/>
                    </a:lnTo>
                    <a:lnTo>
                      <a:pt x="2715" y="233"/>
                    </a:lnTo>
                    <a:lnTo>
                      <a:pt x="2705" y="237"/>
                    </a:lnTo>
                    <a:lnTo>
                      <a:pt x="2704" y="240"/>
                    </a:lnTo>
                    <a:lnTo>
                      <a:pt x="2704" y="243"/>
                    </a:lnTo>
                    <a:lnTo>
                      <a:pt x="2703" y="246"/>
                    </a:lnTo>
                    <a:lnTo>
                      <a:pt x="2707" y="250"/>
                    </a:lnTo>
                    <a:lnTo>
                      <a:pt x="2710" y="256"/>
                    </a:lnTo>
                    <a:lnTo>
                      <a:pt x="2709" y="260"/>
                    </a:lnTo>
                    <a:lnTo>
                      <a:pt x="2707" y="262"/>
                    </a:lnTo>
                    <a:lnTo>
                      <a:pt x="2703" y="266"/>
                    </a:lnTo>
                    <a:lnTo>
                      <a:pt x="2700" y="267"/>
                    </a:lnTo>
                    <a:lnTo>
                      <a:pt x="2697" y="271"/>
                    </a:lnTo>
                    <a:lnTo>
                      <a:pt x="2697" y="275"/>
                    </a:lnTo>
                    <a:lnTo>
                      <a:pt x="2695" y="279"/>
                    </a:lnTo>
                    <a:lnTo>
                      <a:pt x="2693" y="280"/>
                    </a:lnTo>
                    <a:lnTo>
                      <a:pt x="2690" y="282"/>
                    </a:lnTo>
                    <a:lnTo>
                      <a:pt x="2685" y="284"/>
                    </a:lnTo>
                    <a:lnTo>
                      <a:pt x="2681" y="287"/>
                    </a:lnTo>
                    <a:lnTo>
                      <a:pt x="2679" y="287"/>
                    </a:lnTo>
                    <a:lnTo>
                      <a:pt x="2676" y="288"/>
                    </a:lnTo>
                    <a:lnTo>
                      <a:pt x="2676" y="293"/>
                    </a:lnTo>
                    <a:lnTo>
                      <a:pt x="2671" y="296"/>
                    </a:lnTo>
                    <a:lnTo>
                      <a:pt x="2668" y="296"/>
                    </a:lnTo>
                    <a:lnTo>
                      <a:pt x="2666" y="293"/>
                    </a:lnTo>
                    <a:lnTo>
                      <a:pt x="2662" y="292"/>
                    </a:lnTo>
                    <a:lnTo>
                      <a:pt x="2656" y="292"/>
                    </a:lnTo>
                    <a:lnTo>
                      <a:pt x="2649" y="293"/>
                    </a:lnTo>
                    <a:lnTo>
                      <a:pt x="2641" y="290"/>
                    </a:lnTo>
                    <a:lnTo>
                      <a:pt x="2635" y="289"/>
                    </a:lnTo>
                    <a:lnTo>
                      <a:pt x="2633" y="288"/>
                    </a:lnTo>
                    <a:lnTo>
                      <a:pt x="2632" y="284"/>
                    </a:lnTo>
                    <a:lnTo>
                      <a:pt x="2629" y="282"/>
                    </a:lnTo>
                    <a:lnTo>
                      <a:pt x="2635" y="282"/>
                    </a:lnTo>
                    <a:lnTo>
                      <a:pt x="2637" y="283"/>
                    </a:lnTo>
                    <a:lnTo>
                      <a:pt x="2643" y="282"/>
                    </a:lnTo>
                    <a:lnTo>
                      <a:pt x="2643" y="283"/>
                    </a:lnTo>
                    <a:lnTo>
                      <a:pt x="2646" y="284"/>
                    </a:lnTo>
                    <a:lnTo>
                      <a:pt x="2649" y="286"/>
                    </a:lnTo>
                    <a:lnTo>
                      <a:pt x="2654" y="283"/>
                    </a:lnTo>
                    <a:lnTo>
                      <a:pt x="2654" y="283"/>
                    </a:lnTo>
                    <a:lnTo>
                      <a:pt x="2656" y="282"/>
                    </a:lnTo>
                    <a:lnTo>
                      <a:pt x="2660" y="281"/>
                    </a:lnTo>
                    <a:lnTo>
                      <a:pt x="2668" y="279"/>
                    </a:lnTo>
                    <a:lnTo>
                      <a:pt x="2671" y="276"/>
                    </a:lnTo>
                    <a:lnTo>
                      <a:pt x="2672" y="274"/>
                    </a:lnTo>
                    <a:lnTo>
                      <a:pt x="2671" y="271"/>
                    </a:lnTo>
                    <a:lnTo>
                      <a:pt x="2673" y="271"/>
                    </a:lnTo>
                    <a:lnTo>
                      <a:pt x="2677" y="270"/>
                    </a:lnTo>
                    <a:lnTo>
                      <a:pt x="2677" y="266"/>
                    </a:lnTo>
                    <a:lnTo>
                      <a:pt x="2680" y="263"/>
                    </a:lnTo>
                    <a:lnTo>
                      <a:pt x="2686" y="261"/>
                    </a:lnTo>
                    <a:lnTo>
                      <a:pt x="2686" y="258"/>
                    </a:lnTo>
                    <a:lnTo>
                      <a:pt x="2687" y="256"/>
                    </a:lnTo>
                    <a:lnTo>
                      <a:pt x="2686" y="253"/>
                    </a:lnTo>
                    <a:lnTo>
                      <a:pt x="2686" y="250"/>
                    </a:lnTo>
                    <a:lnTo>
                      <a:pt x="2690" y="245"/>
                    </a:lnTo>
                    <a:lnTo>
                      <a:pt x="2693" y="244"/>
                    </a:lnTo>
                    <a:lnTo>
                      <a:pt x="2693" y="241"/>
                    </a:lnTo>
                    <a:lnTo>
                      <a:pt x="2687" y="238"/>
                    </a:lnTo>
                    <a:lnTo>
                      <a:pt x="2681" y="235"/>
                    </a:lnTo>
                    <a:lnTo>
                      <a:pt x="2679" y="232"/>
                    </a:lnTo>
                    <a:lnTo>
                      <a:pt x="2677" y="227"/>
                    </a:lnTo>
                    <a:lnTo>
                      <a:pt x="2679" y="224"/>
                    </a:lnTo>
                    <a:lnTo>
                      <a:pt x="2678" y="222"/>
                    </a:lnTo>
                    <a:lnTo>
                      <a:pt x="2679" y="219"/>
                    </a:lnTo>
                    <a:lnTo>
                      <a:pt x="2678" y="216"/>
                    </a:lnTo>
                    <a:lnTo>
                      <a:pt x="2679" y="213"/>
                    </a:lnTo>
                    <a:lnTo>
                      <a:pt x="2680" y="211"/>
                    </a:lnTo>
                    <a:lnTo>
                      <a:pt x="2678" y="206"/>
                    </a:lnTo>
                    <a:lnTo>
                      <a:pt x="2678" y="204"/>
                    </a:lnTo>
                    <a:lnTo>
                      <a:pt x="2678" y="202"/>
                    </a:lnTo>
                    <a:lnTo>
                      <a:pt x="2678" y="198"/>
                    </a:lnTo>
                    <a:lnTo>
                      <a:pt x="2680" y="196"/>
                    </a:lnTo>
                    <a:lnTo>
                      <a:pt x="2681" y="194"/>
                    </a:lnTo>
                    <a:lnTo>
                      <a:pt x="2680" y="192"/>
                    </a:lnTo>
                    <a:lnTo>
                      <a:pt x="2683" y="186"/>
                    </a:lnTo>
                    <a:lnTo>
                      <a:pt x="2680" y="182"/>
                    </a:lnTo>
                    <a:lnTo>
                      <a:pt x="2679" y="180"/>
                    </a:lnTo>
                    <a:lnTo>
                      <a:pt x="2677" y="178"/>
                    </a:lnTo>
                    <a:lnTo>
                      <a:pt x="2671" y="175"/>
                    </a:lnTo>
                    <a:lnTo>
                      <a:pt x="2669" y="171"/>
                    </a:lnTo>
                    <a:lnTo>
                      <a:pt x="2668" y="169"/>
                    </a:lnTo>
                    <a:lnTo>
                      <a:pt x="2673" y="166"/>
                    </a:lnTo>
                    <a:lnTo>
                      <a:pt x="2676" y="163"/>
                    </a:lnTo>
                    <a:lnTo>
                      <a:pt x="2676" y="161"/>
                    </a:lnTo>
                    <a:lnTo>
                      <a:pt x="2678" y="159"/>
                    </a:lnTo>
                    <a:lnTo>
                      <a:pt x="2678" y="156"/>
                    </a:lnTo>
                    <a:lnTo>
                      <a:pt x="2680" y="154"/>
                    </a:lnTo>
                    <a:lnTo>
                      <a:pt x="2683" y="149"/>
                    </a:lnTo>
                    <a:lnTo>
                      <a:pt x="2681" y="145"/>
                    </a:lnTo>
                    <a:lnTo>
                      <a:pt x="2681" y="141"/>
                    </a:lnTo>
                    <a:lnTo>
                      <a:pt x="2680" y="137"/>
                    </a:lnTo>
                    <a:lnTo>
                      <a:pt x="2671" y="135"/>
                    </a:lnTo>
                    <a:lnTo>
                      <a:pt x="2669" y="136"/>
                    </a:lnTo>
                    <a:lnTo>
                      <a:pt x="2666" y="134"/>
                    </a:lnTo>
                    <a:lnTo>
                      <a:pt x="2663" y="133"/>
                    </a:lnTo>
                    <a:lnTo>
                      <a:pt x="2660" y="134"/>
                    </a:lnTo>
                    <a:lnTo>
                      <a:pt x="2646" y="134"/>
                    </a:lnTo>
                    <a:lnTo>
                      <a:pt x="2637" y="134"/>
                    </a:lnTo>
                    <a:lnTo>
                      <a:pt x="2641" y="133"/>
                    </a:lnTo>
                    <a:lnTo>
                      <a:pt x="2637" y="132"/>
                    </a:lnTo>
                    <a:lnTo>
                      <a:pt x="2635" y="132"/>
                    </a:lnTo>
                    <a:lnTo>
                      <a:pt x="2634" y="135"/>
                    </a:lnTo>
                    <a:lnTo>
                      <a:pt x="2630" y="137"/>
                    </a:lnTo>
                    <a:lnTo>
                      <a:pt x="2629" y="141"/>
                    </a:lnTo>
                    <a:lnTo>
                      <a:pt x="2628" y="143"/>
                    </a:lnTo>
                    <a:lnTo>
                      <a:pt x="2627" y="149"/>
                    </a:lnTo>
                    <a:lnTo>
                      <a:pt x="2624" y="159"/>
                    </a:lnTo>
                    <a:lnTo>
                      <a:pt x="2620" y="164"/>
                    </a:lnTo>
                    <a:lnTo>
                      <a:pt x="2611" y="170"/>
                    </a:lnTo>
                    <a:lnTo>
                      <a:pt x="2603" y="175"/>
                    </a:lnTo>
                    <a:lnTo>
                      <a:pt x="2600" y="176"/>
                    </a:lnTo>
                    <a:lnTo>
                      <a:pt x="2598" y="181"/>
                    </a:lnTo>
                    <a:lnTo>
                      <a:pt x="2600" y="179"/>
                    </a:lnTo>
                    <a:lnTo>
                      <a:pt x="2600" y="182"/>
                    </a:lnTo>
                    <a:lnTo>
                      <a:pt x="2596" y="185"/>
                    </a:lnTo>
                    <a:lnTo>
                      <a:pt x="2599" y="187"/>
                    </a:lnTo>
                    <a:lnTo>
                      <a:pt x="2604" y="186"/>
                    </a:lnTo>
                    <a:lnTo>
                      <a:pt x="2607" y="187"/>
                    </a:lnTo>
                    <a:lnTo>
                      <a:pt x="2605" y="193"/>
                    </a:lnTo>
                    <a:lnTo>
                      <a:pt x="2605" y="196"/>
                    </a:lnTo>
                    <a:lnTo>
                      <a:pt x="2603" y="201"/>
                    </a:lnTo>
                    <a:lnTo>
                      <a:pt x="2607" y="204"/>
                    </a:lnTo>
                    <a:lnTo>
                      <a:pt x="2605" y="206"/>
                    </a:lnTo>
                    <a:lnTo>
                      <a:pt x="2602" y="206"/>
                    </a:lnTo>
                    <a:lnTo>
                      <a:pt x="2600" y="207"/>
                    </a:lnTo>
                    <a:lnTo>
                      <a:pt x="2599" y="213"/>
                    </a:lnTo>
                    <a:lnTo>
                      <a:pt x="2599" y="215"/>
                    </a:lnTo>
                    <a:lnTo>
                      <a:pt x="2602" y="218"/>
                    </a:lnTo>
                    <a:lnTo>
                      <a:pt x="2601" y="215"/>
                    </a:lnTo>
                    <a:lnTo>
                      <a:pt x="2603" y="214"/>
                    </a:lnTo>
                    <a:lnTo>
                      <a:pt x="2605" y="215"/>
                    </a:lnTo>
                    <a:lnTo>
                      <a:pt x="2609" y="215"/>
                    </a:lnTo>
                    <a:lnTo>
                      <a:pt x="2611" y="218"/>
                    </a:lnTo>
                    <a:lnTo>
                      <a:pt x="2615" y="219"/>
                    </a:lnTo>
                    <a:lnTo>
                      <a:pt x="2617" y="219"/>
                    </a:lnTo>
                    <a:lnTo>
                      <a:pt x="2617" y="221"/>
                    </a:lnTo>
                    <a:lnTo>
                      <a:pt x="2617" y="223"/>
                    </a:lnTo>
                    <a:lnTo>
                      <a:pt x="2618" y="227"/>
                    </a:lnTo>
                    <a:lnTo>
                      <a:pt x="2624" y="232"/>
                    </a:lnTo>
                    <a:lnTo>
                      <a:pt x="2626" y="233"/>
                    </a:lnTo>
                    <a:lnTo>
                      <a:pt x="2629" y="232"/>
                    </a:lnTo>
                    <a:lnTo>
                      <a:pt x="2632" y="232"/>
                    </a:lnTo>
                    <a:lnTo>
                      <a:pt x="2629" y="233"/>
                    </a:lnTo>
                    <a:lnTo>
                      <a:pt x="2629" y="237"/>
                    </a:lnTo>
                    <a:lnTo>
                      <a:pt x="2627" y="241"/>
                    </a:lnTo>
                    <a:lnTo>
                      <a:pt x="2625" y="245"/>
                    </a:lnTo>
                    <a:lnTo>
                      <a:pt x="2625" y="247"/>
                    </a:lnTo>
                    <a:lnTo>
                      <a:pt x="2624" y="247"/>
                    </a:lnTo>
                    <a:lnTo>
                      <a:pt x="2621" y="249"/>
                    </a:lnTo>
                    <a:lnTo>
                      <a:pt x="2619" y="248"/>
                    </a:lnTo>
                    <a:lnTo>
                      <a:pt x="2618" y="245"/>
                    </a:lnTo>
                    <a:lnTo>
                      <a:pt x="2612" y="243"/>
                    </a:lnTo>
                    <a:lnTo>
                      <a:pt x="2604" y="237"/>
                    </a:lnTo>
                    <a:lnTo>
                      <a:pt x="2603" y="235"/>
                    </a:lnTo>
                    <a:lnTo>
                      <a:pt x="2598" y="233"/>
                    </a:lnTo>
                    <a:lnTo>
                      <a:pt x="2592" y="231"/>
                    </a:lnTo>
                    <a:lnTo>
                      <a:pt x="2586" y="229"/>
                    </a:lnTo>
                    <a:lnTo>
                      <a:pt x="2584" y="228"/>
                    </a:lnTo>
                    <a:lnTo>
                      <a:pt x="2586" y="228"/>
                    </a:lnTo>
                    <a:lnTo>
                      <a:pt x="2581" y="227"/>
                    </a:lnTo>
                    <a:lnTo>
                      <a:pt x="2575" y="224"/>
                    </a:lnTo>
                    <a:lnTo>
                      <a:pt x="2574" y="227"/>
                    </a:lnTo>
                    <a:lnTo>
                      <a:pt x="2573" y="227"/>
                    </a:lnTo>
                    <a:lnTo>
                      <a:pt x="2572" y="226"/>
                    </a:lnTo>
                    <a:lnTo>
                      <a:pt x="2573" y="222"/>
                    </a:lnTo>
                    <a:lnTo>
                      <a:pt x="2565" y="219"/>
                    </a:lnTo>
                    <a:lnTo>
                      <a:pt x="2550" y="214"/>
                    </a:lnTo>
                    <a:lnTo>
                      <a:pt x="2539" y="213"/>
                    </a:lnTo>
                    <a:lnTo>
                      <a:pt x="2533" y="213"/>
                    </a:lnTo>
                    <a:lnTo>
                      <a:pt x="2527" y="212"/>
                    </a:lnTo>
                    <a:lnTo>
                      <a:pt x="2519" y="210"/>
                    </a:lnTo>
                    <a:lnTo>
                      <a:pt x="2516" y="211"/>
                    </a:lnTo>
                    <a:lnTo>
                      <a:pt x="2516" y="213"/>
                    </a:lnTo>
                    <a:lnTo>
                      <a:pt x="2513" y="214"/>
                    </a:lnTo>
                    <a:lnTo>
                      <a:pt x="2510" y="214"/>
                    </a:lnTo>
                    <a:lnTo>
                      <a:pt x="2509" y="218"/>
                    </a:lnTo>
                    <a:lnTo>
                      <a:pt x="2510" y="220"/>
                    </a:lnTo>
                    <a:lnTo>
                      <a:pt x="2514" y="223"/>
                    </a:lnTo>
                    <a:lnTo>
                      <a:pt x="2516" y="229"/>
                    </a:lnTo>
                    <a:lnTo>
                      <a:pt x="2519" y="228"/>
                    </a:lnTo>
                    <a:lnTo>
                      <a:pt x="2519" y="231"/>
                    </a:lnTo>
                    <a:lnTo>
                      <a:pt x="2517" y="233"/>
                    </a:lnTo>
                    <a:lnTo>
                      <a:pt x="2515" y="237"/>
                    </a:lnTo>
                    <a:lnTo>
                      <a:pt x="2511" y="238"/>
                    </a:lnTo>
                    <a:lnTo>
                      <a:pt x="2509" y="238"/>
                    </a:lnTo>
                    <a:lnTo>
                      <a:pt x="2506" y="238"/>
                    </a:lnTo>
                    <a:lnTo>
                      <a:pt x="2502" y="239"/>
                    </a:lnTo>
                    <a:lnTo>
                      <a:pt x="2506" y="243"/>
                    </a:lnTo>
                    <a:lnTo>
                      <a:pt x="2505" y="245"/>
                    </a:lnTo>
                    <a:lnTo>
                      <a:pt x="2502" y="247"/>
                    </a:lnTo>
                    <a:lnTo>
                      <a:pt x="2499" y="246"/>
                    </a:lnTo>
                    <a:lnTo>
                      <a:pt x="2497" y="246"/>
                    </a:lnTo>
                    <a:lnTo>
                      <a:pt x="2493" y="244"/>
                    </a:lnTo>
                    <a:lnTo>
                      <a:pt x="2493" y="240"/>
                    </a:lnTo>
                    <a:lnTo>
                      <a:pt x="2496" y="238"/>
                    </a:lnTo>
                    <a:lnTo>
                      <a:pt x="2498" y="238"/>
                    </a:lnTo>
                    <a:lnTo>
                      <a:pt x="2497" y="235"/>
                    </a:lnTo>
                    <a:lnTo>
                      <a:pt x="2493" y="233"/>
                    </a:lnTo>
                    <a:lnTo>
                      <a:pt x="2491" y="232"/>
                    </a:lnTo>
                    <a:lnTo>
                      <a:pt x="2493" y="231"/>
                    </a:lnTo>
                    <a:lnTo>
                      <a:pt x="2491" y="231"/>
                    </a:lnTo>
                    <a:lnTo>
                      <a:pt x="2489" y="231"/>
                    </a:lnTo>
                    <a:lnTo>
                      <a:pt x="2485" y="232"/>
                    </a:lnTo>
                    <a:lnTo>
                      <a:pt x="2483" y="233"/>
                    </a:lnTo>
                    <a:lnTo>
                      <a:pt x="2483" y="237"/>
                    </a:lnTo>
                    <a:lnTo>
                      <a:pt x="2481" y="233"/>
                    </a:lnTo>
                    <a:lnTo>
                      <a:pt x="2479" y="237"/>
                    </a:lnTo>
                    <a:lnTo>
                      <a:pt x="2473" y="238"/>
                    </a:lnTo>
                    <a:lnTo>
                      <a:pt x="2471" y="240"/>
                    </a:lnTo>
                    <a:lnTo>
                      <a:pt x="2468" y="241"/>
                    </a:lnTo>
                    <a:lnTo>
                      <a:pt x="2465" y="241"/>
                    </a:lnTo>
                    <a:lnTo>
                      <a:pt x="2459" y="239"/>
                    </a:lnTo>
                    <a:lnTo>
                      <a:pt x="2455" y="240"/>
                    </a:lnTo>
                    <a:lnTo>
                      <a:pt x="2451" y="239"/>
                    </a:lnTo>
                    <a:lnTo>
                      <a:pt x="2449" y="240"/>
                    </a:lnTo>
                    <a:lnTo>
                      <a:pt x="2444" y="241"/>
                    </a:lnTo>
                    <a:lnTo>
                      <a:pt x="2438" y="245"/>
                    </a:lnTo>
                    <a:lnTo>
                      <a:pt x="2437" y="245"/>
                    </a:lnTo>
                    <a:lnTo>
                      <a:pt x="2437" y="248"/>
                    </a:lnTo>
                    <a:lnTo>
                      <a:pt x="2436" y="250"/>
                    </a:lnTo>
                    <a:lnTo>
                      <a:pt x="2430" y="248"/>
                    </a:lnTo>
                    <a:lnTo>
                      <a:pt x="2428" y="249"/>
                    </a:lnTo>
                    <a:lnTo>
                      <a:pt x="2425" y="248"/>
                    </a:lnTo>
                    <a:lnTo>
                      <a:pt x="2423" y="249"/>
                    </a:lnTo>
                    <a:lnTo>
                      <a:pt x="2422" y="249"/>
                    </a:lnTo>
                    <a:lnTo>
                      <a:pt x="2420" y="248"/>
                    </a:lnTo>
                    <a:lnTo>
                      <a:pt x="2414" y="248"/>
                    </a:lnTo>
                    <a:lnTo>
                      <a:pt x="2415" y="246"/>
                    </a:lnTo>
                    <a:lnTo>
                      <a:pt x="2421" y="246"/>
                    </a:lnTo>
                    <a:lnTo>
                      <a:pt x="2423" y="245"/>
                    </a:lnTo>
                    <a:lnTo>
                      <a:pt x="2422" y="243"/>
                    </a:lnTo>
                    <a:lnTo>
                      <a:pt x="2420" y="239"/>
                    </a:lnTo>
                    <a:lnTo>
                      <a:pt x="2423" y="233"/>
                    </a:lnTo>
                    <a:lnTo>
                      <a:pt x="2421" y="232"/>
                    </a:lnTo>
                    <a:lnTo>
                      <a:pt x="2427" y="232"/>
                    </a:lnTo>
                    <a:lnTo>
                      <a:pt x="2429" y="231"/>
                    </a:lnTo>
                    <a:lnTo>
                      <a:pt x="2427" y="231"/>
                    </a:lnTo>
                    <a:lnTo>
                      <a:pt x="2421" y="231"/>
                    </a:lnTo>
                    <a:lnTo>
                      <a:pt x="2415" y="233"/>
                    </a:lnTo>
                    <a:lnTo>
                      <a:pt x="2405" y="238"/>
                    </a:lnTo>
                    <a:lnTo>
                      <a:pt x="2403" y="240"/>
                    </a:lnTo>
                    <a:lnTo>
                      <a:pt x="2406" y="239"/>
                    </a:lnTo>
                    <a:lnTo>
                      <a:pt x="2405" y="245"/>
                    </a:lnTo>
                    <a:lnTo>
                      <a:pt x="2402" y="247"/>
                    </a:lnTo>
                    <a:lnTo>
                      <a:pt x="2399" y="247"/>
                    </a:lnTo>
                    <a:lnTo>
                      <a:pt x="2400" y="244"/>
                    </a:lnTo>
                    <a:lnTo>
                      <a:pt x="2399" y="241"/>
                    </a:lnTo>
                    <a:lnTo>
                      <a:pt x="2394" y="243"/>
                    </a:lnTo>
                    <a:lnTo>
                      <a:pt x="2391" y="244"/>
                    </a:lnTo>
                    <a:lnTo>
                      <a:pt x="2386" y="246"/>
                    </a:lnTo>
                    <a:lnTo>
                      <a:pt x="2383" y="246"/>
                    </a:lnTo>
                    <a:lnTo>
                      <a:pt x="2380" y="246"/>
                    </a:lnTo>
                    <a:lnTo>
                      <a:pt x="2378" y="248"/>
                    </a:lnTo>
                    <a:lnTo>
                      <a:pt x="2372" y="250"/>
                    </a:lnTo>
                    <a:lnTo>
                      <a:pt x="2370" y="254"/>
                    </a:lnTo>
                    <a:lnTo>
                      <a:pt x="2369" y="253"/>
                    </a:lnTo>
                    <a:lnTo>
                      <a:pt x="2364" y="255"/>
                    </a:lnTo>
                    <a:lnTo>
                      <a:pt x="2359" y="257"/>
                    </a:lnTo>
                    <a:lnTo>
                      <a:pt x="2353" y="258"/>
                    </a:lnTo>
                    <a:lnTo>
                      <a:pt x="2354" y="261"/>
                    </a:lnTo>
                    <a:lnTo>
                      <a:pt x="2356" y="263"/>
                    </a:lnTo>
                    <a:lnTo>
                      <a:pt x="2354" y="262"/>
                    </a:lnTo>
                    <a:lnTo>
                      <a:pt x="2351" y="262"/>
                    </a:lnTo>
                    <a:lnTo>
                      <a:pt x="2348" y="263"/>
                    </a:lnTo>
                    <a:lnTo>
                      <a:pt x="2345" y="262"/>
                    </a:lnTo>
                    <a:lnTo>
                      <a:pt x="2343" y="263"/>
                    </a:lnTo>
                    <a:lnTo>
                      <a:pt x="2340" y="264"/>
                    </a:lnTo>
                    <a:lnTo>
                      <a:pt x="2340" y="266"/>
                    </a:lnTo>
                    <a:lnTo>
                      <a:pt x="2339" y="270"/>
                    </a:lnTo>
                    <a:lnTo>
                      <a:pt x="2339" y="272"/>
                    </a:lnTo>
                    <a:lnTo>
                      <a:pt x="2338" y="278"/>
                    </a:lnTo>
                    <a:lnTo>
                      <a:pt x="2336" y="281"/>
                    </a:lnTo>
                    <a:lnTo>
                      <a:pt x="2334" y="280"/>
                    </a:lnTo>
                    <a:lnTo>
                      <a:pt x="2322" y="282"/>
                    </a:lnTo>
                    <a:lnTo>
                      <a:pt x="2320" y="283"/>
                    </a:lnTo>
                    <a:lnTo>
                      <a:pt x="2321" y="281"/>
                    </a:lnTo>
                    <a:lnTo>
                      <a:pt x="2316" y="282"/>
                    </a:lnTo>
                    <a:lnTo>
                      <a:pt x="2312" y="280"/>
                    </a:lnTo>
                    <a:lnTo>
                      <a:pt x="2310" y="276"/>
                    </a:lnTo>
                    <a:lnTo>
                      <a:pt x="2310" y="274"/>
                    </a:lnTo>
                    <a:lnTo>
                      <a:pt x="2301" y="271"/>
                    </a:lnTo>
                    <a:lnTo>
                      <a:pt x="2300" y="269"/>
                    </a:lnTo>
                    <a:lnTo>
                      <a:pt x="2301" y="266"/>
                    </a:lnTo>
                    <a:lnTo>
                      <a:pt x="2302" y="265"/>
                    </a:lnTo>
                    <a:lnTo>
                      <a:pt x="2305" y="264"/>
                    </a:lnTo>
                    <a:lnTo>
                      <a:pt x="2305" y="262"/>
                    </a:lnTo>
                    <a:lnTo>
                      <a:pt x="2308" y="261"/>
                    </a:lnTo>
                    <a:lnTo>
                      <a:pt x="2319" y="258"/>
                    </a:lnTo>
                    <a:lnTo>
                      <a:pt x="2325" y="258"/>
                    </a:lnTo>
                    <a:lnTo>
                      <a:pt x="2322" y="253"/>
                    </a:lnTo>
                    <a:lnTo>
                      <a:pt x="2320" y="250"/>
                    </a:lnTo>
                    <a:lnTo>
                      <a:pt x="2318" y="249"/>
                    </a:lnTo>
                    <a:lnTo>
                      <a:pt x="2314" y="247"/>
                    </a:lnTo>
                    <a:lnTo>
                      <a:pt x="2314" y="244"/>
                    </a:lnTo>
                    <a:lnTo>
                      <a:pt x="2306" y="241"/>
                    </a:lnTo>
                    <a:lnTo>
                      <a:pt x="2301" y="241"/>
                    </a:lnTo>
                    <a:lnTo>
                      <a:pt x="2289" y="243"/>
                    </a:lnTo>
                    <a:lnTo>
                      <a:pt x="2286" y="241"/>
                    </a:lnTo>
                    <a:lnTo>
                      <a:pt x="2284" y="240"/>
                    </a:lnTo>
                    <a:lnTo>
                      <a:pt x="2282" y="239"/>
                    </a:lnTo>
                    <a:lnTo>
                      <a:pt x="2278" y="240"/>
                    </a:lnTo>
                    <a:lnTo>
                      <a:pt x="2284" y="244"/>
                    </a:lnTo>
                    <a:lnTo>
                      <a:pt x="2286" y="245"/>
                    </a:lnTo>
                    <a:lnTo>
                      <a:pt x="2289" y="247"/>
                    </a:lnTo>
                    <a:lnTo>
                      <a:pt x="2291" y="248"/>
                    </a:lnTo>
                    <a:lnTo>
                      <a:pt x="2289" y="252"/>
                    </a:lnTo>
                    <a:lnTo>
                      <a:pt x="2291" y="254"/>
                    </a:lnTo>
                    <a:lnTo>
                      <a:pt x="2291" y="256"/>
                    </a:lnTo>
                    <a:lnTo>
                      <a:pt x="2289" y="260"/>
                    </a:lnTo>
                    <a:lnTo>
                      <a:pt x="2288" y="262"/>
                    </a:lnTo>
                    <a:lnTo>
                      <a:pt x="2285" y="267"/>
                    </a:lnTo>
                    <a:lnTo>
                      <a:pt x="2284" y="270"/>
                    </a:lnTo>
                    <a:lnTo>
                      <a:pt x="2284" y="273"/>
                    </a:lnTo>
                    <a:lnTo>
                      <a:pt x="2289" y="274"/>
                    </a:lnTo>
                    <a:lnTo>
                      <a:pt x="2292" y="275"/>
                    </a:lnTo>
                    <a:lnTo>
                      <a:pt x="2293" y="279"/>
                    </a:lnTo>
                    <a:lnTo>
                      <a:pt x="2294" y="281"/>
                    </a:lnTo>
                    <a:lnTo>
                      <a:pt x="2293" y="284"/>
                    </a:lnTo>
                    <a:lnTo>
                      <a:pt x="2292" y="290"/>
                    </a:lnTo>
                    <a:lnTo>
                      <a:pt x="2289" y="293"/>
                    </a:lnTo>
                    <a:lnTo>
                      <a:pt x="2288" y="296"/>
                    </a:lnTo>
                    <a:lnTo>
                      <a:pt x="2289" y="298"/>
                    </a:lnTo>
                    <a:lnTo>
                      <a:pt x="2289" y="301"/>
                    </a:lnTo>
                    <a:lnTo>
                      <a:pt x="2289" y="304"/>
                    </a:lnTo>
                    <a:lnTo>
                      <a:pt x="2288" y="301"/>
                    </a:lnTo>
                    <a:lnTo>
                      <a:pt x="2287" y="298"/>
                    </a:lnTo>
                    <a:lnTo>
                      <a:pt x="2284" y="297"/>
                    </a:lnTo>
                    <a:lnTo>
                      <a:pt x="2282" y="297"/>
                    </a:lnTo>
                    <a:lnTo>
                      <a:pt x="2278" y="300"/>
                    </a:lnTo>
                    <a:lnTo>
                      <a:pt x="2279" y="297"/>
                    </a:lnTo>
                    <a:lnTo>
                      <a:pt x="2283" y="296"/>
                    </a:lnTo>
                    <a:lnTo>
                      <a:pt x="2280" y="293"/>
                    </a:lnTo>
                    <a:lnTo>
                      <a:pt x="2276" y="291"/>
                    </a:lnTo>
                    <a:lnTo>
                      <a:pt x="2270" y="291"/>
                    </a:lnTo>
                    <a:lnTo>
                      <a:pt x="2267" y="290"/>
                    </a:lnTo>
                    <a:lnTo>
                      <a:pt x="2265" y="289"/>
                    </a:lnTo>
                    <a:lnTo>
                      <a:pt x="2261" y="289"/>
                    </a:lnTo>
                    <a:lnTo>
                      <a:pt x="2257" y="295"/>
                    </a:lnTo>
                    <a:lnTo>
                      <a:pt x="2251" y="299"/>
                    </a:lnTo>
                    <a:lnTo>
                      <a:pt x="2249" y="300"/>
                    </a:lnTo>
                    <a:lnTo>
                      <a:pt x="2246" y="300"/>
                    </a:lnTo>
                    <a:lnTo>
                      <a:pt x="2243" y="301"/>
                    </a:lnTo>
                    <a:lnTo>
                      <a:pt x="2237" y="306"/>
                    </a:lnTo>
                    <a:lnTo>
                      <a:pt x="2232" y="309"/>
                    </a:lnTo>
                    <a:lnTo>
                      <a:pt x="2229" y="312"/>
                    </a:lnTo>
                    <a:lnTo>
                      <a:pt x="2228" y="314"/>
                    </a:lnTo>
                    <a:lnTo>
                      <a:pt x="2234" y="322"/>
                    </a:lnTo>
                    <a:lnTo>
                      <a:pt x="2236" y="323"/>
                    </a:lnTo>
                    <a:lnTo>
                      <a:pt x="2237" y="325"/>
                    </a:lnTo>
                    <a:lnTo>
                      <a:pt x="2238" y="327"/>
                    </a:lnTo>
                    <a:lnTo>
                      <a:pt x="2238" y="330"/>
                    </a:lnTo>
                    <a:lnTo>
                      <a:pt x="2240" y="333"/>
                    </a:lnTo>
                    <a:lnTo>
                      <a:pt x="2240" y="333"/>
                    </a:lnTo>
                    <a:lnTo>
                      <a:pt x="2235" y="333"/>
                    </a:lnTo>
                    <a:lnTo>
                      <a:pt x="2233" y="331"/>
                    </a:lnTo>
                    <a:lnTo>
                      <a:pt x="2228" y="333"/>
                    </a:lnTo>
                    <a:lnTo>
                      <a:pt x="2225" y="332"/>
                    </a:lnTo>
                    <a:lnTo>
                      <a:pt x="2223" y="331"/>
                    </a:lnTo>
                    <a:lnTo>
                      <a:pt x="2217" y="329"/>
                    </a:lnTo>
                    <a:lnTo>
                      <a:pt x="2215" y="329"/>
                    </a:lnTo>
                    <a:lnTo>
                      <a:pt x="2211" y="329"/>
                    </a:lnTo>
                    <a:lnTo>
                      <a:pt x="2209" y="330"/>
                    </a:lnTo>
                    <a:lnTo>
                      <a:pt x="2206" y="331"/>
                    </a:lnTo>
                    <a:lnTo>
                      <a:pt x="2207" y="329"/>
                    </a:lnTo>
                    <a:lnTo>
                      <a:pt x="2210" y="326"/>
                    </a:lnTo>
                    <a:lnTo>
                      <a:pt x="2207" y="326"/>
                    </a:lnTo>
                    <a:lnTo>
                      <a:pt x="2205" y="326"/>
                    </a:lnTo>
                    <a:lnTo>
                      <a:pt x="2200" y="322"/>
                    </a:lnTo>
                    <a:lnTo>
                      <a:pt x="2192" y="318"/>
                    </a:lnTo>
                    <a:lnTo>
                      <a:pt x="2190" y="321"/>
                    </a:lnTo>
                    <a:lnTo>
                      <a:pt x="2189" y="323"/>
                    </a:lnTo>
                    <a:lnTo>
                      <a:pt x="2184" y="326"/>
                    </a:lnTo>
                    <a:lnTo>
                      <a:pt x="2186" y="329"/>
                    </a:lnTo>
                    <a:lnTo>
                      <a:pt x="2194" y="337"/>
                    </a:lnTo>
                    <a:lnTo>
                      <a:pt x="2197" y="338"/>
                    </a:lnTo>
                    <a:lnTo>
                      <a:pt x="2202" y="337"/>
                    </a:lnTo>
                    <a:lnTo>
                      <a:pt x="2206" y="339"/>
                    </a:lnTo>
                    <a:lnTo>
                      <a:pt x="2205" y="341"/>
                    </a:lnTo>
                    <a:lnTo>
                      <a:pt x="2206" y="344"/>
                    </a:lnTo>
                    <a:lnTo>
                      <a:pt x="2205" y="347"/>
                    </a:lnTo>
                    <a:lnTo>
                      <a:pt x="2201" y="347"/>
                    </a:lnTo>
                    <a:lnTo>
                      <a:pt x="2199" y="349"/>
                    </a:lnTo>
                    <a:lnTo>
                      <a:pt x="2197" y="349"/>
                    </a:lnTo>
                    <a:lnTo>
                      <a:pt x="2193" y="348"/>
                    </a:lnTo>
                    <a:lnTo>
                      <a:pt x="2190" y="347"/>
                    </a:lnTo>
                    <a:lnTo>
                      <a:pt x="2188" y="347"/>
                    </a:lnTo>
                    <a:lnTo>
                      <a:pt x="2184" y="346"/>
                    </a:lnTo>
                    <a:lnTo>
                      <a:pt x="2181" y="343"/>
                    </a:lnTo>
                    <a:lnTo>
                      <a:pt x="2180" y="341"/>
                    </a:lnTo>
                    <a:lnTo>
                      <a:pt x="2177" y="340"/>
                    </a:lnTo>
                    <a:lnTo>
                      <a:pt x="2175" y="338"/>
                    </a:lnTo>
                    <a:lnTo>
                      <a:pt x="2169" y="339"/>
                    </a:lnTo>
                    <a:lnTo>
                      <a:pt x="2164" y="335"/>
                    </a:lnTo>
                    <a:lnTo>
                      <a:pt x="2161" y="333"/>
                    </a:lnTo>
                    <a:lnTo>
                      <a:pt x="2163" y="331"/>
                    </a:lnTo>
                    <a:lnTo>
                      <a:pt x="2164" y="329"/>
                    </a:lnTo>
                    <a:lnTo>
                      <a:pt x="2161" y="329"/>
                    </a:lnTo>
                    <a:lnTo>
                      <a:pt x="2163" y="326"/>
                    </a:lnTo>
                    <a:lnTo>
                      <a:pt x="2160" y="324"/>
                    </a:lnTo>
                    <a:lnTo>
                      <a:pt x="2160" y="323"/>
                    </a:lnTo>
                    <a:lnTo>
                      <a:pt x="2158" y="317"/>
                    </a:lnTo>
                    <a:lnTo>
                      <a:pt x="2156" y="315"/>
                    </a:lnTo>
                    <a:lnTo>
                      <a:pt x="2158" y="314"/>
                    </a:lnTo>
                    <a:lnTo>
                      <a:pt x="2160" y="310"/>
                    </a:lnTo>
                    <a:lnTo>
                      <a:pt x="2159" y="305"/>
                    </a:lnTo>
                    <a:lnTo>
                      <a:pt x="2163" y="307"/>
                    </a:lnTo>
                    <a:lnTo>
                      <a:pt x="2163" y="305"/>
                    </a:lnTo>
                    <a:lnTo>
                      <a:pt x="2159" y="303"/>
                    </a:lnTo>
                    <a:lnTo>
                      <a:pt x="2159" y="300"/>
                    </a:lnTo>
                    <a:lnTo>
                      <a:pt x="2157" y="298"/>
                    </a:lnTo>
                    <a:lnTo>
                      <a:pt x="2154" y="297"/>
                    </a:lnTo>
                    <a:lnTo>
                      <a:pt x="2151" y="296"/>
                    </a:lnTo>
                    <a:lnTo>
                      <a:pt x="2149" y="296"/>
                    </a:lnTo>
                    <a:lnTo>
                      <a:pt x="2146" y="293"/>
                    </a:lnTo>
                    <a:lnTo>
                      <a:pt x="2141" y="293"/>
                    </a:lnTo>
                    <a:lnTo>
                      <a:pt x="2143" y="292"/>
                    </a:lnTo>
                    <a:lnTo>
                      <a:pt x="2146" y="292"/>
                    </a:lnTo>
                    <a:lnTo>
                      <a:pt x="2140" y="289"/>
                    </a:lnTo>
                    <a:lnTo>
                      <a:pt x="2137" y="289"/>
                    </a:lnTo>
                    <a:lnTo>
                      <a:pt x="2139" y="288"/>
                    </a:lnTo>
                    <a:lnTo>
                      <a:pt x="2142" y="289"/>
                    </a:lnTo>
                    <a:lnTo>
                      <a:pt x="2139" y="288"/>
                    </a:lnTo>
                    <a:lnTo>
                      <a:pt x="2138" y="288"/>
                    </a:lnTo>
                    <a:lnTo>
                      <a:pt x="2134" y="288"/>
                    </a:lnTo>
                    <a:lnTo>
                      <a:pt x="2140" y="287"/>
                    </a:lnTo>
                    <a:lnTo>
                      <a:pt x="2138" y="286"/>
                    </a:lnTo>
                    <a:lnTo>
                      <a:pt x="2134" y="284"/>
                    </a:lnTo>
                    <a:lnTo>
                      <a:pt x="2132" y="282"/>
                    </a:lnTo>
                    <a:lnTo>
                      <a:pt x="2130" y="281"/>
                    </a:lnTo>
                    <a:lnTo>
                      <a:pt x="2131" y="278"/>
                    </a:lnTo>
                    <a:lnTo>
                      <a:pt x="2127" y="276"/>
                    </a:lnTo>
                    <a:lnTo>
                      <a:pt x="2125" y="275"/>
                    </a:lnTo>
                    <a:lnTo>
                      <a:pt x="2122" y="275"/>
                    </a:lnTo>
                    <a:lnTo>
                      <a:pt x="2125" y="274"/>
                    </a:lnTo>
                    <a:lnTo>
                      <a:pt x="2132" y="275"/>
                    </a:lnTo>
                    <a:lnTo>
                      <a:pt x="2134" y="275"/>
                    </a:lnTo>
                    <a:lnTo>
                      <a:pt x="2134" y="279"/>
                    </a:lnTo>
                    <a:lnTo>
                      <a:pt x="2140" y="283"/>
                    </a:lnTo>
                    <a:lnTo>
                      <a:pt x="2142" y="284"/>
                    </a:lnTo>
                    <a:lnTo>
                      <a:pt x="2146" y="282"/>
                    </a:lnTo>
                    <a:lnTo>
                      <a:pt x="2148" y="284"/>
                    </a:lnTo>
                    <a:lnTo>
                      <a:pt x="2154" y="286"/>
                    </a:lnTo>
                    <a:lnTo>
                      <a:pt x="2157" y="287"/>
                    </a:lnTo>
                    <a:lnTo>
                      <a:pt x="2159" y="288"/>
                    </a:lnTo>
                    <a:lnTo>
                      <a:pt x="2163" y="287"/>
                    </a:lnTo>
                    <a:lnTo>
                      <a:pt x="2169" y="291"/>
                    </a:lnTo>
                    <a:lnTo>
                      <a:pt x="2183" y="293"/>
                    </a:lnTo>
                    <a:lnTo>
                      <a:pt x="2193" y="295"/>
                    </a:lnTo>
                    <a:lnTo>
                      <a:pt x="2195" y="296"/>
                    </a:lnTo>
                    <a:lnTo>
                      <a:pt x="2198" y="297"/>
                    </a:lnTo>
                    <a:lnTo>
                      <a:pt x="2205" y="299"/>
                    </a:lnTo>
                    <a:lnTo>
                      <a:pt x="2212" y="300"/>
                    </a:lnTo>
                    <a:lnTo>
                      <a:pt x="2218" y="298"/>
                    </a:lnTo>
                    <a:lnTo>
                      <a:pt x="2220" y="298"/>
                    </a:lnTo>
                    <a:lnTo>
                      <a:pt x="2224" y="298"/>
                    </a:lnTo>
                    <a:lnTo>
                      <a:pt x="2226" y="296"/>
                    </a:lnTo>
                    <a:lnTo>
                      <a:pt x="2233" y="295"/>
                    </a:lnTo>
                    <a:lnTo>
                      <a:pt x="2235" y="292"/>
                    </a:lnTo>
                    <a:lnTo>
                      <a:pt x="2237" y="291"/>
                    </a:lnTo>
                    <a:lnTo>
                      <a:pt x="2249" y="282"/>
                    </a:lnTo>
                    <a:lnTo>
                      <a:pt x="2250" y="279"/>
                    </a:lnTo>
                    <a:lnTo>
                      <a:pt x="2250" y="278"/>
                    </a:lnTo>
                    <a:lnTo>
                      <a:pt x="2251" y="275"/>
                    </a:lnTo>
                    <a:lnTo>
                      <a:pt x="2250" y="273"/>
                    </a:lnTo>
                    <a:lnTo>
                      <a:pt x="2248" y="270"/>
                    </a:lnTo>
                    <a:lnTo>
                      <a:pt x="2246" y="267"/>
                    </a:lnTo>
                    <a:lnTo>
                      <a:pt x="2246" y="262"/>
                    </a:lnTo>
                    <a:lnTo>
                      <a:pt x="2243" y="261"/>
                    </a:lnTo>
                    <a:lnTo>
                      <a:pt x="2241" y="260"/>
                    </a:lnTo>
                    <a:lnTo>
                      <a:pt x="2237" y="260"/>
                    </a:lnTo>
                    <a:lnTo>
                      <a:pt x="2236" y="257"/>
                    </a:lnTo>
                    <a:lnTo>
                      <a:pt x="2233" y="254"/>
                    </a:lnTo>
                    <a:lnTo>
                      <a:pt x="2231" y="252"/>
                    </a:lnTo>
                    <a:lnTo>
                      <a:pt x="2227" y="253"/>
                    </a:lnTo>
                    <a:lnTo>
                      <a:pt x="2225" y="253"/>
                    </a:lnTo>
                    <a:lnTo>
                      <a:pt x="2214" y="246"/>
                    </a:lnTo>
                    <a:lnTo>
                      <a:pt x="2211" y="246"/>
                    </a:lnTo>
                    <a:lnTo>
                      <a:pt x="2202" y="239"/>
                    </a:lnTo>
                    <a:lnTo>
                      <a:pt x="2200" y="238"/>
                    </a:lnTo>
                    <a:lnTo>
                      <a:pt x="2194" y="236"/>
                    </a:lnTo>
                    <a:lnTo>
                      <a:pt x="2186" y="230"/>
                    </a:lnTo>
                    <a:lnTo>
                      <a:pt x="2184" y="230"/>
                    </a:lnTo>
                    <a:lnTo>
                      <a:pt x="2181" y="228"/>
                    </a:lnTo>
                    <a:lnTo>
                      <a:pt x="2178" y="228"/>
                    </a:lnTo>
                    <a:lnTo>
                      <a:pt x="2175" y="227"/>
                    </a:lnTo>
                    <a:lnTo>
                      <a:pt x="2169" y="224"/>
                    </a:lnTo>
                    <a:lnTo>
                      <a:pt x="2167" y="224"/>
                    </a:lnTo>
                    <a:lnTo>
                      <a:pt x="2164" y="226"/>
                    </a:lnTo>
                    <a:lnTo>
                      <a:pt x="2161" y="226"/>
                    </a:lnTo>
                    <a:lnTo>
                      <a:pt x="2156" y="223"/>
                    </a:lnTo>
                    <a:lnTo>
                      <a:pt x="2150" y="223"/>
                    </a:lnTo>
                    <a:lnTo>
                      <a:pt x="2144" y="223"/>
                    </a:lnTo>
                    <a:lnTo>
                      <a:pt x="2144" y="227"/>
                    </a:lnTo>
                    <a:lnTo>
                      <a:pt x="2141" y="229"/>
                    </a:lnTo>
                    <a:lnTo>
                      <a:pt x="2139" y="229"/>
                    </a:lnTo>
                    <a:lnTo>
                      <a:pt x="2137" y="232"/>
                    </a:lnTo>
                    <a:lnTo>
                      <a:pt x="2137" y="229"/>
                    </a:lnTo>
                    <a:lnTo>
                      <a:pt x="2140" y="229"/>
                    </a:lnTo>
                    <a:lnTo>
                      <a:pt x="2142" y="227"/>
                    </a:lnTo>
                    <a:lnTo>
                      <a:pt x="2143" y="224"/>
                    </a:lnTo>
                    <a:lnTo>
                      <a:pt x="2140" y="224"/>
                    </a:lnTo>
                    <a:lnTo>
                      <a:pt x="2143" y="222"/>
                    </a:lnTo>
                    <a:lnTo>
                      <a:pt x="2140" y="221"/>
                    </a:lnTo>
                    <a:lnTo>
                      <a:pt x="2138" y="221"/>
                    </a:lnTo>
                    <a:lnTo>
                      <a:pt x="2135" y="223"/>
                    </a:lnTo>
                    <a:lnTo>
                      <a:pt x="2137" y="221"/>
                    </a:lnTo>
                    <a:lnTo>
                      <a:pt x="2133" y="221"/>
                    </a:lnTo>
                    <a:lnTo>
                      <a:pt x="2131" y="219"/>
                    </a:lnTo>
                    <a:lnTo>
                      <a:pt x="2127" y="220"/>
                    </a:lnTo>
                    <a:lnTo>
                      <a:pt x="2129" y="218"/>
                    </a:lnTo>
                    <a:lnTo>
                      <a:pt x="2123" y="215"/>
                    </a:lnTo>
                    <a:lnTo>
                      <a:pt x="2124" y="213"/>
                    </a:lnTo>
                    <a:lnTo>
                      <a:pt x="2127" y="215"/>
                    </a:lnTo>
                    <a:lnTo>
                      <a:pt x="2135" y="216"/>
                    </a:lnTo>
                    <a:lnTo>
                      <a:pt x="2138" y="214"/>
                    </a:lnTo>
                    <a:lnTo>
                      <a:pt x="2135" y="212"/>
                    </a:lnTo>
                    <a:lnTo>
                      <a:pt x="2130" y="212"/>
                    </a:lnTo>
                    <a:lnTo>
                      <a:pt x="2127" y="210"/>
                    </a:lnTo>
                    <a:lnTo>
                      <a:pt x="2124" y="209"/>
                    </a:lnTo>
                    <a:lnTo>
                      <a:pt x="2122" y="209"/>
                    </a:lnTo>
                    <a:lnTo>
                      <a:pt x="2124" y="211"/>
                    </a:lnTo>
                    <a:lnTo>
                      <a:pt x="2121" y="211"/>
                    </a:lnTo>
                    <a:lnTo>
                      <a:pt x="2118" y="213"/>
                    </a:lnTo>
                    <a:lnTo>
                      <a:pt x="2116" y="214"/>
                    </a:lnTo>
                    <a:lnTo>
                      <a:pt x="2113" y="216"/>
                    </a:lnTo>
                    <a:lnTo>
                      <a:pt x="2115" y="213"/>
                    </a:lnTo>
                    <a:lnTo>
                      <a:pt x="2107" y="212"/>
                    </a:lnTo>
                    <a:lnTo>
                      <a:pt x="2105" y="211"/>
                    </a:lnTo>
                    <a:lnTo>
                      <a:pt x="2103" y="214"/>
                    </a:lnTo>
                    <a:lnTo>
                      <a:pt x="2101" y="211"/>
                    </a:lnTo>
                    <a:lnTo>
                      <a:pt x="2099" y="210"/>
                    </a:lnTo>
                    <a:lnTo>
                      <a:pt x="2099" y="212"/>
                    </a:lnTo>
                    <a:lnTo>
                      <a:pt x="2098" y="214"/>
                    </a:lnTo>
                    <a:lnTo>
                      <a:pt x="2096" y="214"/>
                    </a:lnTo>
                    <a:lnTo>
                      <a:pt x="2096" y="213"/>
                    </a:lnTo>
                    <a:lnTo>
                      <a:pt x="2092" y="213"/>
                    </a:lnTo>
                    <a:lnTo>
                      <a:pt x="2089" y="213"/>
                    </a:lnTo>
                    <a:lnTo>
                      <a:pt x="2092" y="212"/>
                    </a:lnTo>
                    <a:lnTo>
                      <a:pt x="2091" y="209"/>
                    </a:lnTo>
                    <a:lnTo>
                      <a:pt x="2088" y="210"/>
                    </a:lnTo>
                    <a:lnTo>
                      <a:pt x="2089" y="206"/>
                    </a:lnTo>
                    <a:lnTo>
                      <a:pt x="2087" y="206"/>
                    </a:lnTo>
                    <a:lnTo>
                      <a:pt x="2083" y="205"/>
                    </a:lnTo>
                    <a:lnTo>
                      <a:pt x="2078" y="204"/>
                    </a:lnTo>
                    <a:lnTo>
                      <a:pt x="2081" y="203"/>
                    </a:lnTo>
                    <a:lnTo>
                      <a:pt x="2092" y="205"/>
                    </a:lnTo>
                    <a:lnTo>
                      <a:pt x="2098" y="205"/>
                    </a:lnTo>
                    <a:lnTo>
                      <a:pt x="2101" y="203"/>
                    </a:lnTo>
                    <a:lnTo>
                      <a:pt x="2104" y="201"/>
                    </a:lnTo>
                    <a:lnTo>
                      <a:pt x="2109" y="199"/>
                    </a:lnTo>
                    <a:lnTo>
                      <a:pt x="2110" y="197"/>
                    </a:lnTo>
                    <a:lnTo>
                      <a:pt x="2101" y="193"/>
                    </a:lnTo>
                    <a:lnTo>
                      <a:pt x="2099" y="194"/>
                    </a:lnTo>
                    <a:lnTo>
                      <a:pt x="2097" y="194"/>
                    </a:lnTo>
                    <a:lnTo>
                      <a:pt x="2099" y="193"/>
                    </a:lnTo>
                    <a:lnTo>
                      <a:pt x="2099" y="190"/>
                    </a:lnTo>
                    <a:lnTo>
                      <a:pt x="2096" y="189"/>
                    </a:lnTo>
                    <a:lnTo>
                      <a:pt x="2092" y="192"/>
                    </a:lnTo>
                    <a:lnTo>
                      <a:pt x="2092" y="188"/>
                    </a:lnTo>
                    <a:lnTo>
                      <a:pt x="2089" y="189"/>
                    </a:lnTo>
                    <a:lnTo>
                      <a:pt x="2087" y="190"/>
                    </a:lnTo>
                    <a:lnTo>
                      <a:pt x="2088" y="187"/>
                    </a:lnTo>
                    <a:lnTo>
                      <a:pt x="2084" y="186"/>
                    </a:lnTo>
                    <a:lnTo>
                      <a:pt x="2082" y="185"/>
                    </a:lnTo>
                    <a:lnTo>
                      <a:pt x="2079" y="186"/>
                    </a:lnTo>
                    <a:lnTo>
                      <a:pt x="2077" y="188"/>
                    </a:lnTo>
                    <a:lnTo>
                      <a:pt x="2075" y="190"/>
                    </a:lnTo>
                    <a:lnTo>
                      <a:pt x="2075" y="194"/>
                    </a:lnTo>
                    <a:lnTo>
                      <a:pt x="2072" y="196"/>
                    </a:lnTo>
                    <a:lnTo>
                      <a:pt x="2071" y="199"/>
                    </a:lnTo>
                    <a:lnTo>
                      <a:pt x="2071" y="196"/>
                    </a:lnTo>
                    <a:lnTo>
                      <a:pt x="2073" y="194"/>
                    </a:lnTo>
                    <a:lnTo>
                      <a:pt x="2069" y="195"/>
                    </a:lnTo>
                    <a:lnTo>
                      <a:pt x="2071" y="192"/>
                    </a:lnTo>
                    <a:lnTo>
                      <a:pt x="2073" y="189"/>
                    </a:lnTo>
                    <a:lnTo>
                      <a:pt x="2066" y="192"/>
                    </a:lnTo>
                    <a:lnTo>
                      <a:pt x="2064" y="192"/>
                    </a:lnTo>
                    <a:lnTo>
                      <a:pt x="2066" y="190"/>
                    </a:lnTo>
                    <a:lnTo>
                      <a:pt x="2070" y="189"/>
                    </a:lnTo>
                    <a:lnTo>
                      <a:pt x="2066" y="188"/>
                    </a:lnTo>
                    <a:lnTo>
                      <a:pt x="2069" y="186"/>
                    </a:lnTo>
                    <a:lnTo>
                      <a:pt x="2071" y="187"/>
                    </a:lnTo>
                    <a:lnTo>
                      <a:pt x="2075" y="185"/>
                    </a:lnTo>
                    <a:lnTo>
                      <a:pt x="2074" y="181"/>
                    </a:lnTo>
                    <a:lnTo>
                      <a:pt x="2071" y="182"/>
                    </a:lnTo>
                    <a:lnTo>
                      <a:pt x="2072" y="180"/>
                    </a:lnTo>
                    <a:lnTo>
                      <a:pt x="2069" y="180"/>
                    </a:lnTo>
                    <a:lnTo>
                      <a:pt x="2066" y="180"/>
                    </a:lnTo>
                    <a:lnTo>
                      <a:pt x="2064" y="179"/>
                    </a:lnTo>
                    <a:lnTo>
                      <a:pt x="2061" y="181"/>
                    </a:lnTo>
                    <a:lnTo>
                      <a:pt x="2058" y="181"/>
                    </a:lnTo>
                    <a:lnTo>
                      <a:pt x="2058" y="185"/>
                    </a:lnTo>
                    <a:lnTo>
                      <a:pt x="2062" y="187"/>
                    </a:lnTo>
                    <a:lnTo>
                      <a:pt x="2058" y="188"/>
                    </a:lnTo>
                    <a:lnTo>
                      <a:pt x="2056" y="189"/>
                    </a:lnTo>
                    <a:lnTo>
                      <a:pt x="2057" y="192"/>
                    </a:lnTo>
                    <a:lnTo>
                      <a:pt x="2055" y="192"/>
                    </a:lnTo>
                    <a:lnTo>
                      <a:pt x="2056" y="195"/>
                    </a:lnTo>
                    <a:lnTo>
                      <a:pt x="2054" y="195"/>
                    </a:lnTo>
                    <a:lnTo>
                      <a:pt x="2048" y="197"/>
                    </a:lnTo>
                    <a:lnTo>
                      <a:pt x="2049" y="195"/>
                    </a:lnTo>
                    <a:lnTo>
                      <a:pt x="2049" y="193"/>
                    </a:lnTo>
                    <a:lnTo>
                      <a:pt x="2048" y="189"/>
                    </a:lnTo>
                    <a:lnTo>
                      <a:pt x="2050" y="188"/>
                    </a:lnTo>
                    <a:lnTo>
                      <a:pt x="2049" y="182"/>
                    </a:lnTo>
                    <a:lnTo>
                      <a:pt x="2047" y="185"/>
                    </a:lnTo>
                    <a:lnTo>
                      <a:pt x="2041" y="189"/>
                    </a:lnTo>
                    <a:lnTo>
                      <a:pt x="2040" y="192"/>
                    </a:lnTo>
                    <a:lnTo>
                      <a:pt x="2038" y="194"/>
                    </a:lnTo>
                    <a:lnTo>
                      <a:pt x="2036" y="196"/>
                    </a:lnTo>
                    <a:lnTo>
                      <a:pt x="2035" y="199"/>
                    </a:lnTo>
                    <a:lnTo>
                      <a:pt x="2032" y="202"/>
                    </a:lnTo>
                    <a:lnTo>
                      <a:pt x="2029" y="203"/>
                    </a:lnTo>
                    <a:lnTo>
                      <a:pt x="2027" y="203"/>
                    </a:lnTo>
                    <a:lnTo>
                      <a:pt x="2028" y="201"/>
                    </a:lnTo>
                    <a:lnTo>
                      <a:pt x="2029" y="197"/>
                    </a:lnTo>
                    <a:lnTo>
                      <a:pt x="2031" y="195"/>
                    </a:lnTo>
                    <a:lnTo>
                      <a:pt x="2029" y="195"/>
                    </a:lnTo>
                    <a:lnTo>
                      <a:pt x="2030" y="193"/>
                    </a:lnTo>
                    <a:lnTo>
                      <a:pt x="2038" y="187"/>
                    </a:lnTo>
                    <a:lnTo>
                      <a:pt x="2038" y="185"/>
                    </a:lnTo>
                    <a:lnTo>
                      <a:pt x="2036" y="185"/>
                    </a:lnTo>
                    <a:lnTo>
                      <a:pt x="2032" y="184"/>
                    </a:lnTo>
                    <a:lnTo>
                      <a:pt x="2031" y="187"/>
                    </a:lnTo>
                    <a:lnTo>
                      <a:pt x="2029" y="184"/>
                    </a:lnTo>
                    <a:lnTo>
                      <a:pt x="2027" y="184"/>
                    </a:lnTo>
                    <a:lnTo>
                      <a:pt x="2024" y="182"/>
                    </a:lnTo>
                    <a:lnTo>
                      <a:pt x="2021" y="182"/>
                    </a:lnTo>
                    <a:lnTo>
                      <a:pt x="2023" y="185"/>
                    </a:lnTo>
                    <a:lnTo>
                      <a:pt x="2020" y="186"/>
                    </a:lnTo>
                    <a:lnTo>
                      <a:pt x="2018" y="187"/>
                    </a:lnTo>
                    <a:lnTo>
                      <a:pt x="2020" y="188"/>
                    </a:lnTo>
                    <a:lnTo>
                      <a:pt x="2023" y="190"/>
                    </a:lnTo>
                    <a:lnTo>
                      <a:pt x="2018" y="190"/>
                    </a:lnTo>
                    <a:lnTo>
                      <a:pt x="2015" y="193"/>
                    </a:lnTo>
                    <a:lnTo>
                      <a:pt x="2019" y="195"/>
                    </a:lnTo>
                    <a:lnTo>
                      <a:pt x="2014" y="194"/>
                    </a:lnTo>
                    <a:lnTo>
                      <a:pt x="2011" y="195"/>
                    </a:lnTo>
                    <a:lnTo>
                      <a:pt x="2009" y="196"/>
                    </a:lnTo>
                    <a:lnTo>
                      <a:pt x="2007" y="199"/>
                    </a:lnTo>
                    <a:lnTo>
                      <a:pt x="2005" y="199"/>
                    </a:lnTo>
                    <a:lnTo>
                      <a:pt x="2004" y="203"/>
                    </a:lnTo>
                    <a:lnTo>
                      <a:pt x="2003" y="205"/>
                    </a:lnTo>
                    <a:lnTo>
                      <a:pt x="2006" y="206"/>
                    </a:lnTo>
                    <a:lnTo>
                      <a:pt x="2006" y="206"/>
                    </a:lnTo>
                    <a:lnTo>
                      <a:pt x="2003" y="207"/>
                    </a:lnTo>
                    <a:lnTo>
                      <a:pt x="2002" y="206"/>
                    </a:lnTo>
                    <a:lnTo>
                      <a:pt x="2001" y="206"/>
                    </a:lnTo>
                    <a:lnTo>
                      <a:pt x="1999" y="203"/>
                    </a:lnTo>
                    <a:lnTo>
                      <a:pt x="1997" y="204"/>
                    </a:lnTo>
                    <a:lnTo>
                      <a:pt x="1992" y="205"/>
                    </a:lnTo>
                    <a:lnTo>
                      <a:pt x="1996" y="204"/>
                    </a:lnTo>
                    <a:lnTo>
                      <a:pt x="1999" y="202"/>
                    </a:lnTo>
                    <a:lnTo>
                      <a:pt x="1993" y="201"/>
                    </a:lnTo>
                    <a:lnTo>
                      <a:pt x="1990" y="201"/>
                    </a:lnTo>
                    <a:lnTo>
                      <a:pt x="1993" y="203"/>
                    </a:lnTo>
                    <a:lnTo>
                      <a:pt x="1989" y="202"/>
                    </a:lnTo>
                    <a:lnTo>
                      <a:pt x="1988" y="199"/>
                    </a:lnTo>
                    <a:lnTo>
                      <a:pt x="1985" y="198"/>
                    </a:lnTo>
                    <a:lnTo>
                      <a:pt x="1984" y="202"/>
                    </a:lnTo>
                    <a:lnTo>
                      <a:pt x="1980" y="198"/>
                    </a:lnTo>
                    <a:lnTo>
                      <a:pt x="1976" y="201"/>
                    </a:lnTo>
                    <a:lnTo>
                      <a:pt x="1978" y="203"/>
                    </a:lnTo>
                    <a:lnTo>
                      <a:pt x="1981" y="205"/>
                    </a:lnTo>
                    <a:lnTo>
                      <a:pt x="1984" y="205"/>
                    </a:lnTo>
                    <a:lnTo>
                      <a:pt x="1987" y="204"/>
                    </a:lnTo>
                    <a:lnTo>
                      <a:pt x="1984" y="205"/>
                    </a:lnTo>
                    <a:lnTo>
                      <a:pt x="1987" y="206"/>
                    </a:lnTo>
                    <a:lnTo>
                      <a:pt x="1987" y="206"/>
                    </a:lnTo>
                    <a:lnTo>
                      <a:pt x="1985" y="207"/>
                    </a:lnTo>
                    <a:lnTo>
                      <a:pt x="1985" y="211"/>
                    </a:lnTo>
                    <a:lnTo>
                      <a:pt x="1986" y="213"/>
                    </a:lnTo>
                    <a:lnTo>
                      <a:pt x="1985" y="211"/>
                    </a:lnTo>
                    <a:lnTo>
                      <a:pt x="1982" y="209"/>
                    </a:lnTo>
                    <a:lnTo>
                      <a:pt x="1979" y="206"/>
                    </a:lnTo>
                    <a:lnTo>
                      <a:pt x="1976" y="206"/>
                    </a:lnTo>
                    <a:lnTo>
                      <a:pt x="1976" y="211"/>
                    </a:lnTo>
                    <a:lnTo>
                      <a:pt x="1973" y="212"/>
                    </a:lnTo>
                    <a:lnTo>
                      <a:pt x="1971" y="210"/>
                    </a:lnTo>
                    <a:lnTo>
                      <a:pt x="1973" y="207"/>
                    </a:lnTo>
                    <a:lnTo>
                      <a:pt x="1971" y="209"/>
                    </a:lnTo>
                    <a:lnTo>
                      <a:pt x="1969" y="212"/>
                    </a:lnTo>
                    <a:lnTo>
                      <a:pt x="1967" y="213"/>
                    </a:lnTo>
                    <a:lnTo>
                      <a:pt x="1967" y="216"/>
                    </a:lnTo>
                    <a:lnTo>
                      <a:pt x="1970" y="219"/>
                    </a:lnTo>
                    <a:lnTo>
                      <a:pt x="1967" y="218"/>
                    </a:lnTo>
                    <a:lnTo>
                      <a:pt x="1964" y="219"/>
                    </a:lnTo>
                    <a:lnTo>
                      <a:pt x="1962" y="222"/>
                    </a:lnTo>
                    <a:lnTo>
                      <a:pt x="1959" y="224"/>
                    </a:lnTo>
                    <a:lnTo>
                      <a:pt x="1959" y="223"/>
                    </a:lnTo>
                    <a:lnTo>
                      <a:pt x="1961" y="221"/>
                    </a:lnTo>
                    <a:lnTo>
                      <a:pt x="1964" y="215"/>
                    </a:lnTo>
                    <a:lnTo>
                      <a:pt x="1963" y="213"/>
                    </a:lnTo>
                    <a:lnTo>
                      <a:pt x="1964" y="210"/>
                    </a:lnTo>
                    <a:lnTo>
                      <a:pt x="1963" y="207"/>
                    </a:lnTo>
                    <a:lnTo>
                      <a:pt x="1962" y="210"/>
                    </a:lnTo>
                    <a:lnTo>
                      <a:pt x="1959" y="212"/>
                    </a:lnTo>
                    <a:lnTo>
                      <a:pt x="1959" y="211"/>
                    </a:lnTo>
                    <a:lnTo>
                      <a:pt x="1956" y="213"/>
                    </a:lnTo>
                    <a:lnTo>
                      <a:pt x="1958" y="216"/>
                    </a:lnTo>
                    <a:lnTo>
                      <a:pt x="1959" y="216"/>
                    </a:lnTo>
                    <a:lnTo>
                      <a:pt x="1955" y="216"/>
                    </a:lnTo>
                    <a:lnTo>
                      <a:pt x="1955" y="219"/>
                    </a:lnTo>
                    <a:lnTo>
                      <a:pt x="1953" y="221"/>
                    </a:lnTo>
                    <a:lnTo>
                      <a:pt x="1955" y="215"/>
                    </a:lnTo>
                    <a:lnTo>
                      <a:pt x="1955" y="213"/>
                    </a:lnTo>
                    <a:lnTo>
                      <a:pt x="1953" y="212"/>
                    </a:lnTo>
                    <a:lnTo>
                      <a:pt x="1950" y="212"/>
                    </a:lnTo>
                    <a:lnTo>
                      <a:pt x="1947" y="213"/>
                    </a:lnTo>
                    <a:lnTo>
                      <a:pt x="1945" y="215"/>
                    </a:lnTo>
                    <a:lnTo>
                      <a:pt x="1945" y="218"/>
                    </a:lnTo>
                    <a:lnTo>
                      <a:pt x="1949" y="218"/>
                    </a:lnTo>
                    <a:lnTo>
                      <a:pt x="1945" y="219"/>
                    </a:lnTo>
                    <a:lnTo>
                      <a:pt x="1946" y="222"/>
                    </a:lnTo>
                    <a:lnTo>
                      <a:pt x="1950" y="222"/>
                    </a:lnTo>
                    <a:lnTo>
                      <a:pt x="1951" y="224"/>
                    </a:lnTo>
                    <a:lnTo>
                      <a:pt x="1949" y="222"/>
                    </a:lnTo>
                    <a:lnTo>
                      <a:pt x="1945" y="222"/>
                    </a:lnTo>
                    <a:lnTo>
                      <a:pt x="1944" y="219"/>
                    </a:lnTo>
                    <a:lnTo>
                      <a:pt x="1941" y="218"/>
                    </a:lnTo>
                    <a:lnTo>
                      <a:pt x="1938" y="219"/>
                    </a:lnTo>
                    <a:lnTo>
                      <a:pt x="1939" y="221"/>
                    </a:lnTo>
                    <a:lnTo>
                      <a:pt x="1945" y="224"/>
                    </a:lnTo>
                    <a:lnTo>
                      <a:pt x="1943" y="223"/>
                    </a:lnTo>
                    <a:lnTo>
                      <a:pt x="1939" y="223"/>
                    </a:lnTo>
                    <a:lnTo>
                      <a:pt x="1938" y="226"/>
                    </a:lnTo>
                    <a:lnTo>
                      <a:pt x="1938" y="224"/>
                    </a:lnTo>
                    <a:lnTo>
                      <a:pt x="1937" y="221"/>
                    </a:lnTo>
                    <a:lnTo>
                      <a:pt x="1935" y="220"/>
                    </a:lnTo>
                    <a:lnTo>
                      <a:pt x="1932" y="226"/>
                    </a:lnTo>
                    <a:lnTo>
                      <a:pt x="1933" y="228"/>
                    </a:lnTo>
                    <a:lnTo>
                      <a:pt x="1928" y="228"/>
                    </a:lnTo>
                    <a:lnTo>
                      <a:pt x="1925" y="230"/>
                    </a:lnTo>
                    <a:lnTo>
                      <a:pt x="1925" y="233"/>
                    </a:lnTo>
                    <a:lnTo>
                      <a:pt x="1927" y="233"/>
                    </a:lnTo>
                    <a:lnTo>
                      <a:pt x="1927" y="236"/>
                    </a:lnTo>
                    <a:lnTo>
                      <a:pt x="1924" y="236"/>
                    </a:lnTo>
                    <a:lnTo>
                      <a:pt x="1922" y="236"/>
                    </a:lnTo>
                    <a:lnTo>
                      <a:pt x="1927" y="239"/>
                    </a:lnTo>
                    <a:lnTo>
                      <a:pt x="1921" y="237"/>
                    </a:lnTo>
                    <a:lnTo>
                      <a:pt x="1918" y="238"/>
                    </a:lnTo>
                    <a:lnTo>
                      <a:pt x="1912" y="239"/>
                    </a:lnTo>
                    <a:lnTo>
                      <a:pt x="1912" y="241"/>
                    </a:lnTo>
                    <a:lnTo>
                      <a:pt x="1913" y="244"/>
                    </a:lnTo>
                    <a:lnTo>
                      <a:pt x="1919" y="244"/>
                    </a:lnTo>
                    <a:lnTo>
                      <a:pt x="1922" y="244"/>
                    </a:lnTo>
                    <a:lnTo>
                      <a:pt x="1928" y="244"/>
                    </a:lnTo>
                    <a:lnTo>
                      <a:pt x="1924" y="245"/>
                    </a:lnTo>
                    <a:lnTo>
                      <a:pt x="1921" y="246"/>
                    </a:lnTo>
                    <a:lnTo>
                      <a:pt x="1921" y="247"/>
                    </a:lnTo>
                    <a:lnTo>
                      <a:pt x="1924" y="249"/>
                    </a:lnTo>
                    <a:lnTo>
                      <a:pt x="1921" y="247"/>
                    </a:lnTo>
                    <a:lnTo>
                      <a:pt x="1921" y="246"/>
                    </a:lnTo>
                    <a:lnTo>
                      <a:pt x="1919" y="246"/>
                    </a:lnTo>
                    <a:lnTo>
                      <a:pt x="1916" y="247"/>
                    </a:lnTo>
                    <a:lnTo>
                      <a:pt x="1913" y="245"/>
                    </a:lnTo>
                    <a:lnTo>
                      <a:pt x="1910" y="245"/>
                    </a:lnTo>
                    <a:lnTo>
                      <a:pt x="1911" y="248"/>
                    </a:lnTo>
                    <a:lnTo>
                      <a:pt x="1915" y="250"/>
                    </a:lnTo>
                    <a:lnTo>
                      <a:pt x="1911" y="248"/>
                    </a:lnTo>
                    <a:lnTo>
                      <a:pt x="1908" y="247"/>
                    </a:lnTo>
                    <a:lnTo>
                      <a:pt x="1911" y="248"/>
                    </a:lnTo>
                    <a:lnTo>
                      <a:pt x="1910" y="250"/>
                    </a:lnTo>
                    <a:lnTo>
                      <a:pt x="1913" y="253"/>
                    </a:lnTo>
                    <a:lnTo>
                      <a:pt x="1910" y="253"/>
                    </a:lnTo>
                    <a:lnTo>
                      <a:pt x="1911" y="255"/>
                    </a:lnTo>
                    <a:lnTo>
                      <a:pt x="1909" y="254"/>
                    </a:lnTo>
                    <a:lnTo>
                      <a:pt x="1910" y="257"/>
                    </a:lnTo>
                    <a:lnTo>
                      <a:pt x="1908" y="254"/>
                    </a:lnTo>
                    <a:lnTo>
                      <a:pt x="1908" y="257"/>
                    </a:lnTo>
                    <a:lnTo>
                      <a:pt x="1910" y="258"/>
                    </a:lnTo>
                    <a:lnTo>
                      <a:pt x="1908" y="257"/>
                    </a:lnTo>
                    <a:lnTo>
                      <a:pt x="1908" y="257"/>
                    </a:lnTo>
                    <a:lnTo>
                      <a:pt x="1907" y="255"/>
                    </a:lnTo>
                    <a:lnTo>
                      <a:pt x="1905" y="249"/>
                    </a:lnTo>
                    <a:lnTo>
                      <a:pt x="1902" y="249"/>
                    </a:lnTo>
                    <a:lnTo>
                      <a:pt x="1901" y="253"/>
                    </a:lnTo>
                    <a:lnTo>
                      <a:pt x="1899" y="252"/>
                    </a:lnTo>
                    <a:lnTo>
                      <a:pt x="1896" y="252"/>
                    </a:lnTo>
                    <a:lnTo>
                      <a:pt x="1895" y="254"/>
                    </a:lnTo>
                    <a:lnTo>
                      <a:pt x="1899" y="253"/>
                    </a:lnTo>
                    <a:lnTo>
                      <a:pt x="1901" y="254"/>
                    </a:lnTo>
                    <a:lnTo>
                      <a:pt x="1901" y="254"/>
                    </a:lnTo>
                    <a:lnTo>
                      <a:pt x="1901" y="254"/>
                    </a:lnTo>
                    <a:lnTo>
                      <a:pt x="1903" y="255"/>
                    </a:lnTo>
                    <a:lnTo>
                      <a:pt x="1901" y="255"/>
                    </a:lnTo>
                    <a:lnTo>
                      <a:pt x="1893" y="257"/>
                    </a:lnTo>
                    <a:lnTo>
                      <a:pt x="1890" y="257"/>
                    </a:lnTo>
                    <a:lnTo>
                      <a:pt x="1890" y="261"/>
                    </a:lnTo>
                    <a:lnTo>
                      <a:pt x="1887" y="262"/>
                    </a:lnTo>
                    <a:lnTo>
                      <a:pt x="1890" y="263"/>
                    </a:lnTo>
                    <a:lnTo>
                      <a:pt x="1896" y="258"/>
                    </a:lnTo>
                    <a:lnTo>
                      <a:pt x="1899" y="260"/>
                    </a:lnTo>
                    <a:lnTo>
                      <a:pt x="1901" y="262"/>
                    </a:lnTo>
                    <a:lnTo>
                      <a:pt x="1899" y="261"/>
                    </a:lnTo>
                    <a:lnTo>
                      <a:pt x="1896" y="261"/>
                    </a:lnTo>
                    <a:lnTo>
                      <a:pt x="1899" y="262"/>
                    </a:lnTo>
                    <a:lnTo>
                      <a:pt x="1896" y="262"/>
                    </a:lnTo>
                    <a:lnTo>
                      <a:pt x="1893" y="263"/>
                    </a:lnTo>
                    <a:lnTo>
                      <a:pt x="1896" y="265"/>
                    </a:lnTo>
                    <a:lnTo>
                      <a:pt x="1901" y="265"/>
                    </a:lnTo>
                    <a:lnTo>
                      <a:pt x="1899" y="266"/>
                    </a:lnTo>
                    <a:lnTo>
                      <a:pt x="1900" y="269"/>
                    </a:lnTo>
                    <a:lnTo>
                      <a:pt x="1898" y="269"/>
                    </a:lnTo>
                    <a:lnTo>
                      <a:pt x="1895" y="266"/>
                    </a:lnTo>
                    <a:lnTo>
                      <a:pt x="1893" y="265"/>
                    </a:lnTo>
                    <a:lnTo>
                      <a:pt x="1890" y="266"/>
                    </a:lnTo>
                    <a:lnTo>
                      <a:pt x="1893" y="265"/>
                    </a:lnTo>
                    <a:lnTo>
                      <a:pt x="1890" y="264"/>
                    </a:lnTo>
                    <a:lnTo>
                      <a:pt x="1887" y="266"/>
                    </a:lnTo>
                    <a:lnTo>
                      <a:pt x="1890" y="267"/>
                    </a:lnTo>
                    <a:lnTo>
                      <a:pt x="1890" y="267"/>
                    </a:lnTo>
                    <a:lnTo>
                      <a:pt x="1887" y="267"/>
                    </a:lnTo>
                    <a:lnTo>
                      <a:pt x="1882" y="272"/>
                    </a:lnTo>
                    <a:lnTo>
                      <a:pt x="1887" y="271"/>
                    </a:lnTo>
                    <a:lnTo>
                      <a:pt x="1887" y="272"/>
                    </a:lnTo>
                    <a:lnTo>
                      <a:pt x="1893" y="270"/>
                    </a:lnTo>
                    <a:lnTo>
                      <a:pt x="1895" y="272"/>
                    </a:lnTo>
                    <a:lnTo>
                      <a:pt x="1900" y="272"/>
                    </a:lnTo>
                    <a:lnTo>
                      <a:pt x="1898" y="272"/>
                    </a:lnTo>
                    <a:lnTo>
                      <a:pt x="1896" y="275"/>
                    </a:lnTo>
                    <a:lnTo>
                      <a:pt x="1894" y="273"/>
                    </a:lnTo>
                    <a:lnTo>
                      <a:pt x="1891" y="273"/>
                    </a:lnTo>
                    <a:lnTo>
                      <a:pt x="1890" y="273"/>
                    </a:lnTo>
                    <a:lnTo>
                      <a:pt x="1890" y="272"/>
                    </a:lnTo>
                    <a:lnTo>
                      <a:pt x="1884" y="274"/>
                    </a:lnTo>
                    <a:lnTo>
                      <a:pt x="1882" y="275"/>
                    </a:lnTo>
                    <a:lnTo>
                      <a:pt x="1884" y="276"/>
                    </a:lnTo>
                    <a:lnTo>
                      <a:pt x="1882" y="276"/>
                    </a:lnTo>
                    <a:lnTo>
                      <a:pt x="1879" y="278"/>
                    </a:lnTo>
                    <a:lnTo>
                      <a:pt x="1876" y="278"/>
                    </a:lnTo>
                    <a:lnTo>
                      <a:pt x="1874" y="279"/>
                    </a:lnTo>
                    <a:lnTo>
                      <a:pt x="1870" y="280"/>
                    </a:lnTo>
                    <a:lnTo>
                      <a:pt x="1876" y="282"/>
                    </a:lnTo>
                    <a:lnTo>
                      <a:pt x="1874" y="282"/>
                    </a:lnTo>
                    <a:lnTo>
                      <a:pt x="1870" y="283"/>
                    </a:lnTo>
                    <a:lnTo>
                      <a:pt x="1874" y="283"/>
                    </a:lnTo>
                    <a:lnTo>
                      <a:pt x="1870" y="283"/>
                    </a:lnTo>
                    <a:lnTo>
                      <a:pt x="1871" y="284"/>
                    </a:lnTo>
                    <a:lnTo>
                      <a:pt x="1874" y="284"/>
                    </a:lnTo>
                    <a:lnTo>
                      <a:pt x="1871" y="284"/>
                    </a:lnTo>
                    <a:lnTo>
                      <a:pt x="1868" y="284"/>
                    </a:lnTo>
                    <a:lnTo>
                      <a:pt x="1869" y="286"/>
                    </a:lnTo>
                    <a:lnTo>
                      <a:pt x="1866" y="286"/>
                    </a:lnTo>
                    <a:lnTo>
                      <a:pt x="1867" y="288"/>
                    </a:lnTo>
                    <a:lnTo>
                      <a:pt x="1869" y="288"/>
                    </a:lnTo>
                    <a:lnTo>
                      <a:pt x="1873" y="289"/>
                    </a:lnTo>
                    <a:lnTo>
                      <a:pt x="1869" y="288"/>
                    </a:lnTo>
                    <a:lnTo>
                      <a:pt x="1867" y="290"/>
                    </a:lnTo>
                    <a:lnTo>
                      <a:pt x="1864" y="288"/>
                    </a:lnTo>
                    <a:lnTo>
                      <a:pt x="1865" y="291"/>
                    </a:lnTo>
                    <a:lnTo>
                      <a:pt x="1865" y="293"/>
                    </a:lnTo>
                    <a:lnTo>
                      <a:pt x="1870" y="293"/>
                    </a:lnTo>
                    <a:lnTo>
                      <a:pt x="1868" y="293"/>
                    </a:lnTo>
                    <a:lnTo>
                      <a:pt x="1865" y="296"/>
                    </a:lnTo>
                    <a:lnTo>
                      <a:pt x="1868" y="295"/>
                    </a:lnTo>
                    <a:lnTo>
                      <a:pt x="1870" y="295"/>
                    </a:lnTo>
                    <a:lnTo>
                      <a:pt x="1874" y="295"/>
                    </a:lnTo>
                    <a:lnTo>
                      <a:pt x="1879" y="293"/>
                    </a:lnTo>
                    <a:lnTo>
                      <a:pt x="1875" y="296"/>
                    </a:lnTo>
                    <a:lnTo>
                      <a:pt x="1871" y="297"/>
                    </a:lnTo>
                    <a:lnTo>
                      <a:pt x="1873" y="297"/>
                    </a:lnTo>
                    <a:lnTo>
                      <a:pt x="1874" y="297"/>
                    </a:lnTo>
                    <a:lnTo>
                      <a:pt x="1875" y="297"/>
                    </a:lnTo>
                    <a:lnTo>
                      <a:pt x="1873" y="297"/>
                    </a:lnTo>
                    <a:lnTo>
                      <a:pt x="1870" y="298"/>
                    </a:lnTo>
                    <a:lnTo>
                      <a:pt x="1869" y="296"/>
                    </a:lnTo>
                    <a:lnTo>
                      <a:pt x="1864" y="297"/>
                    </a:lnTo>
                    <a:lnTo>
                      <a:pt x="1861" y="298"/>
                    </a:lnTo>
                    <a:lnTo>
                      <a:pt x="1859" y="300"/>
                    </a:lnTo>
                    <a:lnTo>
                      <a:pt x="1864" y="299"/>
                    </a:lnTo>
                    <a:lnTo>
                      <a:pt x="1862" y="301"/>
                    </a:lnTo>
                    <a:lnTo>
                      <a:pt x="1864" y="303"/>
                    </a:lnTo>
                    <a:lnTo>
                      <a:pt x="1861" y="301"/>
                    </a:lnTo>
                    <a:lnTo>
                      <a:pt x="1859" y="303"/>
                    </a:lnTo>
                    <a:lnTo>
                      <a:pt x="1858" y="308"/>
                    </a:lnTo>
                    <a:lnTo>
                      <a:pt x="1856" y="308"/>
                    </a:lnTo>
                    <a:lnTo>
                      <a:pt x="1854" y="310"/>
                    </a:lnTo>
                    <a:lnTo>
                      <a:pt x="1858" y="310"/>
                    </a:lnTo>
                    <a:lnTo>
                      <a:pt x="1858" y="314"/>
                    </a:lnTo>
                    <a:lnTo>
                      <a:pt x="1856" y="313"/>
                    </a:lnTo>
                    <a:lnTo>
                      <a:pt x="1853" y="310"/>
                    </a:lnTo>
                    <a:lnTo>
                      <a:pt x="1854" y="313"/>
                    </a:lnTo>
                    <a:lnTo>
                      <a:pt x="1851" y="315"/>
                    </a:lnTo>
                    <a:lnTo>
                      <a:pt x="1852" y="318"/>
                    </a:lnTo>
                    <a:lnTo>
                      <a:pt x="1854" y="316"/>
                    </a:lnTo>
                    <a:lnTo>
                      <a:pt x="1854" y="320"/>
                    </a:lnTo>
                    <a:lnTo>
                      <a:pt x="1857" y="320"/>
                    </a:lnTo>
                    <a:lnTo>
                      <a:pt x="1862" y="316"/>
                    </a:lnTo>
                    <a:lnTo>
                      <a:pt x="1859" y="318"/>
                    </a:lnTo>
                    <a:lnTo>
                      <a:pt x="1853" y="322"/>
                    </a:lnTo>
                    <a:lnTo>
                      <a:pt x="1851" y="322"/>
                    </a:lnTo>
                    <a:lnTo>
                      <a:pt x="1854" y="321"/>
                    </a:lnTo>
                    <a:lnTo>
                      <a:pt x="1849" y="320"/>
                    </a:lnTo>
                    <a:lnTo>
                      <a:pt x="1847" y="323"/>
                    </a:lnTo>
                    <a:lnTo>
                      <a:pt x="1849" y="322"/>
                    </a:lnTo>
                    <a:lnTo>
                      <a:pt x="1847" y="323"/>
                    </a:lnTo>
                    <a:lnTo>
                      <a:pt x="1844" y="323"/>
                    </a:lnTo>
                    <a:lnTo>
                      <a:pt x="1842" y="325"/>
                    </a:lnTo>
                    <a:lnTo>
                      <a:pt x="1844" y="325"/>
                    </a:lnTo>
                    <a:lnTo>
                      <a:pt x="1840" y="326"/>
                    </a:lnTo>
                    <a:lnTo>
                      <a:pt x="1842" y="327"/>
                    </a:lnTo>
                    <a:lnTo>
                      <a:pt x="1844" y="326"/>
                    </a:lnTo>
                    <a:lnTo>
                      <a:pt x="1850" y="324"/>
                    </a:lnTo>
                    <a:lnTo>
                      <a:pt x="1852" y="324"/>
                    </a:lnTo>
                    <a:lnTo>
                      <a:pt x="1849" y="324"/>
                    </a:lnTo>
                    <a:lnTo>
                      <a:pt x="1847" y="325"/>
                    </a:lnTo>
                    <a:lnTo>
                      <a:pt x="1844" y="327"/>
                    </a:lnTo>
                    <a:lnTo>
                      <a:pt x="1847" y="327"/>
                    </a:lnTo>
                    <a:lnTo>
                      <a:pt x="1841" y="330"/>
                    </a:lnTo>
                    <a:lnTo>
                      <a:pt x="1842" y="332"/>
                    </a:lnTo>
                    <a:lnTo>
                      <a:pt x="1845" y="332"/>
                    </a:lnTo>
                    <a:lnTo>
                      <a:pt x="1843" y="335"/>
                    </a:lnTo>
                    <a:lnTo>
                      <a:pt x="1844" y="335"/>
                    </a:lnTo>
                    <a:lnTo>
                      <a:pt x="1843" y="335"/>
                    </a:lnTo>
                    <a:lnTo>
                      <a:pt x="1840" y="338"/>
                    </a:lnTo>
                    <a:lnTo>
                      <a:pt x="1838" y="334"/>
                    </a:lnTo>
                    <a:lnTo>
                      <a:pt x="1832" y="334"/>
                    </a:lnTo>
                    <a:lnTo>
                      <a:pt x="1833" y="337"/>
                    </a:lnTo>
                    <a:lnTo>
                      <a:pt x="1831" y="337"/>
                    </a:lnTo>
                    <a:lnTo>
                      <a:pt x="1827" y="339"/>
                    </a:lnTo>
                    <a:lnTo>
                      <a:pt x="1827" y="341"/>
                    </a:lnTo>
                    <a:lnTo>
                      <a:pt x="1824" y="341"/>
                    </a:lnTo>
                    <a:lnTo>
                      <a:pt x="1823" y="344"/>
                    </a:lnTo>
                    <a:lnTo>
                      <a:pt x="1822" y="347"/>
                    </a:lnTo>
                    <a:lnTo>
                      <a:pt x="1824" y="346"/>
                    </a:lnTo>
                    <a:lnTo>
                      <a:pt x="1822" y="347"/>
                    </a:lnTo>
                    <a:lnTo>
                      <a:pt x="1822" y="348"/>
                    </a:lnTo>
                    <a:lnTo>
                      <a:pt x="1824" y="347"/>
                    </a:lnTo>
                    <a:lnTo>
                      <a:pt x="1816" y="350"/>
                    </a:lnTo>
                    <a:lnTo>
                      <a:pt x="1819" y="350"/>
                    </a:lnTo>
                    <a:lnTo>
                      <a:pt x="1816" y="352"/>
                    </a:lnTo>
                    <a:lnTo>
                      <a:pt x="1822" y="351"/>
                    </a:lnTo>
                    <a:lnTo>
                      <a:pt x="1822" y="351"/>
                    </a:lnTo>
                    <a:lnTo>
                      <a:pt x="1819" y="353"/>
                    </a:lnTo>
                    <a:lnTo>
                      <a:pt x="1822" y="357"/>
                    </a:lnTo>
                    <a:lnTo>
                      <a:pt x="1828" y="355"/>
                    </a:lnTo>
                    <a:lnTo>
                      <a:pt x="1831" y="352"/>
                    </a:lnTo>
                    <a:lnTo>
                      <a:pt x="1834" y="351"/>
                    </a:lnTo>
                    <a:lnTo>
                      <a:pt x="1836" y="349"/>
                    </a:lnTo>
                    <a:lnTo>
                      <a:pt x="1834" y="348"/>
                    </a:lnTo>
                    <a:lnTo>
                      <a:pt x="1832" y="349"/>
                    </a:lnTo>
                    <a:lnTo>
                      <a:pt x="1840" y="344"/>
                    </a:lnTo>
                    <a:lnTo>
                      <a:pt x="1843" y="344"/>
                    </a:lnTo>
                    <a:lnTo>
                      <a:pt x="1842" y="346"/>
                    </a:lnTo>
                    <a:lnTo>
                      <a:pt x="1840" y="346"/>
                    </a:lnTo>
                    <a:lnTo>
                      <a:pt x="1838" y="349"/>
                    </a:lnTo>
                    <a:lnTo>
                      <a:pt x="1840" y="350"/>
                    </a:lnTo>
                    <a:lnTo>
                      <a:pt x="1838" y="351"/>
                    </a:lnTo>
                    <a:lnTo>
                      <a:pt x="1834" y="352"/>
                    </a:lnTo>
                    <a:lnTo>
                      <a:pt x="1832" y="355"/>
                    </a:lnTo>
                    <a:lnTo>
                      <a:pt x="1835" y="355"/>
                    </a:lnTo>
                    <a:lnTo>
                      <a:pt x="1834" y="357"/>
                    </a:lnTo>
                    <a:lnTo>
                      <a:pt x="1824" y="357"/>
                    </a:lnTo>
                    <a:lnTo>
                      <a:pt x="1824" y="360"/>
                    </a:lnTo>
                    <a:lnTo>
                      <a:pt x="1822" y="359"/>
                    </a:lnTo>
                    <a:lnTo>
                      <a:pt x="1819" y="360"/>
                    </a:lnTo>
                    <a:lnTo>
                      <a:pt x="1822" y="358"/>
                    </a:lnTo>
                    <a:lnTo>
                      <a:pt x="1822" y="357"/>
                    </a:lnTo>
                    <a:lnTo>
                      <a:pt x="1817" y="353"/>
                    </a:lnTo>
                    <a:lnTo>
                      <a:pt x="1815" y="356"/>
                    </a:lnTo>
                    <a:lnTo>
                      <a:pt x="1811" y="357"/>
                    </a:lnTo>
                    <a:lnTo>
                      <a:pt x="1815" y="357"/>
                    </a:lnTo>
                    <a:lnTo>
                      <a:pt x="1811" y="359"/>
                    </a:lnTo>
                    <a:lnTo>
                      <a:pt x="1815" y="359"/>
                    </a:lnTo>
                    <a:lnTo>
                      <a:pt x="1811" y="359"/>
                    </a:lnTo>
                    <a:lnTo>
                      <a:pt x="1809" y="361"/>
                    </a:lnTo>
                    <a:lnTo>
                      <a:pt x="1810" y="358"/>
                    </a:lnTo>
                    <a:lnTo>
                      <a:pt x="1805" y="358"/>
                    </a:lnTo>
                    <a:lnTo>
                      <a:pt x="1804" y="360"/>
                    </a:lnTo>
                    <a:lnTo>
                      <a:pt x="1804" y="363"/>
                    </a:lnTo>
                    <a:lnTo>
                      <a:pt x="1806" y="363"/>
                    </a:lnTo>
                    <a:lnTo>
                      <a:pt x="1801" y="364"/>
                    </a:lnTo>
                    <a:lnTo>
                      <a:pt x="1797" y="365"/>
                    </a:lnTo>
                    <a:lnTo>
                      <a:pt x="1800" y="366"/>
                    </a:lnTo>
                    <a:lnTo>
                      <a:pt x="1802" y="366"/>
                    </a:lnTo>
                    <a:lnTo>
                      <a:pt x="1801" y="369"/>
                    </a:lnTo>
                    <a:lnTo>
                      <a:pt x="1805" y="370"/>
                    </a:lnTo>
                    <a:lnTo>
                      <a:pt x="1801" y="369"/>
                    </a:lnTo>
                    <a:lnTo>
                      <a:pt x="1799" y="367"/>
                    </a:lnTo>
                    <a:lnTo>
                      <a:pt x="1797" y="365"/>
                    </a:lnTo>
                    <a:lnTo>
                      <a:pt x="1794" y="365"/>
                    </a:lnTo>
                    <a:lnTo>
                      <a:pt x="1798" y="370"/>
                    </a:lnTo>
                    <a:lnTo>
                      <a:pt x="1800" y="372"/>
                    </a:lnTo>
                    <a:lnTo>
                      <a:pt x="1801" y="373"/>
                    </a:lnTo>
                    <a:lnTo>
                      <a:pt x="1802" y="373"/>
                    </a:lnTo>
                    <a:lnTo>
                      <a:pt x="1802" y="374"/>
                    </a:lnTo>
                    <a:lnTo>
                      <a:pt x="1801" y="373"/>
                    </a:lnTo>
                    <a:lnTo>
                      <a:pt x="1797" y="370"/>
                    </a:lnTo>
                    <a:lnTo>
                      <a:pt x="1794" y="367"/>
                    </a:lnTo>
                    <a:lnTo>
                      <a:pt x="1792" y="368"/>
                    </a:lnTo>
                    <a:lnTo>
                      <a:pt x="1788" y="367"/>
                    </a:lnTo>
                    <a:lnTo>
                      <a:pt x="1787" y="367"/>
                    </a:lnTo>
                    <a:lnTo>
                      <a:pt x="1784" y="367"/>
                    </a:lnTo>
                    <a:lnTo>
                      <a:pt x="1781" y="368"/>
                    </a:lnTo>
                    <a:lnTo>
                      <a:pt x="1784" y="370"/>
                    </a:lnTo>
                    <a:lnTo>
                      <a:pt x="1781" y="370"/>
                    </a:lnTo>
                    <a:lnTo>
                      <a:pt x="1784" y="373"/>
                    </a:lnTo>
                    <a:lnTo>
                      <a:pt x="1789" y="372"/>
                    </a:lnTo>
                    <a:lnTo>
                      <a:pt x="1787" y="373"/>
                    </a:lnTo>
                    <a:lnTo>
                      <a:pt x="1790" y="373"/>
                    </a:lnTo>
                    <a:lnTo>
                      <a:pt x="1794" y="372"/>
                    </a:lnTo>
                    <a:lnTo>
                      <a:pt x="1789" y="374"/>
                    </a:lnTo>
                    <a:lnTo>
                      <a:pt x="1791" y="376"/>
                    </a:lnTo>
                    <a:lnTo>
                      <a:pt x="1791" y="376"/>
                    </a:lnTo>
                    <a:lnTo>
                      <a:pt x="1788" y="376"/>
                    </a:lnTo>
                    <a:lnTo>
                      <a:pt x="1785" y="375"/>
                    </a:lnTo>
                    <a:lnTo>
                      <a:pt x="1782" y="375"/>
                    </a:lnTo>
                    <a:lnTo>
                      <a:pt x="1780" y="375"/>
                    </a:lnTo>
                    <a:lnTo>
                      <a:pt x="1776" y="375"/>
                    </a:lnTo>
                    <a:lnTo>
                      <a:pt x="1771" y="375"/>
                    </a:lnTo>
                    <a:lnTo>
                      <a:pt x="1774" y="376"/>
                    </a:lnTo>
                    <a:lnTo>
                      <a:pt x="1771" y="378"/>
                    </a:lnTo>
                    <a:lnTo>
                      <a:pt x="1775" y="378"/>
                    </a:lnTo>
                    <a:lnTo>
                      <a:pt x="1777" y="378"/>
                    </a:lnTo>
                    <a:lnTo>
                      <a:pt x="1780" y="380"/>
                    </a:lnTo>
                    <a:lnTo>
                      <a:pt x="1782" y="382"/>
                    </a:lnTo>
                    <a:lnTo>
                      <a:pt x="1785" y="382"/>
                    </a:lnTo>
                    <a:lnTo>
                      <a:pt x="1782" y="382"/>
                    </a:lnTo>
                    <a:lnTo>
                      <a:pt x="1781" y="385"/>
                    </a:lnTo>
                    <a:lnTo>
                      <a:pt x="1784" y="385"/>
                    </a:lnTo>
                    <a:lnTo>
                      <a:pt x="1781" y="386"/>
                    </a:lnTo>
                    <a:lnTo>
                      <a:pt x="1781" y="385"/>
                    </a:lnTo>
                    <a:lnTo>
                      <a:pt x="1781" y="383"/>
                    </a:lnTo>
                    <a:lnTo>
                      <a:pt x="1780" y="381"/>
                    </a:lnTo>
                    <a:lnTo>
                      <a:pt x="1777" y="378"/>
                    </a:lnTo>
                    <a:lnTo>
                      <a:pt x="1774" y="380"/>
                    </a:lnTo>
                    <a:lnTo>
                      <a:pt x="1774" y="382"/>
                    </a:lnTo>
                    <a:lnTo>
                      <a:pt x="1775" y="384"/>
                    </a:lnTo>
                    <a:lnTo>
                      <a:pt x="1773" y="381"/>
                    </a:lnTo>
                    <a:lnTo>
                      <a:pt x="1770" y="381"/>
                    </a:lnTo>
                    <a:lnTo>
                      <a:pt x="1767" y="383"/>
                    </a:lnTo>
                    <a:lnTo>
                      <a:pt x="1768" y="385"/>
                    </a:lnTo>
                    <a:lnTo>
                      <a:pt x="1772" y="386"/>
                    </a:lnTo>
                    <a:lnTo>
                      <a:pt x="1766" y="386"/>
                    </a:lnTo>
                    <a:lnTo>
                      <a:pt x="1765" y="384"/>
                    </a:lnTo>
                    <a:lnTo>
                      <a:pt x="1759" y="385"/>
                    </a:lnTo>
                    <a:lnTo>
                      <a:pt x="1760" y="387"/>
                    </a:lnTo>
                    <a:lnTo>
                      <a:pt x="1758" y="385"/>
                    </a:lnTo>
                    <a:lnTo>
                      <a:pt x="1756" y="386"/>
                    </a:lnTo>
                    <a:lnTo>
                      <a:pt x="1758" y="387"/>
                    </a:lnTo>
                    <a:lnTo>
                      <a:pt x="1756" y="390"/>
                    </a:lnTo>
                    <a:lnTo>
                      <a:pt x="1758" y="390"/>
                    </a:lnTo>
                    <a:lnTo>
                      <a:pt x="1764" y="390"/>
                    </a:lnTo>
                    <a:lnTo>
                      <a:pt x="1770" y="391"/>
                    </a:lnTo>
                    <a:lnTo>
                      <a:pt x="1775" y="391"/>
                    </a:lnTo>
                    <a:lnTo>
                      <a:pt x="1777" y="391"/>
                    </a:lnTo>
                    <a:lnTo>
                      <a:pt x="1775" y="392"/>
                    </a:lnTo>
                    <a:lnTo>
                      <a:pt x="1772" y="392"/>
                    </a:lnTo>
                    <a:lnTo>
                      <a:pt x="1766" y="393"/>
                    </a:lnTo>
                    <a:lnTo>
                      <a:pt x="1764" y="392"/>
                    </a:lnTo>
                    <a:lnTo>
                      <a:pt x="1760" y="390"/>
                    </a:lnTo>
                    <a:lnTo>
                      <a:pt x="1758" y="391"/>
                    </a:lnTo>
                    <a:lnTo>
                      <a:pt x="1756" y="392"/>
                    </a:lnTo>
                    <a:lnTo>
                      <a:pt x="1754" y="395"/>
                    </a:lnTo>
                    <a:lnTo>
                      <a:pt x="1756" y="397"/>
                    </a:lnTo>
                    <a:lnTo>
                      <a:pt x="1759" y="395"/>
                    </a:lnTo>
                    <a:lnTo>
                      <a:pt x="1754" y="397"/>
                    </a:lnTo>
                    <a:lnTo>
                      <a:pt x="1756" y="397"/>
                    </a:lnTo>
                    <a:lnTo>
                      <a:pt x="1759" y="397"/>
                    </a:lnTo>
                    <a:lnTo>
                      <a:pt x="1756" y="397"/>
                    </a:lnTo>
                    <a:lnTo>
                      <a:pt x="1759" y="398"/>
                    </a:lnTo>
                    <a:lnTo>
                      <a:pt x="1757" y="399"/>
                    </a:lnTo>
                    <a:lnTo>
                      <a:pt x="1762" y="400"/>
                    </a:lnTo>
                    <a:lnTo>
                      <a:pt x="1765" y="400"/>
                    </a:lnTo>
                    <a:lnTo>
                      <a:pt x="1762" y="400"/>
                    </a:lnTo>
                    <a:lnTo>
                      <a:pt x="1759" y="399"/>
                    </a:lnTo>
                    <a:lnTo>
                      <a:pt x="1754" y="401"/>
                    </a:lnTo>
                    <a:lnTo>
                      <a:pt x="1756" y="401"/>
                    </a:lnTo>
                    <a:lnTo>
                      <a:pt x="1762" y="401"/>
                    </a:lnTo>
                    <a:lnTo>
                      <a:pt x="1757" y="402"/>
                    </a:lnTo>
                    <a:lnTo>
                      <a:pt x="1754" y="403"/>
                    </a:lnTo>
                    <a:lnTo>
                      <a:pt x="1756" y="404"/>
                    </a:lnTo>
                    <a:lnTo>
                      <a:pt x="1759" y="408"/>
                    </a:lnTo>
                    <a:lnTo>
                      <a:pt x="1765" y="404"/>
                    </a:lnTo>
                    <a:lnTo>
                      <a:pt x="1771" y="404"/>
                    </a:lnTo>
                    <a:lnTo>
                      <a:pt x="1773" y="407"/>
                    </a:lnTo>
                    <a:lnTo>
                      <a:pt x="1776" y="402"/>
                    </a:lnTo>
                    <a:lnTo>
                      <a:pt x="1775" y="404"/>
                    </a:lnTo>
                    <a:lnTo>
                      <a:pt x="1776" y="404"/>
                    </a:lnTo>
                    <a:lnTo>
                      <a:pt x="1782" y="404"/>
                    </a:lnTo>
                    <a:lnTo>
                      <a:pt x="1780" y="406"/>
                    </a:lnTo>
                    <a:lnTo>
                      <a:pt x="1783" y="406"/>
                    </a:lnTo>
                    <a:lnTo>
                      <a:pt x="1785" y="406"/>
                    </a:lnTo>
                    <a:lnTo>
                      <a:pt x="1784" y="403"/>
                    </a:lnTo>
                    <a:lnTo>
                      <a:pt x="1787" y="401"/>
                    </a:lnTo>
                    <a:lnTo>
                      <a:pt x="1785" y="403"/>
                    </a:lnTo>
                    <a:lnTo>
                      <a:pt x="1787" y="404"/>
                    </a:lnTo>
                    <a:lnTo>
                      <a:pt x="1788" y="404"/>
                    </a:lnTo>
                    <a:lnTo>
                      <a:pt x="1790" y="404"/>
                    </a:lnTo>
                    <a:lnTo>
                      <a:pt x="1788" y="407"/>
                    </a:lnTo>
                    <a:lnTo>
                      <a:pt x="1784" y="406"/>
                    </a:lnTo>
                    <a:lnTo>
                      <a:pt x="1781" y="408"/>
                    </a:lnTo>
                    <a:lnTo>
                      <a:pt x="1782" y="410"/>
                    </a:lnTo>
                    <a:lnTo>
                      <a:pt x="1780" y="410"/>
                    </a:lnTo>
                    <a:lnTo>
                      <a:pt x="1780" y="408"/>
                    </a:lnTo>
                    <a:lnTo>
                      <a:pt x="1777" y="406"/>
                    </a:lnTo>
                    <a:lnTo>
                      <a:pt x="1774" y="407"/>
                    </a:lnTo>
                    <a:lnTo>
                      <a:pt x="1764" y="407"/>
                    </a:lnTo>
                    <a:lnTo>
                      <a:pt x="1756" y="409"/>
                    </a:lnTo>
                    <a:lnTo>
                      <a:pt x="1755" y="412"/>
                    </a:lnTo>
                    <a:lnTo>
                      <a:pt x="1757" y="412"/>
                    </a:lnTo>
                    <a:lnTo>
                      <a:pt x="1760" y="412"/>
                    </a:lnTo>
                    <a:lnTo>
                      <a:pt x="1758" y="414"/>
                    </a:lnTo>
                    <a:lnTo>
                      <a:pt x="1759" y="416"/>
                    </a:lnTo>
                    <a:lnTo>
                      <a:pt x="1757" y="415"/>
                    </a:lnTo>
                    <a:lnTo>
                      <a:pt x="1754" y="414"/>
                    </a:lnTo>
                    <a:lnTo>
                      <a:pt x="1756" y="416"/>
                    </a:lnTo>
                    <a:lnTo>
                      <a:pt x="1757" y="418"/>
                    </a:lnTo>
                    <a:lnTo>
                      <a:pt x="1762" y="416"/>
                    </a:lnTo>
                    <a:lnTo>
                      <a:pt x="1764" y="416"/>
                    </a:lnTo>
                    <a:lnTo>
                      <a:pt x="1764" y="418"/>
                    </a:lnTo>
                    <a:lnTo>
                      <a:pt x="1763" y="419"/>
                    </a:lnTo>
                    <a:lnTo>
                      <a:pt x="1763" y="419"/>
                    </a:lnTo>
                    <a:lnTo>
                      <a:pt x="1762" y="420"/>
                    </a:lnTo>
                    <a:lnTo>
                      <a:pt x="1762" y="420"/>
                    </a:lnTo>
                    <a:lnTo>
                      <a:pt x="1762" y="420"/>
                    </a:lnTo>
                    <a:lnTo>
                      <a:pt x="1758" y="419"/>
                    </a:lnTo>
                    <a:lnTo>
                      <a:pt x="1756" y="421"/>
                    </a:lnTo>
                    <a:lnTo>
                      <a:pt x="1757" y="425"/>
                    </a:lnTo>
                    <a:lnTo>
                      <a:pt x="1759" y="426"/>
                    </a:lnTo>
                    <a:lnTo>
                      <a:pt x="1762" y="424"/>
                    </a:lnTo>
                    <a:lnTo>
                      <a:pt x="1762" y="426"/>
                    </a:lnTo>
                    <a:lnTo>
                      <a:pt x="1764" y="426"/>
                    </a:lnTo>
                    <a:lnTo>
                      <a:pt x="1764" y="429"/>
                    </a:lnTo>
                    <a:lnTo>
                      <a:pt x="1765" y="429"/>
                    </a:lnTo>
                    <a:lnTo>
                      <a:pt x="1767" y="425"/>
                    </a:lnTo>
                    <a:lnTo>
                      <a:pt x="1770" y="424"/>
                    </a:lnTo>
                    <a:lnTo>
                      <a:pt x="1772" y="421"/>
                    </a:lnTo>
                    <a:lnTo>
                      <a:pt x="1774" y="420"/>
                    </a:lnTo>
                    <a:lnTo>
                      <a:pt x="1780" y="420"/>
                    </a:lnTo>
                    <a:lnTo>
                      <a:pt x="1777" y="421"/>
                    </a:lnTo>
                    <a:lnTo>
                      <a:pt x="1775" y="426"/>
                    </a:lnTo>
                    <a:lnTo>
                      <a:pt x="1775" y="424"/>
                    </a:lnTo>
                    <a:lnTo>
                      <a:pt x="1775" y="421"/>
                    </a:lnTo>
                    <a:lnTo>
                      <a:pt x="1773" y="423"/>
                    </a:lnTo>
                    <a:lnTo>
                      <a:pt x="1770" y="425"/>
                    </a:lnTo>
                    <a:lnTo>
                      <a:pt x="1770" y="427"/>
                    </a:lnTo>
                    <a:lnTo>
                      <a:pt x="1766" y="429"/>
                    </a:lnTo>
                    <a:lnTo>
                      <a:pt x="1767" y="430"/>
                    </a:lnTo>
                    <a:lnTo>
                      <a:pt x="1764" y="432"/>
                    </a:lnTo>
                    <a:lnTo>
                      <a:pt x="1763" y="433"/>
                    </a:lnTo>
                    <a:lnTo>
                      <a:pt x="1766" y="434"/>
                    </a:lnTo>
                    <a:lnTo>
                      <a:pt x="1768" y="435"/>
                    </a:lnTo>
                    <a:lnTo>
                      <a:pt x="1771" y="433"/>
                    </a:lnTo>
                    <a:lnTo>
                      <a:pt x="1768" y="435"/>
                    </a:lnTo>
                    <a:lnTo>
                      <a:pt x="1766" y="435"/>
                    </a:lnTo>
                    <a:lnTo>
                      <a:pt x="1765" y="437"/>
                    </a:lnTo>
                    <a:lnTo>
                      <a:pt x="1762" y="436"/>
                    </a:lnTo>
                    <a:lnTo>
                      <a:pt x="1762" y="438"/>
                    </a:lnTo>
                    <a:lnTo>
                      <a:pt x="1758" y="440"/>
                    </a:lnTo>
                    <a:lnTo>
                      <a:pt x="1760" y="437"/>
                    </a:lnTo>
                    <a:lnTo>
                      <a:pt x="1758" y="437"/>
                    </a:lnTo>
                    <a:lnTo>
                      <a:pt x="1757" y="440"/>
                    </a:lnTo>
                    <a:lnTo>
                      <a:pt x="1758" y="443"/>
                    </a:lnTo>
                    <a:lnTo>
                      <a:pt x="1759" y="444"/>
                    </a:lnTo>
                    <a:lnTo>
                      <a:pt x="1762" y="442"/>
                    </a:lnTo>
                    <a:lnTo>
                      <a:pt x="1763" y="444"/>
                    </a:lnTo>
                    <a:lnTo>
                      <a:pt x="1765" y="443"/>
                    </a:lnTo>
                    <a:lnTo>
                      <a:pt x="1764" y="441"/>
                    </a:lnTo>
                    <a:lnTo>
                      <a:pt x="1770" y="441"/>
                    </a:lnTo>
                    <a:lnTo>
                      <a:pt x="1766" y="441"/>
                    </a:lnTo>
                    <a:lnTo>
                      <a:pt x="1770" y="442"/>
                    </a:lnTo>
                    <a:lnTo>
                      <a:pt x="1771" y="440"/>
                    </a:lnTo>
                    <a:lnTo>
                      <a:pt x="1771" y="437"/>
                    </a:lnTo>
                    <a:lnTo>
                      <a:pt x="1774" y="438"/>
                    </a:lnTo>
                    <a:lnTo>
                      <a:pt x="1771" y="440"/>
                    </a:lnTo>
                    <a:lnTo>
                      <a:pt x="1770" y="442"/>
                    </a:lnTo>
                    <a:lnTo>
                      <a:pt x="1768" y="442"/>
                    </a:lnTo>
                    <a:lnTo>
                      <a:pt x="1771" y="443"/>
                    </a:lnTo>
                    <a:lnTo>
                      <a:pt x="1770" y="444"/>
                    </a:lnTo>
                    <a:lnTo>
                      <a:pt x="1772" y="444"/>
                    </a:lnTo>
                    <a:lnTo>
                      <a:pt x="1770" y="445"/>
                    </a:lnTo>
                    <a:lnTo>
                      <a:pt x="1766" y="447"/>
                    </a:lnTo>
                    <a:lnTo>
                      <a:pt x="1767" y="450"/>
                    </a:lnTo>
                    <a:lnTo>
                      <a:pt x="1768" y="452"/>
                    </a:lnTo>
                    <a:lnTo>
                      <a:pt x="1771" y="450"/>
                    </a:lnTo>
                    <a:lnTo>
                      <a:pt x="1774" y="449"/>
                    </a:lnTo>
                    <a:lnTo>
                      <a:pt x="1771" y="450"/>
                    </a:lnTo>
                    <a:lnTo>
                      <a:pt x="1770" y="453"/>
                    </a:lnTo>
                    <a:lnTo>
                      <a:pt x="1767" y="452"/>
                    </a:lnTo>
                    <a:lnTo>
                      <a:pt x="1765" y="452"/>
                    </a:lnTo>
                    <a:lnTo>
                      <a:pt x="1763" y="450"/>
                    </a:lnTo>
                    <a:lnTo>
                      <a:pt x="1762" y="452"/>
                    </a:lnTo>
                    <a:lnTo>
                      <a:pt x="1760" y="455"/>
                    </a:lnTo>
                    <a:lnTo>
                      <a:pt x="1760" y="457"/>
                    </a:lnTo>
                    <a:lnTo>
                      <a:pt x="1763" y="460"/>
                    </a:lnTo>
                    <a:lnTo>
                      <a:pt x="1766" y="461"/>
                    </a:lnTo>
                    <a:lnTo>
                      <a:pt x="1768" y="463"/>
                    </a:lnTo>
                    <a:lnTo>
                      <a:pt x="1772" y="463"/>
                    </a:lnTo>
                    <a:lnTo>
                      <a:pt x="1772" y="464"/>
                    </a:lnTo>
                    <a:lnTo>
                      <a:pt x="1779" y="466"/>
                    </a:lnTo>
                    <a:lnTo>
                      <a:pt x="1780" y="464"/>
                    </a:lnTo>
                    <a:lnTo>
                      <a:pt x="1777" y="466"/>
                    </a:lnTo>
                    <a:lnTo>
                      <a:pt x="1775" y="469"/>
                    </a:lnTo>
                    <a:lnTo>
                      <a:pt x="1781" y="468"/>
                    </a:lnTo>
                    <a:lnTo>
                      <a:pt x="1784" y="469"/>
                    </a:lnTo>
                    <a:lnTo>
                      <a:pt x="1788" y="470"/>
                    </a:lnTo>
                    <a:lnTo>
                      <a:pt x="1789" y="470"/>
                    </a:lnTo>
                    <a:lnTo>
                      <a:pt x="1794" y="468"/>
                    </a:lnTo>
                    <a:lnTo>
                      <a:pt x="1796" y="467"/>
                    </a:lnTo>
                    <a:lnTo>
                      <a:pt x="1797" y="467"/>
                    </a:lnTo>
                    <a:lnTo>
                      <a:pt x="1802" y="464"/>
                    </a:lnTo>
                    <a:lnTo>
                      <a:pt x="1805" y="461"/>
                    </a:lnTo>
                    <a:lnTo>
                      <a:pt x="1814" y="454"/>
                    </a:lnTo>
                    <a:lnTo>
                      <a:pt x="1815" y="452"/>
                    </a:lnTo>
                    <a:lnTo>
                      <a:pt x="1817" y="451"/>
                    </a:lnTo>
                    <a:lnTo>
                      <a:pt x="1817" y="449"/>
                    </a:lnTo>
                    <a:lnTo>
                      <a:pt x="1817" y="447"/>
                    </a:lnTo>
                    <a:lnTo>
                      <a:pt x="1817" y="449"/>
                    </a:lnTo>
                    <a:lnTo>
                      <a:pt x="1819" y="450"/>
                    </a:lnTo>
                    <a:lnTo>
                      <a:pt x="1822" y="451"/>
                    </a:lnTo>
                    <a:lnTo>
                      <a:pt x="1823" y="449"/>
                    </a:lnTo>
                    <a:lnTo>
                      <a:pt x="1825" y="447"/>
                    </a:lnTo>
                    <a:lnTo>
                      <a:pt x="1827" y="445"/>
                    </a:lnTo>
                    <a:lnTo>
                      <a:pt x="1828" y="442"/>
                    </a:lnTo>
                    <a:lnTo>
                      <a:pt x="1826" y="440"/>
                    </a:lnTo>
                    <a:lnTo>
                      <a:pt x="1827" y="437"/>
                    </a:lnTo>
                    <a:lnTo>
                      <a:pt x="1831" y="438"/>
                    </a:lnTo>
                    <a:lnTo>
                      <a:pt x="1830" y="436"/>
                    </a:lnTo>
                    <a:lnTo>
                      <a:pt x="1828" y="434"/>
                    </a:lnTo>
                    <a:lnTo>
                      <a:pt x="1831" y="432"/>
                    </a:lnTo>
                    <a:lnTo>
                      <a:pt x="1833" y="433"/>
                    </a:lnTo>
                    <a:lnTo>
                      <a:pt x="1831" y="436"/>
                    </a:lnTo>
                    <a:lnTo>
                      <a:pt x="1832" y="440"/>
                    </a:lnTo>
                    <a:lnTo>
                      <a:pt x="1832" y="443"/>
                    </a:lnTo>
                    <a:lnTo>
                      <a:pt x="1832" y="445"/>
                    </a:lnTo>
                    <a:lnTo>
                      <a:pt x="1834" y="445"/>
                    </a:lnTo>
                    <a:lnTo>
                      <a:pt x="1838" y="446"/>
                    </a:lnTo>
                    <a:lnTo>
                      <a:pt x="1839" y="449"/>
                    </a:lnTo>
                    <a:lnTo>
                      <a:pt x="1838" y="451"/>
                    </a:lnTo>
                    <a:lnTo>
                      <a:pt x="1839" y="453"/>
                    </a:lnTo>
                    <a:lnTo>
                      <a:pt x="1839" y="457"/>
                    </a:lnTo>
                    <a:lnTo>
                      <a:pt x="1840" y="461"/>
                    </a:lnTo>
                    <a:lnTo>
                      <a:pt x="1842" y="464"/>
                    </a:lnTo>
                    <a:lnTo>
                      <a:pt x="1843" y="461"/>
                    </a:lnTo>
                    <a:lnTo>
                      <a:pt x="1843" y="464"/>
                    </a:lnTo>
                    <a:lnTo>
                      <a:pt x="1845" y="463"/>
                    </a:lnTo>
                    <a:lnTo>
                      <a:pt x="1847" y="466"/>
                    </a:lnTo>
                    <a:lnTo>
                      <a:pt x="1847" y="466"/>
                    </a:lnTo>
                    <a:lnTo>
                      <a:pt x="1847" y="466"/>
                    </a:lnTo>
                    <a:lnTo>
                      <a:pt x="1848" y="467"/>
                    </a:lnTo>
                    <a:lnTo>
                      <a:pt x="1847" y="469"/>
                    </a:lnTo>
                    <a:lnTo>
                      <a:pt x="1845" y="474"/>
                    </a:lnTo>
                    <a:lnTo>
                      <a:pt x="1848" y="474"/>
                    </a:lnTo>
                    <a:lnTo>
                      <a:pt x="1848" y="477"/>
                    </a:lnTo>
                    <a:lnTo>
                      <a:pt x="1849" y="478"/>
                    </a:lnTo>
                    <a:lnTo>
                      <a:pt x="1848" y="481"/>
                    </a:lnTo>
                    <a:lnTo>
                      <a:pt x="1851" y="481"/>
                    </a:lnTo>
                    <a:lnTo>
                      <a:pt x="1852" y="487"/>
                    </a:lnTo>
                    <a:lnTo>
                      <a:pt x="1853" y="489"/>
                    </a:lnTo>
                    <a:lnTo>
                      <a:pt x="1856" y="492"/>
                    </a:lnTo>
                    <a:lnTo>
                      <a:pt x="1856" y="492"/>
                    </a:lnTo>
                    <a:lnTo>
                      <a:pt x="1857" y="493"/>
                    </a:lnTo>
                    <a:lnTo>
                      <a:pt x="1859" y="496"/>
                    </a:lnTo>
                    <a:lnTo>
                      <a:pt x="1861" y="496"/>
                    </a:lnTo>
                    <a:lnTo>
                      <a:pt x="1862" y="498"/>
                    </a:lnTo>
                    <a:lnTo>
                      <a:pt x="1861" y="501"/>
                    </a:lnTo>
                    <a:lnTo>
                      <a:pt x="1859" y="500"/>
                    </a:lnTo>
                    <a:lnTo>
                      <a:pt x="1860" y="505"/>
                    </a:lnTo>
                    <a:lnTo>
                      <a:pt x="1858" y="504"/>
                    </a:lnTo>
                    <a:lnTo>
                      <a:pt x="1858" y="506"/>
                    </a:lnTo>
                    <a:lnTo>
                      <a:pt x="1859" y="509"/>
                    </a:lnTo>
                    <a:lnTo>
                      <a:pt x="1861" y="514"/>
                    </a:lnTo>
                    <a:lnTo>
                      <a:pt x="1862" y="517"/>
                    </a:lnTo>
                    <a:lnTo>
                      <a:pt x="1862" y="519"/>
                    </a:lnTo>
                    <a:lnTo>
                      <a:pt x="1865" y="521"/>
                    </a:lnTo>
                    <a:lnTo>
                      <a:pt x="1868" y="522"/>
                    </a:lnTo>
                    <a:lnTo>
                      <a:pt x="1874" y="520"/>
                    </a:lnTo>
                    <a:lnTo>
                      <a:pt x="1879" y="521"/>
                    </a:lnTo>
                    <a:lnTo>
                      <a:pt x="1882" y="518"/>
                    </a:lnTo>
                    <a:lnTo>
                      <a:pt x="1879" y="515"/>
                    </a:lnTo>
                    <a:lnTo>
                      <a:pt x="1879" y="512"/>
                    </a:lnTo>
                    <a:lnTo>
                      <a:pt x="1882" y="511"/>
                    </a:lnTo>
                    <a:lnTo>
                      <a:pt x="1884" y="509"/>
                    </a:lnTo>
                    <a:lnTo>
                      <a:pt x="1886" y="510"/>
                    </a:lnTo>
                    <a:lnTo>
                      <a:pt x="1886" y="506"/>
                    </a:lnTo>
                    <a:lnTo>
                      <a:pt x="1890" y="506"/>
                    </a:lnTo>
                    <a:lnTo>
                      <a:pt x="1895" y="506"/>
                    </a:lnTo>
                    <a:lnTo>
                      <a:pt x="1899" y="505"/>
                    </a:lnTo>
                    <a:lnTo>
                      <a:pt x="1900" y="505"/>
                    </a:lnTo>
                    <a:lnTo>
                      <a:pt x="1902" y="508"/>
                    </a:lnTo>
                    <a:lnTo>
                      <a:pt x="1904" y="505"/>
                    </a:lnTo>
                    <a:lnTo>
                      <a:pt x="1905" y="501"/>
                    </a:lnTo>
                    <a:lnTo>
                      <a:pt x="1909" y="496"/>
                    </a:lnTo>
                    <a:lnTo>
                      <a:pt x="1910" y="491"/>
                    </a:lnTo>
                    <a:lnTo>
                      <a:pt x="1910" y="491"/>
                    </a:lnTo>
                    <a:lnTo>
                      <a:pt x="1911" y="487"/>
                    </a:lnTo>
                    <a:lnTo>
                      <a:pt x="1911" y="487"/>
                    </a:lnTo>
                    <a:lnTo>
                      <a:pt x="1910" y="485"/>
                    </a:lnTo>
                    <a:lnTo>
                      <a:pt x="1912" y="483"/>
                    </a:lnTo>
                    <a:lnTo>
                      <a:pt x="1913" y="475"/>
                    </a:lnTo>
                    <a:lnTo>
                      <a:pt x="1911" y="472"/>
                    </a:lnTo>
                    <a:lnTo>
                      <a:pt x="1915" y="472"/>
                    </a:lnTo>
                    <a:lnTo>
                      <a:pt x="1913" y="470"/>
                    </a:lnTo>
                    <a:lnTo>
                      <a:pt x="1915" y="462"/>
                    </a:lnTo>
                    <a:lnTo>
                      <a:pt x="1910" y="461"/>
                    </a:lnTo>
                    <a:lnTo>
                      <a:pt x="1912" y="461"/>
                    </a:lnTo>
                    <a:lnTo>
                      <a:pt x="1916" y="461"/>
                    </a:lnTo>
                    <a:lnTo>
                      <a:pt x="1915" y="459"/>
                    </a:lnTo>
                    <a:lnTo>
                      <a:pt x="1912" y="458"/>
                    </a:lnTo>
                    <a:lnTo>
                      <a:pt x="1912" y="458"/>
                    </a:lnTo>
                    <a:lnTo>
                      <a:pt x="1918" y="458"/>
                    </a:lnTo>
                    <a:lnTo>
                      <a:pt x="1919" y="455"/>
                    </a:lnTo>
                    <a:lnTo>
                      <a:pt x="1921" y="455"/>
                    </a:lnTo>
                    <a:lnTo>
                      <a:pt x="1925" y="454"/>
                    </a:lnTo>
                    <a:lnTo>
                      <a:pt x="1927" y="452"/>
                    </a:lnTo>
                    <a:lnTo>
                      <a:pt x="1926" y="451"/>
                    </a:lnTo>
                    <a:lnTo>
                      <a:pt x="1927" y="449"/>
                    </a:lnTo>
                    <a:lnTo>
                      <a:pt x="1929" y="454"/>
                    </a:lnTo>
                    <a:lnTo>
                      <a:pt x="1930" y="451"/>
                    </a:lnTo>
                    <a:lnTo>
                      <a:pt x="1935" y="447"/>
                    </a:lnTo>
                    <a:lnTo>
                      <a:pt x="1937" y="447"/>
                    </a:lnTo>
                    <a:lnTo>
                      <a:pt x="1936" y="444"/>
                    </a:lnTo>
                    <a:lnTo>
                      <a:pt x="1938" y="446"/>
                    </a:lnTo>
                    <a:lnTo>
                      <a:pt x="1939" y="445"/>
                    </a:lnTo>
                    <a:lnTo>
                      <a:pt x="1938" y="443"/>
                    </a:lnTo>
                    <a:lnTo>
                      <a:pt x="1936" y="443"/>
                    </a:lnTo>
                    <a:lnTo>
                      <a:pt x="1934" y="444"/>
                    </a:lnTo>
                    <a:lnTo>
                      <a:pt x="1933" y="441"/>
                    </a:lnTo>
                    <a:lnTo>
                      <a:pt x="1936" y="443"/>
                    </a:lnTo>
                    <a:lnTo>
                      <a:pt x="1938" y="440"/>
                    </a:lnTo>
                    <a:lnTo>
                      <a:pt x="1941" y="438"/>
                    </a:lnTo>
                    <a:lnTo>
                      <a:pt x="1942" y="436"/>
                    </a:lnTo>
                    <a:lnTo>
                      <a:pt x="1944" y="435"/>
                    </a:lnTo>
                    <a:lnTo>
                      <a:pt x="1945" y="433"/>
                    </a:lnTo>
                    <a:lnTo>
                      <a:pt x="1943" y="429"/>
                    </a:lnTo>
                    <a:lnTo>
                      <a:pt x="1941" y="427"/>
                    </a:lnTo>
                    <a:lnTo>
                      <a:pt x="1939" y="427"/>
                    </a:lnTo>
                    <a:lnTo>
                      <a:pt x="1938" y="426"/>
                    </a:lnTo>
                    <a:lnTo>
                      <a:pt x="1937" y="423"/>
                    </a:lnTo>
                    <a:lnTo>
                      <a:pt x="1935" y="423"/>
                    </a:lnTo>
                    <a:lnTo>
                      <a:pt x="1929" y="418"/>
                    </a:lnTo>
                    <a:lnTo>
                      <a:pt x="1927" y="418"/>
                    </a:lnTo>
                    <a:lnTo>
                      <a:pt x="1924" y="417"/>
                    </a:lnTo>
                    <a:lnTo>
                      <a:pt x="1920" y="416"/>
                    </a:lnTo>
                    <a:lnTo>
                      <a:pt x="1921" y="414"/>
                    </a:lnTo>
                    <a:lnTo>
                      <a:pt x="1919" y="410"/>
                    </a:lnTo>
                    <a:lnTo>
                      <a:pt x="1920" y="408"/>
                    </a:lnTo>
                    <a:lnTo>
                      <a:pt x="1920" y="403"/>
                    </a:lnTo>
                    <a:lnTo>
                      <a:pt x="1919" y="401"/>
                    </a:lnTo>
                    <a:lnTo>
                      <a:pt x="1920" y="398"/>
                    </a:lnTo>
                    <a:lnTo>
                      <a:pt x="1921" y="397"/>
                    </a:lnTo>
                    <a:lnTo>
                      <a:pt x="1920" y="394"/>
                    </a:lnTo>
                    <a:lnTo>
                      <a:pt x="1922" y="393"/>
                    </a:lnTo>
                    <a:lnTo>
                      <a:pt x="1922" y="391"/>
                    </a:lnTo>
                    <a:lnTo>
                      <a:pt x="1926" y="383"/>
                    </a:lnTo>
                    <a:lnTo>
                      <a:pt x="1924" y="382"/>
                    </a:lnTo>
                    <a:lnTo>
                      <a:pt x="1924" y="377"/>
                    </a:lnTo>
                    <a:lnTo>
                      <a:pt x="1925" y="378"/>
                    </a:lnTo>
                    <a:lnTo>
                      <a:pt x="1927" y="377"/>
                    </a:lnTo>
                    <a:lnTo>
                      <a:pt x="1930" y="376"/>
                    </a:lnTo>
                    <a:lnTo>
                      <a:pt x="1932" y="373"/>
                    </a:lnTo>
                    <a:lnTo>
                      <a:pt x="1929" y="369"/>
                    </a:lnTo>
                    <a:lnTo>
                      <a:pt x="1928" y="368"/>
                    </a:lnTo>
                    <a:lnTo>
                      <a:pt x="1928" y="365"/>
                    </a:lnTo>
                    <a:lnTo>
                      <a:pt x="1930" y="369"/>
                    </a:lnTo>
                    <a:lnTo>
                      <a:pt x="1933" y="370"/>
                    </a:lnTo>
                    <a:lnTo>
                      <a:pt x="1937" y="368"/>
                    </a:lnTo>
                    <a:lnTo>
                      <a:pt x="1937" y="366"/>
                    </a:lnTo>
                    <a:lnTo>
                      <a:pt x="1939" y="365"/>
                    </a:lnTo>
                    <a:lnTo>
                      <a:pt x="1941" y="361"/>
                    </a:lnTo>
                    <a:lnTo>
                      <a:pt x="1944" y="361"/>
                    </a:lnTo>
                    <a:lnTo>
                      <a:pt x="1943" y="360"/>
                    </a:lnTo>
                    <a:lnTo>
                      <a:pt x="1946" y="361"/>
                    </a:lnTo>
                    <a:lnTo>
                      <a:pt x="1949" y="359"/>
                    </a:lnTo>
                    <a:lnTo>
                      <a:pt x="1950" y="357"/>
                    </a:lnTo>
                    <a:lnTo>
                      <a:pt x="1951" y="357"/>
                    </a:lnTo>
                    <a:lnTo>
                      <a:pt x="1953" y="356"/>
                    </a:lnTo>
                    <a:lnTo>
                      <a:pt x="1955" y="356"/>
                    </a:lnTo>
                    <a:lnTo>
                      <a:pt x="1961" y="352"/>
                    </a:lnTo>
                    <a:lnTo>
                      <a:pt x="1963" y="350"/>
                    </a:lnTo>
                    <a:lnTo>
                      <a:pt x="1967" y="350"/>
                    </a:lnTo>
                    <a:lnTo>
                      <a:pt x="1969" y="349"/>
                    </a:lnTo>
                    <a:lnTo>
                      <a:pt x="1972" y="343"/>
                    </a:lnTo>
                    <a:lnTo>
                      <a:pt x="1975" y="341"/>
                    </a:lnTo>
                    <a:lnTo>
                      <a:pt x="1979" y="337"/>
                    </a:lnTo>
                    <a:lnTo>
                      <a:pt x="1980" y="333"/>
                    </a:lnTo>
                    <a:lnTo>
                      <a:pt x="1978" y="332"/>
                    </a:lnTo>
                    <a:lnTo>
                      <a:pt x="1975" y="330"/>
                    </a:lnTo>
                    <a:lnTo>
                      <a:pt x="1977" y="331"/>
                    </a:lnTo>
                    <a:lnTo>
                      <a:pt x="1976" y="327"/>
                    </a:lnTo>
                    <a:lnTo>
                      <a:pt x="1973" y="326"/>
                    </a:lnTo>
                    <a:lnTo>
                      <a:pt x="1976" y="326"/>
                    </a:lnTo>
                    <a:lnTo>
                      <a:pt x="1978" y="323"/>
                    </a:lnTo>
                    <a:lnTo>
                      <a:pt x="1980" y="322"/>
                    </a:lnTo>
                    <a:lnTo>
                      <a:pt x="1980" y="318"/>
                    </a:lnTo>
                    <a:lnTo>
                      <a:pt x="1982" y="316"/>
                    </a:lnTo>
                    <a:lnTo>
                      <a:pt x="1979" y="316"/>
                    </a:lnTo>
                    <a:lnTo>
                      <a:pt x="1980" y="314"/>
                    </a:lnTo>
                    <a:lnTo>
                      <a:pt x="1984" y="314"/>
                    </a:lnTo>
                    <a:lnTo>
                      <a:pt x="1986" y="314"/>
                    </a:lnTo>
                    <a:lnTo>
                      <a:pt x="1985" y="312"/>
                    </a:lnTo>
                    <a:lnTo>
                      <a:pt x="1987" y="310"/>
                    </a:lnTo>
                    <a:lnTo>
                      <a:pt x="1989" y="310"/>
                    </a:lnTo>
                    <a:lnTo>
                      <a:pt x="1992" y="309"/>
                    </a:lnTo>
                    <a:lnTo>
                      <a:pt x="1990" y="305"/>
                    </a:lnTo>
                    <a:lnTo>
                      <a:pt x="1996" y="306"/>
                    </a:lnTo>
                    <a:lnTo>
                      <a:pt x="1996" y="304"/>
                    </a:lnTo>
                    <a:lnTo>
                      <a:pt x="1998" y="306"/>
                    </a:lnTo>
                    <a:lnTo>
                      <a:pt x="2002" y="307"/>
                    </a:lnTo>
                    <a:lnTo>
                      <a:pt x="2004" y="307"/>
                    </a:lnTo>
                    <a:lnTo>
                      <a:pt x="2002" y="305"/>
                    </a:lnTo>
                    <a:lnTo>
                      <a:pt x="2005" y="306"/>
                    </a:lnTo>
                    <a:lnTo>
                      <a:pt x="2011" y="305"/>
                    </a:lnTo>
                    <a:lnTo>
                      <a:pt x="2015" y="305"/>
                    </a:lnTo>
                    <a:lnTo>
                      <a:pt x="2016" y="306"/>
                    </a:lnTo>
                    <a:lnTo>
                      <a:pt x="2021" y="306"/>
                    </a:lnTo>
                    <a:lnTo>
                      <a:pt x="2021" y="306"/>
                    </a:lnTo>
                    <a:lnTo>
                      <a:pt x="2022" y="307"/>
                    </a:lnTo>
                    <a:lnTo>
                      <a:pt x="2024" y="309"/>
                    </a:lnTo>
                    <a:lnTo>
                      <a:pt x="2027" y="309"/>
                    </a:lnTo>
                    <a:lnTo>
                      <a:pt x="2031" y="314"/>
                    </a:lnTo>
                    <a:lnTo>
                      <a:pt x="2031" y="316"/>
                    </a:lnTo>
                    <a:lnTo>
                      <a:pt x="2031" y="318"/>
                    </a:lnTo>
                    <a:lnTo>
                      <a:pt x="2030" y="321"/>
                    </a:lnTo>
                    <a:lnTo>
                      <a:pt x="2033" y="323"/>
                    </a:lnTo>
                    <a:lnTo>
                      <a:pt x="2033" y="323"/>
                    </a:lnTo>
                    <a:lnTo>
                      <a:pt x="2032" y="324"/>
                    </a:lnTo>
                    <a:lnTo>
                      <a:pt x="2030" y="324"/>
                    </a:lnTo>
                    <a:lnTo>
                      <a:pt x="2032" y="326"/>
                    </a:lnTo>
                    <a:lnTo>
                      <a:pt x="2030" y="325"/>
                    </a:lnTo>
                    <a:lnTo>
                      <a:pt x="2027" y="325"/>
                    </a:lnTo>
                    <a:lnTo>
                      <a:pt x="2023" y="326"/>
                    </a:lnTo>
                    <a:lnTo>
                      <a:pt x="2021" y="329"/>
                    </a:lnTo>
                    <a:lnTo>
                      <a:pt x="2016" y="335"/>
                    </a:lnTo>
                    <a:lnTo>
                      <a:pt x="2014" y="337"/>
                    </a:lnTo>
                    <a:lnTo>
                      <a:pt x="2013" y="340"/>
                    </a:lnTo>
                    <a:lnTo>
                      <a:pt x="2010" y="341"/>
                    </a:lnTo>
                    <a:lnTo>
                      <a:pt x="2007" y="344"/>
                    </a:lnTo>
                    <a:lnTo>
                      <a:pt x="2005" y="344"/>
                    </a:lnTo>
                    <a:lnTo>
                      <a:pt x="2005" y="347"/>
                    </a:lnTo>
                    <a:lnTo>
                      <a:pt x="2002" y="348"/>
                    </a:lnTo>
                    <a:lnTo>
                      <a:pt x="2002" y="348"/>
                    </a:lnTo>
                    <a:lnTo>
                      <a:pt x="1998" y="353"/>
                    </a:lnTo>
                    <a:lnTo>
                      <a:pt x="1995" y="351"/>
                    </a:lnTo>
                    <a:lnTo>
                      <a:pt x="1993" y="355"/>
                    </a:lnTo>
                    <a:lnTo>
                      <a:pt x="1992" y="357"/>
                    </a:lnTo>
                    <a:lnTo>
                      <a:pt x="1992" y="360"/>
                    </a:lnTo>
                    <a:lnTo>
                      <a:pt x="1992" y="361"/>
                    </a:lnTo>
                    <a:lnTo>
                      <a:pt x="1986" y="363"/>
                    </a:lnTo>
                    <a:lnTo>
                      <a:pt x="1986" y="361"/>
                    </a:lnTo>
                    <a:lnTo>
                      <a:pt x="1984" y="363"/>
                    </a:lnTo>
                    <a:lnTo>
                      <a:pt x="1980" y="360"/>
                    </a:lnTo>
                    <a:lnTo>
                      <a:pt x="1980" y="363"/>
                    </a:lnTo>
                    <a:lnTo>
                      <a:pt x="1980" y="365"/>
                    </a:lnTo>
                    <a:lnTo>
                      <a:pt x="1979" y="368"/>
                    </a:lnTo>
                    <a:lnTo>
                      <a:pt x="1976" y="370"/>
                    </a:lnTo>
                    <a:lnTo>
                      <a:pt x="1976" y="373"/>
                    </a:lnTo>
                    <a:lnTo>
                      <a:pt x="1976" y="375"/>
                    </a:lnTo>
                    <a:lnTo>
                      <a:pt x="1975" y="378"/>
                    </a:lnTo>
                    <a:lnTo>
                      <a:pt x="1976" y="381"/>
                    </a:lnTo>
                    <a:lnTo>
                      <a:pt x="1977" y="380"/>
                    </a:lnTo>
                    <a:lnTo>
                      <a:pt x="1978" y="383"/>
                    </a:lnTo>
                    <a:lnTo>
                      <a:pt x="1978" y="385"/>
                    </a:lnTo>
                    <a:lnTo>
                      <a:pt x="1977" y="387"/>
                    </a:lnTo>
                    <a:lnTo>
                      <a:pt x="1977" y="389"/>
                    </a:lnTo>
                    <a:lnTo>
                      <a:pt x="1979" y="392"/>
                    </a:lnTo>
                    <a:lnTo>
                      <a:pt x="1982" y="398"/>
                    </a:lnTo>
                    <a:lnTo>
                      <a:pt x="1980" y="397"/>
                    </a:lnTo>
                    <a:lnTo>
                      <a:pt x="1980" y="402"/>
                    </a:lnTo>
                    <a:lnTo>
                      <a:pt x="1980" y="406"/>
                    </a:lnTo>
                    <a:lnTo>
                      <a:pt x="1978" y="408"/>
                    </a:lnTo>
                    <a:lnTo>
                      <a:pt x="1979" y="410"/>
                    </a:lnTo>
                    <a:lnTo>
                      <a:pt x="1978" y="416"/>
                    </a:lnTo>
                    <a:lnTo>
                      <a:pt x="1980" y="418"/>
                    </a:lnTo>
                    <a:lnTo>
                      <a:pt x="1980" y="418"/>
                    </a:lnTo>
                    <a:lnTo>
                      <a:pt x="1982" y="417"/>
                    </a:lnTo>
                    <a:lnTo>
                      <a:pt x="1984" y="419"/>
                    </a:lnTo>
                    <a:lnTo>
                      <a:pt x="1986" y="419"/>
                    </a:lnTo>
                    <a:lnTo>
                      <a:pt x="1987" y="420"/>
                    </a:lnTo>
                    <a:lnTo>
                      <a:pt x="1989" y="421"/>
                    </a:lnTo>
                    <a:lnTo>
                      <a:pt x="1995" y="421"/>
                    </a:lnTo>
                    <a:lnTo>
                      <a:pt x="1993" y="425"/>
                    </a:lnTo>
                    <a:lnTo>
                      <a:pt x="1997" y="425"/>
                    </a:lnTo>
                    <a:lnTo>
                      <a:pt x="1999" y="423"/>
                    </a:lnTo>
                    <a:lnTo>
                      <a:pt x="1999" y="425"/>
                    </a:lnTo>
                    <a:lnTo>
                      <a:pt x="1998" y="426"/>
                    </a:lnTo>
                    <a:lnTo>
                      <a:pt x="1999" y="428"/>
                    </a:lnTo>
                    <a:lnTo>
                      <a:pt x="2003" y="428"/>
                    </a:lnTo>
                    <a:lnTo>
                      <a:pt x="2003" y="429"/>
                    </a:lnTo>
                    <a:lnTo>
                      <a:pt x="2002" y="429"/>
                    </a:lnTo>
                    <a:lnTo>
                      <a:pt x="2002" y="430"/>
                    </a:lnTo>
                    <a:lnTo>
                      <a:pt x="2004" y="429"/>
                    </a:lnTo>
                    <a:lnTo>
                      <a:pt x="2003" y="432"/>
                    </a:lnTo>
                    <a:lnTo>
                      <a:pt x="2006" y="430"/>
                    </a:lnTo>
                    <a:lnTo>
                      <a:pt x="2006" y="429"/>
                    </a:lnTo>
                    <a:lnTo>
                      <a:pt x="2010" y="430"/>
                    </a:lnTo>
                    <a:lnTo>
                      <a:pt x="2012" y="429"/>
                    </a:lnTo>
                    <a:lnTo>
                      <a:pt x="2018" y="428"/>
                    </a:lnTo>
                    <a:lnTo>
                      <a:pt x="2018" y="429"/>
                    </a:lnTo>
                    <a:lnTo>
                      <a:pt x="2020" y="429"/>
                    </a:lnTo>
                    <a:lnTo>
                      <a:pt x="2022" y="427"/>
                    </a:lnTo>
                    <a:lnTo>
                      <a:pt x="2024" y="427"/>
                    </a:lnTo>
                    <a:lnTo>
                      <a:pt x="2027" y="426"/>
                    </a:lnTo>
                    <a:lnTo>
                      <a:pt x="2030" y="426"/>
                    </a:lnTo>
                    <a:lnTo>
                      <a:pt x="2032" y="425"/>
                    </a:lnTo>
                    <a:lnTo>
                      <a:pt x="2037" y="423"/>
                    </a:lnTo>
                    <a:lnTo>
                      <a:pt x="2038" y="425"/>
                    </a:lnTo>
                    <a:lnTo>
                      <a:pt x="2039" y="423"/>
                    </a:lnTo>
                    <a:lnTo>
                      <a:pt x="2043" y="424"/>
                    </a:lnTo>
                    <a:lnTo>
                      <a:pt x="2041" y="420"/>
                    </a:lnTo>
                    <a:lnTo>
                      <a:pt x="2044" y="421"/>
                    </a:lnTo>
                    <a:lnTo>
                      <a:pt x="2046" y="421"/>
                    </a:lnTo>
                    <a:lnTo>
                      <a:pt x="2047" y="420"/>
                    </a:lnTo>
                    <a:lnTo>
                      <a:pt x="2049" y="420"/>
                    </a:lnTo>
                    <a:lnTo>
                      <a:pt x="2054" y="420"/>
                    </a:lnTo>
                    <a:lnTo>
                      <a:pt x="2057" y="418"/>
                    </a:lnTo>
                    <a:lnTo>
                      <a:pt x="2060" y="419"/>
                    </a:lnTo>
                    <a:lnTo>
                      <a:pt x="2065" y="419"/>
                    </a:lnTo>
                    <a:lnTo>
                      <a:pt x="2065" y="418"/>
                    </a:lnTo>
                    <a:lnTo>
                      <a:pt x="2069" y="419"/>
                    </a:lnTo>
                    <a:lnTo>
                      <a:pt x="2072" y="418"/>
                    </a:lnTo>
                    <a:lnTo>
                      <a:pt x="2078" y="415"/>
                    </a:lnTo>
                    <a:lnTo>
                      <a:pt x="2078" y="416"/>
                    </a:lnTo>
                    <a:lnTo>
                      <a:pt x="2078" y="418"/>
                    </a:lnTo>
                    <a:lnTo>
                      <a:pt x="2078" y="420"/>
                    </a:lnTo>
                    <a:lnTo>
                      <a:pt x="2075" y="419"/>
                    </a:lnTo>
                    <a:lnTo>
                      <a:pt x="2077" y="423"/>
                    </a:lnTo>
                    <a:lnTo>
                      <a:pt x="2082" y="426"/>
                    </a:lnTo>
                    <a:lnTo>
                      <a:pt x="2088" y="426"/>
                    </a:lnTo>
                    <a:lnTo>
                      <a:pt x="2091" y="426"/>
                    </a:lnTo>
                    <a:lnTo>
                      <a:pt x="2093" y="427"/>
                    </a:lnTo>
                    <a:lnTo>
                      <a:pt x="2096" y="429"/>
                    </a:lnTo>
                    <a:lnTo>
                      <a:pt x="2098" y="429"/>
                    </a:lnTo>
                    <a:lnTo>
                      <a:pt x="2098" y="432"/>
                    </a:lnTo>
                    <a:lnTo>
                      <a:pt x="2098" y="433"/>
                    </a:lnTo>
                    <a:lnTo>
                      <a:pt x="2084" y="429"/>
                    </a:lnTo>
                    <a:lnTo>
                      <a:pt x="2082" y="433"/>
                    </a:lnTo>
                    <a:lnTo>
                      <a:pt x="2080" y="434"/>
                    </a:lnTo>
                    <a:lnTo>
                      <a:pt x="2077" y="434"/>
                    </a:lnTo>
                    <a:lnTo>
                      <a:pt x="2074" y="434"/>
                    </a:lnTo>
                    <a:lnTo>
                      <a:pt x="2073" y="436"/>
                    </a:lnTo>
                    <a:lnTo>
                      <a:pt x="2071" y="435"/>
                    </a:lnTo>
                    <a:lnTo>
                      <a:pt x="2069" y="435"/>
                    </a:lnTo>
                    <a:lnTo>
                      <a:pt x="2069" y="437"/>
                    </a:lnTo>
                    <a:lnTo>
                      <a:pt x="2069" y="441"/>
                    </a:lnTo>
                    <a:lnTo>
                      <a:pt x="2066" y="442"/>
                    </a:lnTo>
                    <a:lnTo>
                      <a:pt x="2053" y="441"/>
                    </a:lnTo>
                    <a:lnTo>
                      <a:pt x="2050" y="440"/>
                    </a:lnTo>
                    <a:lnTo>
                      <a:pt x="2047" y="440"/>
                    </a:lnTo>
                    <a:lnTo>
                      <a:pt x="2045" y="438"/>
                    </a:lnTo>
                    <a:lnTo>
                      <a:pt x="2039" y="437"/>
                    </a:lnTo>
                    <a:lnTo>
                      <a:pt x="2037" y="438"/>
                    </a:lnTo>
                    <a:lnTo>
                      <a:pt x="2033" y="437"/>
                    </a:lnTo>
                    <a:lnTo>
                      <a:pt x="2032" y="441"/>
                    </a:lnTo>
                    <a:lnTo>
                      <a:pt x="2030" y="440"/>
                    </a:lnTo>
                    <a:lnTo>
                      <a:pt x="2024" y="440"/>
                    </a:lnTo>
                    <a:lnTo>
                      <a:pt x="2022" y="441"/>
                    </a:lnTo>
                    <a:lnTo>
                      <a:pt x="2019" y="441"/>
                    </a:lnTo>
                    <a:lnTo>
                      <a:pt x="2016" y="443"/>
                    </a:lnTo>
                    <a:lnTo>
                      <a:pt x="2014" y="442"/>
                    </a:lnTo>
                    <a:lnTo>
                      <a:pt x="2014" y="444"/>
                    </a:lnTo>
                    <a:lnTo>
                      <a:pt x="2010" y="445"/>
                    </a:lnTo>
                    <a:lnTo>
                      <a:pt x="2006" y="447"/>
                    </a:lnTo>
                    <a:lnTo>
                      <a:pt x="2005" y="450"/>
                    </a:lnTo>
                    <a:lnTo>
                      <a:pt x="2009" y="451"/>
                    </a:lnTo>
                    <a:lnTo>
                      <a:pt x="2005" y="452"/>
                    </a:lnTo>
                    <a:lnTo>
                      <a:pt x="2007" y="454"/>
                    </a:lnTo>
                    <a:lnTo>
                      <a:pt x="2010" y="455"/>
                    </a:lnTo>
                    <a:lnTo>
                      <a:pt x="2007" y="455"/>
                    </a:lnTo>
                    <a:lnTo>
                      <a:pt x="2006" y="459"/>
                    </a:lnTo>
                    <a:lnTo>
                      <a:pt x="2009" y="461"/>
                    </a:lnTo>
                    <a:lnTo>
                      <a:pt x="2010" y="463"/>
                    </a:lnTo>
                    <a:lnTo>
                      <a:pt x="2013" y="463"/>
                    </a:lnTo>
                    <a:lnTo>
                      <a:pt x="2015" y="464"/>
                    </a:lnTo>
                    <a:lnTo>
                      <a:pt x="2018" y="462"/>
                    </a:lnTo>
                    <a:lnTo>
                      <a:pt x="2021" y="464"/>
                    </a:lnTo>
                    <a:lnTo>
                      <a:pt x="2018" y="474"/>
                    </a:lnTo>
                    <a:lnTo>
                      <a:pt x="2018" y="476"/>
                    </a:lnTo>
                    <a:lnTo>
                      <a:pt x="2019" y="484"/>
                    </a:lnTo>
                    <a:lnTo>
                      <a:pt x="2016" y="487"/>
                    </a:lnTo>
                    <a:lnTo>
                      <a:pt x="2014" y="488"/>
                    </a:lnTo>
                    <a:lnTo>
                      <a:pt x="2011" y="491"/>
                    </a:lnTo>
                    <a:lnTo>
                      <a:pt x="2009" y="491"/>
                    </a:lnTo>
                    <a:lnTo>
                      <a:pt x="2003" y="487"/>
                    </a:lnTo>
                    <a:lnTo>
                      <a:pt x="2002" y="485"/>
                    </a:lnTo>
                    <a:lnTo>
                      <a:pt x="1997" y="479"/>
                    </a:lnTo>
                    <a:lnTo>
                      <a:pt x="1995" y="478"/>
                    </a:lnTo>
                    <a:lnTo>
                      <a:pt x="1993" y="475"/>
                    </a:lnTo>
                    <a:lnTo>
                      <a:pt x="1986" y="478"/>
                    </a:lnTo>
                    <a:lnTo>
                      <a:pt x="1984" y="478"/>
                    </a:lnTo>
                    <a:lnTo>
                      <a:pt x="1980" y="480"/>
                    </a:lnTo>
                    <a:lnTo>
                      <a:pt x="1979" y="484"/>
                    </a:lnTo>
                    <a:lnTo>
                      <a:pt x="1978" y="486"/>
                    </a:lnTo>
                    <a:lnTo>
                      <a:pt x="1978" y="488"/>
                    </a:lnTo>
                    <a:lnTo>
                      <a:pt x="1976" y="492"/>
                    </a:lnTo>
                    <a:lnTo>
                      <a:pt x="1973" y="494"/>
                    </a:lnTo>
                    <a:lnTo>
                      <a:pt x="1972" y="500"/>
                    </a:lnTo>
                    <a:lnTo>
                      <a:pt x="1972" y="505"/>
                    </a:lnTo>
                    <a:lnTo>
                      <a:pt x="1973" y="508"/>
                    </a:lnTo>
                    <a:lnTo>
                      <a:pt x="1973" y="512"/>
                    </a:lnTo>
                    <a:lnTo>
                      <a:pt x="1973" y="514"/>
                    </a:lnTo>
                    <a:lnTo>
                      <a:pt x="1975" y="515"/>
                    </a:lnTo>
                    <a:lnTo>
                      <a:pt x="1975" y="517"/>
                    </a:lnTo>
                    <a:lnTo>
                      <a:pt x="1975" y="517"/>
                    </a:lnTo>
                    <a:lnTo>
                      <a:pt x="1976" y="519"/>
                    </a:lnTo>
                    <a:lnTo>
                      <a:pt x="1976" y="522"/>
                    </a:lnTo>
                    <a:lnTo>
                      <a:pt x="1976" y="523"/>
                    </a:lnTo>
                    <a:lnTo>
                      <a:pt x="1975" y="526"/>
                    </a:lnTo>
                    <a:lnTo>
                      <a:pt x="1976" y="528"/>
                    </a:lnTo>
                    <a:lnTo>
                      <a:pt x="1972" y="530"/>
                    </a:lnTo>
                    <a:lnTo>
                      <a:pt x="1967" y="530"/>
                    </a:lnTo>
                    <a:lnTo>
                      <a:pt x="1967" y="530"/>
                    </a:lnTo>
                    <a:lnTo>
                      <a:pt x="1962" y="529"/>
                    </a:lnTo>
                    <a:lnTo>
                      <a:pt x="1962" y="529"/>
                    </a:lnTo>
                    <a:lnTo>
                      <a:pt x="1961" y="529"/>
                    </a:lnTo>
                    <a:lnTo>
                      <a:pt x="1959" y="529"/>
                    </a:lnTo>
                    <a:lnTo>
                      <a:pt x="1958" y="530"/>
                    </a:lnTo>
                    <a:lnTo>
                      <a:pt x="1959" y="532"/>
                    </a:lnTo>
                    <a:lnTo>
                      <a:pt x="1956" y="536"/>
                    </a:lnTo>
                    <a:lnTo>
                      <a:pt x="1953" y="538"/>
                    </a:lnTo>
                    <a:lnTo>
                      <a:pt x="1951" y="540"/>
                    </a:lnTo>
                    <a:lnTo>
                      <a:pt x="1945" y="540"/>
                    </a:lnTo>
                    <a:lnTo>
                      <a:pt x="1942" y="540"/>
                    </a:lnTo>
                    <a:lnTo>
                      <a:pt x="1941" y="539"/>
                    </a:lnTo>
                    <a:lnTo>
                      <a:pt x="1937" y="532"/>
                    </a:lnTo>
                    <a:lnTo>
                      <a:pt x="1937" y="532"/>
                    </a:lnTo>
                    <a:lnTo>
                      <a:pt x="1935" y="531"/>
                    </a:lnTo>
                    <a:lnTo>
                      <a:pt x="1929" y="531"/>
                    </a:lnTo>
                    <a:lnTo>
                      <a:pt x="1921" y="534"/>
                    </a:lnTo>
                    <a:lnTo>
                      <a:pt x="1916" y="536"/>
                    </a:lnTo>
                    <a:lnTo>
                      <a:pt x="1911" y="537"/>
                    </a:lnTo>
                    <a:lnTo>
                      <a:pt x="1910" y="538"/>
                    </a:lnTo>
                    <a:lnTo>
                      <a:pt x="1907" y="543"/>
                    </a:lnTo>
                    <a:lnTo>
                      <a:pt x="1895" y="544"/>
                    </a:lnTo>
                    <a:lnTo>
                      <a:pt x="1881" y="548"/>
                    </a:lnTo>
                    <a:lnTo>
                      <a:pt x="1879" y="548"/>
                    </a:lnTo>
                    <a:lnTo>
                      <a:pt x="1876" y="546"/>
                    </a:lnTo>
                    <a:lnTo>
                      <a:pt x="1875" y="549"/>
                    </a:lnTo>
                    <a:lnTo>
                      <a:pt x="1874" y="551"/>
                    </a:lnTo>
                    <a:lnTo>
                      <a:pt x="1877" y="549"/>
                    </a:lnTo>
                    <a:lnTo>
                      <a:pt x="1879" y="549"/>
                    </a:lnTo>
                    <a:lnTo>
                      <a:pt x="1881" y="551"/>
                    </a:lnTo>
                    <a:lnTo>
                      <a:pt x="1882" y="549"/>
                    </a:lnTo>
                    <a:lnTo>
                      <a:pt x="1882" y="549"/>
                    </a:lnTo>
                    <a:lnTo>
                      <a:pt x="1885" y="551"/>
                    </a:lnTo>
                    <a:lnTo>
                      <a:pt x="1884" y="553"/>
                    </a:lnTo>
                    <a:lnTo>
                      <a:pt x="1884" y="555"/>
                    </a:lnTo>
                    <a:lnTo>
                      <a:pt x="1882" y="553"/>
                    </a:lnTo>
                    <a:lnTo>
                      <a:pt x="1881" y="553"/>
                    </a:lnTo>
                    <a:lnTo>
                      <a:pt x="1875" y="551"/>
                    </a:lnTo>
                    <a:lnTo>
                      <a:pt x="1874" y="551"/>
                    </a:lnTo>
                    <a:lnTo>
                      <a:pt x="1874" y="549"/>
                    </a:lnTo>
                    <a:lnTo>
                      <a:pt x="1873" y="544"/>
                    </a:lnTo>
                    <a:lnTo>
                      <a:pt x="1870" y="545"/>
                    </a:lnTo>
                    <a:lnTo>
                      <a:pt x="1869" y="546"/>
                    </a:lnTo>
                    <a:lnTo>
                      <a:pt x="1865" y="541"/>
                    </a:lnTo>
                    <a:lnTo>
                      <a:pt x="1865" y="541"/>
                    </a:lnTo>
                    <a:lnTo>
                      <a:pt x="1861" y="540"/>
                    </a:lnTo>
                    <a:lnTo>
                      <a:pt x="1859" y="540"/>
                    </a:lnTo>
                    <a:lnTo>
                      <a:pt x="1856" y="541"/>
                    </a:lnTo>
                    <a:lnTo>
                      <a:pt x="1856" y="540"/>
                    </a:lnTo>
                    <a:lnTo>
                      <a:pt x="1858" y="539"/>
                    </a:lnTo>
                    <a:lnTo>
                      <a:pt x="1861" y="539"/>
                    </a:lnTo>
                    <a:lnTo>
                      <a:pt x="1856" y="538"/>
                    </a:lnTo>
                    <a:lnTo>
                      <a:pt x="1854" y="541"/>
                    </a:lnTo>
                    <a:lnTo>
                      <a:pt x="1851" y="543"/>
                    </a:lnTo>
                    <a:lnTo>
                      <a:pt x="1850" y="545"/>
                    </a:lnTo>
                    <a:lnTo>
                      <a:pt x="1850" y="544"/>
                    </a:lnTo>
                    <a:lnTo>
                      <a:pt x="1848" y="544"/>
                    </a:lnTo>
                    <a:lnTo>
                      <a:pt x="1844" y="544"/>
                    </a:lnTo>
                    <a:lnTo>
                      <a:pt x="1842" y="547"/>
                    </a:lnTo>
                    <a:lnTo>
                      <a:pt x="1841" y="549"/>
                    </a:lnTo>
                    <a:lnTo>
                      <a:pt x="1839" y="548"/>
                    </a:lnTo>
                    <a:lnTo>
                      <a:pt x="1836" y="547"/>
                    </a:lnTo>
                    <a:lnTo>
                      <a:pt x="1834" y="548"/>
                    </a:lnTo>
                    <a:lnTo>
                      <a:pt x="1834" y="545"/>
                    </a:lnTo>
                    <a:lnTo>
                      <a:pt x="1836" y="543"/>
                    </a:lnTo>
                    <a:lnTo>
                      <a:pt x="1836" y="540"/>
                    </a:lnTo>
                    <a:lnTo>
                      <a:pt x="1834" y="540"/>
                    </a:lnTo>
                    <a:lnTo>
                      <a:pt x="1832" y="541"/>
                    </a:lnTo>
                    <a:lnTo>
                      <a:pt x="1826" y="539"/>
                    </a:lnTo>
                    <a:lnTo>
                      <a:pt x="1824" y="540"/>
                    </a:lnTo>
                    <a:lnTo>
                      <a:pt x="1822" y="538"/>
                    </a:lnTo>
                    <a:lnTo>
                      <a:pt x="1822" y="535"/>
                    </a:lnTo>
                    <a:lnTo>
                      <a:pt x="1821" y="535"/>
                    </a:lnTo>
                    <a:lnTo>
                      <a:pt x="1822" y="534"/>
                    </a:lnTo>
                    <a:lnTo>
                      <a:pt x="1817" y="531"/>
                    </a:lnTo>
                    <a:lnTo>
                      <a:pt x="1814" y="531"/>
                    </a:lnTo>
                    <a:lnTo>
                      <a:pt x="1816" y="530"/>
                    </a:lnTo>
                    <a:lnTo>
                      <a:pt x="1818" y="530"/>
                    </a:lnTo>
                    <a:lnTo>
                      <a:pt x="1815" y="526"/>
                    </a:lnTo>
                    <a:lnTo>
                      <a:pt x="1817" y="523"/>
                    </a:lnTo>
                    <a:lnTo>
                      <a:pt x="1815" y="519"/>
                    </a:lnTo>
                    <a:lnTo>
                      <a:pt x="1817" y="518"/>
                    </a:lnTo>
                    <a:lnTo>
                      <a:pt x="1819" y="517"/>
                    </a:lnTo>
                    <a:lnTo>
                      <a:pt x="1816" y="514"/>
                    </a:lnTo>
                    <a:lnTo>
                      <a:pt x="1819" y="515"/>
                    </a:lnTo>
                    <a:lnTo>
                      <a:pt x="1822" y="515"/>
                    </a:lnTo>
                    <a:lnTo>
                      <a:pt x="1822" y="512"/>
                    </a:lnTo>
                    <a:lnTo>
                      <a:pt x="1825" y="511"/>
                    </a:lnTo>
                    <a:lnTo>
                      <a:pt x="1825" y="505"/>
                    </a:lnTo>
                    <a:lnTo>
                      <a:pt x="1828" y="505"/>
                    </a:lnTo>
                    <a:lnTo>
                      <a:pt x="1828" y="508"/>
                    </a:lnTo>
                    <a:lnTo>
                      <a:pt x="1831" y="505"/>
                    </a:lnTo>
                    <a:lnTo>
                      <a:pt x="1833" y="504"/>
                    </a:lnTo>
                    <a:lnTo>
                      <a:pt x="1834" y="502"/>
                    </a:lnTo>
                    <a:lnTo>
                      <a:pt x="1832" y="498"/>
                    </a:lnTo>
                    <a:lnTo>
                      <a:pt x="1830" y="500"/>
                    </a:lnTo>
                    <a:lnTo>
                      <a:pt x="1827" y="498"/>
                    </a:lnTo>
                    <a:lnTo>
                      <a:pt x="1824" y="501"/>
                    </a:lnTo>
                    <a:lnTo>
                      <a:pt x="1826" y="497"/>
                    </a:lnTo>
                    <a:lnTo>
                      <a:pt x="1823" y="495"/>
                    </a:lnTo>
                    <a:lnTo>
                      <a:pt x="1822" y="496"/>
                    </a:lnTo>
                    <a:lnTo>
                      <a:pt x="1819" y="496"/>
                    </a:lnTo>
                    <a:lnTo>
                      <a:pt x="1823" y="495"/>
                    </a:lnTo>
                    <a:lnTo>
                      <a:pt x="1826" y="495"/>
                    </a:lnTo>
                    <a:lnTo>
                      <a:pt x="1825" y="493"/>
                    </a:lnTo>
                    <a:lnTo>
                      <a:pt x="1824" y="491"/>
                    </a:lnTo>
                    <a:lnTo>
                      <a:pt x="1822" y="488"/>
                    </a:lnTo>
                    <a:lnTo>
                      <a:pt x="1821" y="488"/>
                    </a:lnTo>
                    <a:lnTo>
                      <a:pt x="1811" y="489"/>
                    </a:lnTo>
                    <a:lnTo>
                      <a:pt x="1810" y="493"/>
                    </a:lnTo>
                    <a:lnTo>
                      <a:pt x="1813" y="496"/>
                    </a:lnTo>
                    <a:lnTo>
                      <a:pt x="1811" y="498"/>
                    </a:lnTo>
                    <a:lnTo>
                      <a:pt x="1809" y="496"/>
                    </a:lnTo>
                    <a:lnTo>
                      <a:pt x="1808" y="494"/>
                    </a:lnTo>
                    <a:lnTo>
                      <a:pt x="1806" y="496"/>
                    </a:lnTo>
                    <a:lnTo>
                      <a:pt x="1805" y="498"/>
                    </a:lnTo>
                    <a:lnTo>
                      <a:pt x="1798" y="498"/>
                    </a:lnTo>
                    <a:lnTo>
                      <a:pt x="1797" y="496"/>
                    </a:lnTo>
                    <a:lnTo>
                      <a:pt x="1796" y="498"/>
                    </a:lnTo>
                    <a:lnTo>
                      <a:pt x="1796" y="510"/>
                    </a:lnTo>
                    <a:lnTo>
                      <a:pt x="1798" y="509"/>
                    </a:lnTo>
                    <a:lnTo>
                      <a:pt x="1800" y="511"/>
                    </a:lnTo>
                    <a:lnTo>
                      <a:pt x="1799" y="512"/>
                    </a:lnTo>
                    <a:lnTo>
                      <a:pt x="1797" y="510"/>
                    </a:lnTo>
                    <a:lnTo>
                      <a:pt x="1797" y="515"/>
                    </a:lnTo>
                    <a:lnTo>
                      <a:pt x="1796" y="518"/>
                    </a:lnTo>
                    <a:lnTo>
                      <a:pt x="1799" y="518"/>
                    </a:lnTo>
                    <a:lnTo>
                      <a:pt x="1800" y="520"/>
                    </a:lnTo>
                    <a:lnTo>
                      <a:pt x="1804" y="522"/>
                    </a:lnTo>
                    <a:lnTo>
                      <a:pt x="1804" y="524"/>
                    </a:lnTo>
                    <a:lnTo>
                      <a:pt x="1802" y="526"/>
                    </a:lnTo>
                    <a:lnTo>
                      <a:pt x="1804" y="530"/>
                    </a:lnTo>
                    <a:lnTo>
                      <a:pt x="1802" y="530"/>
                    </a:lnTo>
                    <a:lnTo>
                      <a:pt x="1800" y="528"/>
                    </a:lnTo>
                    <a:lnTo>
                      <a:pt x="1799" y="528"/>
                    </a:lnTo>
                    <a:lnTo>
                      <a:pt x="1800" y="531"/>
                    </a:lnTo>
                    <a:lnTo>
                      <a:pt x="1804" y="531"/>
                    </a:lnTo>
                    <a:lnTo>
                      <a:pt x="1804" y="531"/>
                    </a:lnTo>
                    <a:lnTo>
                      <a:pt x="1808" y="537"/>
                    </a:lnTo>
                    <a:lnTo>
                      <a:pt x="1807" y="538"/>
                    </a:lnTo>
                    <a:lnTo>
                      <a:pt x="1805" y="539"/>
                    </a:lnTo>
                    <a:lnTo>
                      <a:pt x="1804" y="543"/>
                    </a:lnTo>
                    <a:lnTo>
                      <a:pt x="1806" y="541"/>
                    </a:lnTo>
                    <a:lnTo>
                      <a:pt x="1807" y="545"/>
                    </a:lnTo>
                    <a:lnTo>
                      <a:pt x="1806" y="547"/>
                    </a:lnTo>
                    <a:lnTo>
                      <a:pt x="1809" y="549"/>
                    </a:lnTo>
                    <a:lnTo>
                      <a:pt x="1813" y="549"/>
                    </a:lnTo>
                    <a:lnTo>
                      <a:pt x="1817" y="555"/>
                    </a:lnTo>
                    <a:lnTo>
                      <a:pt x="1819" y="556"/>
                    </a:lnTo>
                    <a:lnTo>
                      <a:pt x="1819" y="556"/>
                    </a:lnTo>
                    <a:lnTo>
                      <a:pt x="1816" y="555"/>
                    </a:lnTo>
                    <a:lnTo>
                      <a:pt x="1814" y="553"/>
                    </a:lnTo>
                    <a:lnTo>
                      <a:pt x="1810" y="549"/>
                    </a:lnTo>
                    <a:lnTo>
                      <a:pt x="1808" y="551"/>
                    </a:lnTo>
                    <a:lnTo>
                      <a:pt x="1806" y="551"/>
                    </a:lnTo>
                    <a:lnTo>
                      <a:pt x="1805" y="549"/>
                    </a:lnTo>
                    <a:lnTo>
                      <a:pt x="1801" y="551"/>
                    </a:lnTo>
                    <a:lnTo>
                      <a:pt x="1801" y="553"/>
                    </a:lnTo>
                    <a:lnTo>
                      <a:pt x="1801" y="556"/>
                    </a:lnTo>
                    <a:lnTo>
                      <a:pt x="1801" y="560"/>
                    </a:lnTo>
                    <a:lnTo>
                      <a:pt x="1800" y="555"/>
                    </a:lnTo>
                    <a:lnTo>
                      <a:pt x="1798" y="555"/>
                    </a:lnTo>
                    <a:lnTo>
                      <a:pt x="1798" y="557"/>
                    </a:lnTo>
                    <a:lnTo>
                      <a:pt x="1796" y="557"/>
                    </a:lnTo>
                    <a:lnTo>
                      <a:pt x="1796" y="555"/>
                    </a:lnTo>
                    <a:lnTo>
                      <a:pt x="1793" y="553"/>
                    </a:lnTo>
                    <a:lnTo>
                      <a:pt x="1789" y="553"/>
                    </a:lnTo>
                    <a:lnTo>
                      <a:pt x="1788" y="553"/>
                    </a:lnTo>
                    <a:lnTo>
                      <a:pt x="1785" y="553"/>
                    </a:lnTo>
                    <a:lnTo>
                      <a:pt x="1783" y="554"/>
                    </a:lnTo>
                    <a:lnTo>
                      <a:pt x="1781" y="556"/>
                    </a:lnTo>
                    <a:lnTo>
                      <a:pt x="1781" y="560"/>
                    </a:lnTo>
                    <a:lnTo>
                      <a:pt x="1784" y="560"/>
                    </a:lnTo>
                    <a:lnTo>
                      <a:pt x="1785" y="561"/>
                    </a:lnTo>
                    <a:lnTo>
                      <a:pt x="1783" y="562"/>
                    </a:lnTo>
                    <a:lnTo>
                      <a:pt x="1780" y="560"/>
                    </a:lnTo>
                    <a:lnTo>
                      <a:pt x="1777" y="557"/>
                    </a:lnTo>
                    <a:lnTo>
                      <a:pt x="1772" y="558"/>
                    </a:lnTo>
                    <a:lnTo>
                      <a:pt x="1766" y="558"/>
                    </a:lnTo>
                    <a:lnTo>
                      <a:pt x="1762" y="561"/>
                    </a:lnTo>
                    <a:lnTo>
                      <a:pt x="1758" y="563"/>
                    </a:lnTo>
                    <a:lnTo>
                      <a:pt x="1758" y="564"/>
                    </a:lnTo>
                    <a:lnTo>
                      <a:pt x="1756" y="566"/>
                    </a:lnTo>
                    <a:lnTo>
                      <a:pt x="1753" y="568"/>
                    </a:lnTo>
                    <a:lnTo>
                      <a:pt x="1749" y="568"/>
                    </a:lnTo>
                    <a:lnTo>
                      <a:pt x="1748" y="570"/>
                    </a:lnTo>
                    <a:lnTo>
                      <a:pt x="1748" y="575"/>
                    </a:lnTo>
                    <a:lnTo>
                      <a:pt x="1746" y="579"/>
                    </a:lnTo>
                    <a:lnTo>
                      <a:pt x="1741" y="585"/>
                    </a:lnTo>
                    <a:lnTo>
                      <a:pt x="1740" y="585"/>
                    </a:lnTo>
                    <a:lnTo>
                      <a:pt x="1740" y="588"/>
                    </a:lnTo>
                    <a:lnTo>
                      <a:pt x="1745" y="589"/>
                    </a:lnTo>
                    <a:lnTo>
                      <a:pt x="1748" y="589"/>
                    </a:lnTo>
                    <a:lnTo>
                      <a:pt x="1750" y="588"/>
                    </a:lnTo>
                    <a:lnTo>
                      <a:pt x="1750" y="590"/>
                    </a:lnTo>
                    <a:lnTo>
                      <a:pt x="1748" y="589"/>
                    </a:lnTo>
                    <a:lnTo>
                      <a:pt x="1748" y="589"/>
                    </a:lnTo>
                    <a:lnTo>
                      <a:pt x="1745" y="590"/>
                    </a:lnTo>
                    <a:lnTo>
                      <a:pt x="1742" y="591"/>
                    </a:lnTo>
                    <a:lnTo>
                      <a:pt x="1741" y="591"/>
                    </a:lnTo>
                    <a:lnTo>
                      <a:pt x="1742" y="592"/>
                    </a:lnTo>
                    <a:lnTo>
                      <a:pt x="1740" y="592"/>
                    </a:lnTo>
                    <a:lnTo>
                      <a:pt x="1742" y="594"/>
                    </a:lnTo>
                    <a:lnTo>
                      <a:pt x="1743" y="595"/>
                    </a:lnTo>
                    <a:lnTo>
                      <a:pt x="1740" y="594"/>
                    </a:lnTo>
                    <a:lnTo>
                      <a:pt x="1738" y="591"/>
                    </a:lnTo>
                    <a:lnTo>
                      <a:pt x="1733" y="592"/>
                    </a:lnTo>
                    <a:lnTo>
                      <a:pt x="1734" y="595"/>
                    </a:lnTo>
                    <a:lnTo>
                      <a:pt x="1737" y="596"/>
                    </a:lnTo>
                    <a:lnTo>
                      <a:pt x="1740" y="595"/>
                    </a:lnTo>
                    <a:lnTo>
                      <a:pt x="1742" y="596"/>
                    </a:lnTo>
                    <a:lnTo>
                      <a:pt x="1743" y="598"/>
                    </a:lnTo>
                    <a:lnTo>
                      <a:pt x="1742" y="596"/>
                    </a:lnTo>
                    <a:lnTo>
                      <a:pt x="1739" y="596"/>
                    </a:lnTo>
                    <a:lnTo>
                      <a:pt x="1736" y="597"/>
                    </a:lnTo>
                    <a:lnTo>
                      <a:pt x="1733" y="596"/>
                    </a:lnTo>
                    <a:lnTo>
                      <a:pt x="1728" y="597"/>
                    </a:lnTo>
                    <a:lnTo>
                      <a:pt x="1719" y="601"/>
                    </a:lnTo>
                    <a:lnTo>
                      <a:pt x="1710" y="604"/>
                    </a:lnTo>
                    <a:lnTo>
                      <a:pt x="1706" y="606"/>
                    </a:lnTo>
                    <a:lnTo>
                      <a:pt x="1706" y="608"/>
                    </a:lnTo>
                    <a:lnTo>
                      <a:pt x="1706" y="614"/>
                    </a:lnTo>
                    <a:lnTo>
                      <a:pt x="1706" y="614"/>
                    </a:lnTo>
                    <a:lnTo>
                      <a:pt x="1707" y="617"/>
                    </a:lnTo>
                    <a:lnTo>
                      <a:pt x="1706" y="616"/>
                    </a:lnTo>
                    <a:lnTo>
                      <a:pt x="1704" y="620"/>
                    </a:lnTo>
                    <a:lnTo>
                      <a:pt x="1700" y="622"/>
                    </a:lnTo>
                    <a:lnTo>
                      <a:pt x="1695" y="623"/>
                    </a:lnTo>
                    <a:lnTo>
                      <a:pt x="1689" y="625"/>
                    </a:lnTo>
                    <a:lnTo>
                      <a:pt x="1687" y="628"/>
                    </a:lnTo>
                    <a:lnTo>
                      <a:pt x="1688" y="630"/>
                    </a:lnTo>
                    <a:lnTo>
                      <a:pt x="1691" y="630"/>
                    </a:lnTo>
                    <a:lnTo>
                      <a:pt x="1691" y="630"/>
                    </a:lnTo>
                    <a:lnTo>
                      <a:pt x="1688" y="631"/>
                    </a:lnTo>
                    <a:lnTo>
                      <a:pt x="1682" y="633"/>
                    </a:lnTo>
                    <a:lnTo>
                      <a:pt x="1678" y="632"/>
                    </a:lnTo>
                    <a:lnTo>
                      <a:pt x="1674" y="632"/>
                    </a:lnTo>
                    <a:lnTo>
                      <a:pt x="1672" y="631"/>
                    </a:lnTo>
                    <a:lnTo>
                      <a:pt x="1669" y="632"/>
                    </a:lnTo>
                    <a:lnTo>
                      <a:pt x="1666" y="629"/>
                    </a:lnTo>
                    <a:lnTo>
                      <a:pt x="1666" y="626"/>
                    </a:lnTo>
                    <a:lnTo>
                      <a:pt x="1662" y="626"/>
                    </a:lnTo>
                    <a:lnTo>
                      <a:pt x="1657" y="626"/>
                    </a:lnTo>
                    <a:lnTo>
                      <a:pt x="1660" y="631"/>
                    </a:lnTo>
                    <a:lnTo>
                      <a:pt x="1662" y="634"/>
                    </a:lnTo>
                    <a:lnTo>
                      <a:pt x="1663" y="640"/>
                    </a:lnTo>
                    <a:lnTo>
                      <a:pt x="1663" y="642"/>
                    </a:lnTo>
                    <a:lnTo>
                      <a:pt x="1665" y="645"/>
                    </a:lnTo>
                    <a:lnTo>
                      <a:pt x="1657" y="646"/>
                    </a:lnTo>
                    <a:lnTo>
                      <a:pt x="1657" y="647"/>
                    </a:lnTo>
                    <a:lnTo>
                      <a:pt x="1657" y="647"/>
                    </a:lnTo>
                    <a:lnTo>
                      <a:pt x="1657" y="646"/>
                    </a:lnTo>
                    <a:lnTo>
                      <a:pt x="1653" y="643"/>
                    </a:lnTo>
                    <a:lnTo>
                      <a:pt x="1649" y="646"/>
                    </a:lnTo>
                    <a:lnTo>
                      <a:pt x="1647" y="646"/>
                    </a:lnTo>
                    <a:lnTo>
                      <a:pt x="1643" y="640"/>
                    </a:lnTo>
                    <a:lnTo>
                      <a:pt x="1639" y="641"/>
                    </a:lnTo>
                    <a:lnTo>
                      <a:pt x="1637" y="641"/>
                    </a:lnTo>
                    <a:lnTo>
                      <a:pt x="1635" y="645"/>
                    </a:lnTo>
                    <a:lnTo>
                      <a:pt x="1630" y="643"/>
                    </a:lnTo>
                    <a:lnTo>
                      <a:pt x="1625" y="645"/>
                    </a:lnTo>
                    <a:lnTo>
                      <a:pt x="1622" y="646"/>
                    </a:lnTo>
                    <a:lnTo>
                      <a:pt x="1619" y="648"/>
                    </a:lnTo>
                    <a:lnTo>
                      <a:pt x="1620" y="650"/>
                    </a:lnTo>
                    <a:lnTo>
                      <a:pt x="1625" y="649"/>
                    </a:lnTo>
                    <a:lnTo>
                      <a:pt x="1626" y="651"/>
                    </a:lnTo>
                    <a:lnTo>
                      <a:pt x="1622" y="650"/>
                    </a:lnTo>
                    <a:lnTo>
                      <a:pt x="1622" y="652"/>
                    </a:lnTo>
                    <a:lnTo>
                      <a:pt x="1626" y="654"/>
                    </a:lnTo>
                    <a:lnTo>
                      <a:pt x="1620" y="655"/>
                    </a:lnTo>
                    <a:lnTo>
                      <a:pt x="1621" y="656"/>
                    </a:lnTo>
                    <a:lnTo>
                      <a:pt x="1625" y="657"/>
                    </a:lnTo>
                    <a:lnTo>
                      <a:pt x="1627" y="659"/>
                    </a:lnTo>
                    <a:lnTo>
                      <a:pt x="1629" y="658"/>
                    </a:lnTo>
                    <a:lnTo>
                      <a:pt x="1638" y="660"/>
                    </a:lnTo>
                    <a:lnTo>
                      <a:pt x="1640" y="663"/>
                    </a:lnTo>
                    <a:lnTo>
                      <a:pt x="1643" y="665"/>
                    </a:lnTo>
                    <a:lnTo>
                      <a:pt x="1644" y="663"/>
                    </a:lnTo>
                    <a:lnTo>
                      <a:pt x="1647" y="665"/>
                    </a:lnTo>
                    <a:lnTo>
                      <a:pt x="1653" y="665"/>
                    </a:lnTo>
                    <a:lnTo>
                      <a:pt x="1651" y="666"/>
                    </a:lnTo>
                    <a:lnTo>
                      <a:pt x="1652" y="668"/>
                    </a:lnTo>
                    <a:lnTo>
                      <a:pt x="1655" y="668"/>
                    </a:lnTo>
                    <a:lnTo>
                      <a:pt x="1659" y="668"/>
                    </a:lnTo>
                    <a:lnTo>
                      <a:pt x="1661" y="669"/>
                    </a:lnTo>
                    <a:lnTo>
                      <a:pt x="1657" y="668"/>
                    </a:lnTo>
                    <a:lnTo>
                      <a:pt x="1655" y="668"/>
                    </a:lnTo>
                    <a:lnTo>
                      <a:pt x="1655" y="671"/>
                    </a:lnTo>
                    <a:lnTo>
                      <a:pt x="1657" y="673"/>
                    </a:lnTo>
                    <a:lnTo>
                      <a:pt x="1655" y="676"/>
                    </a:lnTo>
                    <a:lnTo>
                      <a:pt x="1659" y="678"/>
                    </a:lnTo>
                    <a:lnTo>
                      <a:pt x="1661" y="682"/>
                    </a:lnTo>
                    <a:lnTo>
                      <a:pt x="1662" y="683"/>
                    </a:lnTo>
                    <a:lnTo>
                      <a:pt x="1664" y="683"/>
                    </a:lnTo>
                    <a:lnTo>
                      <a:pt x="1666" y="685"/>
                    </a:lnTo>
                    <a:lnTo>
                      <a:pt x="1670" y="685"/>
                    </a:lnTo>
                    <a:lnTo>
                      <a:pt x="1669" y="686"/>
                    </a:lnTo>
                    <a:lnTo>
                      <a:pt x="1670" y="692"/>
                    </a:lnTo>
                    <a:lnTo>
                      <a:pt x="1670" y="694"/>
                    </a:lnTo>
                    <a:lnTo>
                      <a:pt x="1668" y="695"/>
                    </a:lnTo>
                    <a:lnTo>
                      <a:pt x="1669" y="695"/>
                    </a:lnTo>
                    <a:lnTo>
                      <a:pt x="1671" y="697"/>
                    </a:lnTo>
                    <a:lnTo>
                      <a:pt x="1673" y="699"/>
                    </a:lnTo>
                    <a:lnTo>
                      <a:pt x="1676" y="702"/>
                    </a:lnTo>
                    <a:lnTo>
                      <a:pt x="1676" y="705"/>
                    </a:lnTo>
                    <a:lnTo>
                      <a:pt x="1677" y="708"/>
                    </a:lnTo>
                    <a:lnTo>
                      <a:pt x="1678" y="709"/>
                    </a:lnTo>
                    <a:lnTo>
                      <a:pt x="1677" y="708"/>
                    </a:lnTo>
                    <a:lnTo>
                      <a:pt x="1674" y="706"/>
                    </a:lnTo>
                    <a:lnTo>
                      <a:pt x="1674" y="702"/>
                    </a:lnTo>
                    <a:lnTo>
                      <a:pt x="1672" y="700"/>
                    </a:lnTo>
                    <a:lnTo>
                      <a:pt x="1669" y="699"/>
                    </a:lnTo>
                    <a:lnTo>
                      <a:pt x="1668" y="711"/>
                    </a:lnTo>
                    <a:lnTo>
                      <a:pt x="1668" y="714"/>
                    </a:lnTo>
                    <a:lnTo>
                      <a:pt x="1668" y="718"/>
                    </a:lnTo>
                    <a:lnTo>
                      <a:pt x="1665" y="727"/>
                    </a:lnTo>
                    <a:lnTo>
                      <a:pt x="1663" y="734"/>
                    </a:lnTo>
                    <a:lnTo>
                      <a:pt x="1661" y="735"/>
                    </a:lnTo>
                    <a:lnTo>
                      <a:pt x="1657" y="736"/>
                    </a:lnTo>
                    <a:lnTo>
                      <a:pt x="1654" y="736"/>
                    </a:lnTo>
                    <a:lnTo>
                      <a:pt x="1652" y="736"/>
                    </a:lnTo>
                    <a:lnTo>
                      <a:pt x="1647" y="733"/>
                    </a:lnTo>
                    <a:lnTo>
                      <a:pt x="1645" y="734"/>
                    </a:lnTo>
                    <a:lnTo>
                      <a:pt x="1644" y="735"/>
                    </a:lnTo>
                    <a:lnTo>
                      <a:pt x="1642" y="735"/>
                    </a:lnTo>
                    <a:lnTo>
                      <a:pt x="1637" y="733"/>
                    </a:lnTo>
                    <a:lnTo>
                      <a:pt x="1635" y="733"/>
                    </a:lnTo>
                    <a:lnTo>
                      <a:pt x="1632" y="733"/>
                    </a:lnTo>
                    <a:lnTo>
                      <a:pt x="1629" y="734"/>
                    </a:lnTo>
                    <a:lnTo>
                      <a:pt x="1629" y="734"/>
                    </a:lnTo>
                    <a:lnTo>
                      <a:pt x="1627" y="734"/>
                    </a:lnTo>
                    <a:lnTo>
                      <a:pt x="1621" y="734"/>
                    </a:lnTo>
                    <a:lnTo>
                      <a:pt x="1615" y="733"/>
                    </a:lnTo>
                    <a:lnTo>
                      <a:pt x="1612" y="732"/>
                    </a:lnTo>
                    <a:lnTo>
                      <a:pt x="1606" y="732"/>
                    </a:lnTo>
                    <a:lnTo>
                      <a:pt x="1604" y="731"/>
                    </a:lnTo>
                    <a:lnTo>
                      <a:pt x="1602" y="732"/>
                    </a:lnTo>
                    <a:lnTo>
                      <a:pt x="1593" y="732"/>
                    </a:lnTo>
                    <a:lnTo>
                      <a:pt x="1591" y="732"/>
                    </a:lnTo>
                    <a:lnTo>
                      <a:pt x="1588" y="733"/>
                    </a:lnTo>
                    <a:lnTo>
                      <a:pt x="1587" y="732"/>
                    </a:lnTo>
                    <a:lnTo>
                      <a:pt x="1585" y="731"/>
                    </a:lnTo>
                    <a:lnTo>
                      <a:pt x="1582" y="729"/>
                    </a:lnTo>
                    <a:lnTo>
                      <a:pt x="1576" y="728"/>
                    </a:lnTo>
                    <a:lnTo>
                      <a:pt x="1574" y="731"/>
                    </a:lnTo>
                    <a:lnTo>
                      <a:pt x="1572" y="733"/>
                    </a:lnTo>
                    <a:lnTo>
                      <a:pt x="1572" y="733"/>
                    </a:lnTo>
                    <a:lnTo>
                      <a:pt x="1572" y="734"/>
                    </a:lnTo>
                    <a:lnTo>
                      <a:pt x="1569" y="735"/>
                    </a:lnTo>
                    <a:lnTo>
                      <a:pt x="1567" y="736"/>
                    </a:lnTo>
                    <a:lnTo>
                      <a:pt x="1563" y="736"/>
                    </a:lnTo>
                    <a:lnTo>
                      <a:pt x="1558" y="740"/>
                    </a:lnTo>
                    <a:lnTo>
                      <a:pt x="1560" y="743"/>
                    </a:lnTo>
                    <a:lnTo>
                      <a:pt x="1560" y="743"/>
                    </a:lnTo>
                    <a:lnTo>
                      <a:pt x="1561" y="744"/>
                    </a:lnTo>
                    <a:lnTo>
                      <a:pt x="1563" y="744"/>
                    </a:lnTo>
                    <a:lnTo>
                      <a:pt x="1562" y="744"/>
                    </a:lnTo>
                    <a:lnTo>
                      <a:pt x="1562" y="748"/>
                    </a:lnTo>
                    <a:lnTo>
                      <a:pt x="1566" y="746"/>
                    </a:lnTo>
                    <a:lnTo>
                      <a:pt x="1563" y="749"/>
                    </a:lnTo>
                    <a:lnTo>
                      <a:pt x="1563" y="751"/>
                    </a:lnTo>
                    <a:lnTo>
                      <a:pt x="1567" y="751"/>
                    </a:lnTo>
                    <a:lnTo>
                      <a:pt x="1563" y="753"/>
                    </a:lnTo>
                    <a:lnTo>
                      <a:pt x="1566" y="753"/>
                    </a:lnTo>
                    <a:lnTo>
                      <a:pt x="1567" y="752"/>
                    </a:lnTo>
                    <a:lnTo>
                      <a:pt x="1567" y="753"/>
                    </a:lnTo>
                    <a:lnTo>
                      <a:pt x="1563" y="756"/>
                    </a:lnTo>
                    <a:lnTo>
                      <a:pt x="1565" y="758"/>
                    </a:lnTo>
                    <a:lnTo>
                      <a:pt x="1563" y="760"/>
                    </a:lnTo>
                    <a:lnTo>
                      <a:pt x="1563" y="762"/>
                    </a:lnTo>
                    <a:lnTo>
                      <a:pt x="1566" y="770"/>
                    </a:lnTo>
                    <a:lnTo>
                      <a:pt x="1567" y="771"/>
                    </a:lnTo>
                    <a:lnTo>
                      <a:pt x="1566" y="779"/>
                    </a:lnTo>
                    <a:lnTo>
                      <a:pt x="1567" y="776"/>
                    </a:lnTo>
                    <a:lnTo>
                      <a:pt x="1567" y="779"/>
                    </a:lnTo>
                    <a:lnTo>
                      <a:pt x="1565" y="782"/>
                    </a:lnTo>
                    <a:lnTo>
                      <a:pt x="1563" y="788"/>
                    </a:lnTo>
                    <a:lnTo>
                      <a:pt x="1560" y="796"/>
                    </a:lnTo>
                    <a:lnTo>
                      <a:pt x="1557" y="801"/>
                    </a:lnTo>
                    <a:lnTo>
                      <a:pt x="1557" y="803"/>
                    </a:lnTo>
                    <a:lnTo>
                      <a:pt x="1555" y="805"/>
                    </a:lnTo>
                    <a:lnTo>
                      <a:pt x="1555" y="809"/>
                    </a:lnTo>
                    <a:lnTo>
                      <a:pt x="1557" y="811"/>
                    </a:lnTo>
                    <a:lnTo>
                      <a:pt x="1559" y="811"/>
                    </a:lnTo>
                    <a:lnTo>
                      <a:pt x="1560" y="810"/>
                    </a:lnTo>
                    <a:lnTo>
                      <a:pt x="1562" y="806"/>
                    </a:lnTo>
                    <a:lnTo>
                      <a:pt x="1562" y="810"/>
                    </a:lnTo>
                    <a:lnTo>
                      <a:pt x="1560" y="812"/>
                    </a:lnTo>
                    <a:lnTo>
                      <a:pt x="1559" y="811"/>
                    </a:lnTo>
                    <a:lnTo>
                      <a:pt x="1559" y="814"/>
                    </a:lnTo>
                    <a:lnTo>
                      <a:pt x="1565" y="814"/>
                    </a:lnTo>
                    <a:lnTo>
                      <a:pt x="1566" y="813"/>
                    </a:lnTo>
                    <a:lnTo>
                      <a:pt x="1565" y="816"/>
                    </a:lnTo>
                    <a:lnTo>
                      <a:pt x="1565" y="819"/>
                    </a:lnTo>
                    <a:lnTo>
                      <a:pt x="1563" y="822"/>
                    </a:lnTo>
                    <a:lnTo>
                      <a:pt x="1565" y="827"/>
                    </a:lnTo>
                    <a:lnTo>
                      <a:pt x="1565" y="828"/>
                    </a:lnTo>
                    <a:lnTo>
                      <a:pt x="1565" y="831"/>
                    </a:lnTo>
                    <a:lnTo>
                      <a:pt x="1562" y="835"/>
                    </a:lnTo>
                    <a:lnTo>
                      <a:pt x="1562" y="838"/>
                    </a:lnTo>
                    <a:lnTo>
                      <a:pt x="1568" y="836"/>
                    </a:lnTo>
                    <a:lnTo>
                      <a:pt x="1570" y="836"/>
                    </a:lnTo>
                    <a:lnTo>
                      <a:pt x="1572" y="836"/>
                    </a:lnTo>
                    <a:lnTo>
                      <a:pt x="1575" y="837"/>
                    </a:lnTo>
                    <a:lnTo>
                      <a:pt x="1578" y="837"/>
                    </a:lnTo>
                    <a:lnTo>
                      <a:pt x="1583" y="835"/>
                    </a:lnTo>
                    <a:lnTo>
                      <a:pt x="1583" y="834"/>
                    </a:lnTo>
                    <a:lnTo>
                      <a:pt x="1584" y="835"/>
                    </a:lnTo>
                    <a:lnTo>
                      <a:pt x="1584" y="835"/>
                    </a:lnTo>
                    <a:lnTo>
                      <a:pt x="1589" y="834"/>
                    </a:lnTo>
                    <a:lnTo>
                      <a:pt x="1591" y="834"/>
                    </a:lnTo>
                    <a:lnTo>
                      <a:pt x="1589" y="835"/>
                    </a:lnTo>
                    <a:lnTo>
                      <a:pt x="1595" y="838"/>
                    </a:lnTo>
                    <a:lnTo>
                      <a:pt x="1600" y="839"/>
                    </a:lnTo>
                    <a:lnTo>
                      <a:pt x="1596" y="843"/>
                    </a:lnTo>
                    <a:lnTo>
                      <a:pt x="1600" y="845"/>
                    </a:lnTo>
                    <a:lnTo>
                      <a:pt x="1600" y="845"/>
                    </a:lnTo>
                    <a:lnTo>
                      <a:pt x="1600" y="847"/>
                    </a:lnTo>
                    <a:lnTo>
                      <a:pt x="1602" y="851"/>
                    </a:lnTo>
                    <a:lnTo>
                      <a:pt x="1608" y="854"/>
                    </a:lnTo>
                    <a:lnTo>
                      <a:pt x="1612" y="852"/>
                    </a:lnTo>
                    <a:lnTo>
                      <a:pt x="1613" y="847"/>
                    </a:lnTo>
                    <a:lnTo>
                      <a:pt x="1617" y="846"/>
                    </a:lnTo>
                    <a:lnTo>
                      <a:pt x="1619" y="846"/>
                    </a:lnTo>
                    <a:lnTo>
                      <a:pt x="1621" y="846"/>
                    </a:lnTo>
                    <a:lnTo>
                      <a:pt x="1623" y="843"/>
                    </a:lnTo>
                    <a:lnTo>
                      <a:pt x="1625" y="843"/>
                    </a:lnTo>
                    <a:lnTo>
                      <a:pt x="1636" y="843"/>
                    </a:lnTo>
                    <a:lnTo>
                      <a:pt x="1642" y="842"/>
                    </a:lnTo>
                    <a:lnTo>
                      <a:pt x="1646" y="843"/>
                    </a:lnTo>
                    <a:lnTo>
                      <a:pt x="1648" y="843"/>
                    </a:lnTo>
                    <a:lnTo>
                      <a:pt x="1651" y="840"/>
                    </a:lnTo>
                    <a:lnTo>
                      <a:pt x="1653" y="840"/>
                    </a:lnTo>
                    <a:lnTo>
                      <a:pt x="1656" y="842"/>
                    </a:lnTo>
                    <a:lnTo>
                      <a:pt x="1657" y="839"/>
                    </a:lnTo>
                    <a:lnTo>
                      <a:pt x="1660" y="836"/>
                    </a:lnTo>
                    <a:lnTo>
                      <a:pt x="1660" y="834"/>
                    </a:lnTo>
                    <a:lnTo>
                      <a:pt x="1665" y="830"/>
                    </a:lnTo>
                    <a:lnTo>
                      <a:pt x="1668" y="829"/>
                    </a:lnTo>
                    <a:lnTo>
                      <a:pt x="1671" y="829"/>
                    </a:lnTo>
                    <a:lnTo>
                      <a:pt x="1673" y="827"/>
                    </a:lnTo>
                    <a:lnTo>
                      <a:pt x="1676" y="823"/>
                    </a:lnTo>
                    <a:lnTo>
                      <a:pt x="1676" y="820"/>
                    </a:lnTo>
                    <a:lnTo>
                      <a:pt x="1679" y="816"/>
                    </a:lnTo>
                    <a:lnTo>
                      <a:pt x="1685" y="812"/>
                    </a:lnTo>
                    <a:lnTo>
                      <a:pt x="1688" y="811"/>
                    </a:lnTo>
                    <a:lnTo>
                      <a:pt x="1682" y="806"/>
                    </a:lnTo>
                    <a:lnTo>
                      <a:pt x="1681" y="804"/>
                    </a:lnTo>
                    <a:lnTo>
                      <a:pt x="1680" y="800"/>
                    </a:lnTo>
                    <a:lnTo>
                      <a:pt x="1682" y="794"/>
                    </a:lnTo>
                    <a:lnTo>
                      <a:pt x="1685" y="792"/>
                    </a:lnTo>
                    <a:lnTo>
                      <a:pt x="1686" y="789"/>
                    </a:lnTo>
                    <a:lnTo>
                      <a:pt x="1690" y="784"/>
                    </a:lnTo>
                    <a:lnTo>
                      <a:pt x="1691" y="782"/>
                    </a:lnTo>
                    <a:lnTo>
                      <a:pt x="1694" y="780"/>
                    </a:lnTo>
                    <a:lnTo>
                      <a:pt x="1697" y="779"/>
                    </a:lnTo>
                    <a:lnTo>
                      <a:pt x="1697" y="778"/>
                    </a:lnTo>
                    <a:lnTo>
                      <a:pt x="1695" y="777"/>
                    </a:lnTo>
                    <a:lnTo>
                      <a:pt x="1697" y="775"/>
                    </a:lnTo>
                    <a:lnTo>
                      <a:pt x="1702" y="772"/>
                    </a:lnTo>
                    <a:lnTo>
                      <a:pt x="1714" y="769"/>
                    </a:lnTo>
                    <a:lnTo>
                      <a:pt x="1715" y="768"/>
                    </a:lnTo>
                    <a:lnTo>
                      <a:pt x="1717" y="766"/>
                    </a:lnTo>
                    <a:lnTo>
                      <a:pt x="1725" y="762"/>
                    </a:lnTo>
                    <a:lnTo>
                      <a:pt x="1728" y="760"/>
                    </a:lnTo>
                    <a:lnTo>
                      <a:pt x="1729" y="757"/>
                    </a:lnTo>
                    <a:lnTo>
                      <a:pt x="1728" y="754"/>
                    </a:lnTo>
                    <a:lnTo>
                      <a:pt x="1730" y="753"/>
                    </a:lnTo>
                    <a:lnTo>
                      <a:pt x="1726" y="746"/>
                    </a:lnTo>
                    <a:lnTo>
                      <a:pt x="1726" y="744"/>
                    </a:lnTo>
                    <a:lnTo>
                      <a:pt x="1725" y="743"/>
                    </a:lnTo>
                    <a:lnTo>
                      <a:pt x="1726" y="743"/>
                    </a:lnTo>
                    <a:lnTo>
                      <a:pt x="1726" y="740"/>
                    </a:lnTo>
                    <a:lnTo>
                      <a:pt x="1730" y="737"/>
                    </a:lnTo>
                    <a:lnTo>
                      <a:pt x="1732" y="736"/>
                    </a:lnTo>
                    <a:lnTo>
                      <a:pt x="1738" y="733"/>
                    </a:lnTo>
                    <a:lnTo>
                      <a:pt x="1740" y="732"/>
                    </a:lnTo>
                    <a:lnTo>
                      <a:pt x="1742" y="733"/>
                    </a:lnTo>
                    <a:lnTo>
                      <a:pt x="1745" y="733"/>
                    </a:lnTo>
                    <a:lnTo>
                      <a:pt x="1747" y="735"/>
                    </a:lnTo>
                    <a:lnTo>
                      <a:pt x="1750" y="734"/>
                    </a:lnTo>
                    <a:lnTo>
                      <a:pt x="1749" y="732"/>
                    </a:lnTo>
                    <a:lnTo>
                      <a:pt x="1750" y="734"/>
                    </a:lnTo>
                    <a:lnTo>
                      <a:pt x="1754" y="734"/>
                    </a:lnTo>
                    <a:lnTo>
                      <a:pt x="1754" y="734"/>
                    </a:lnTo>
                    <a:lnTo>
                      <a:pt x="1755" y="735"/>
                    </a:lnTo>
                    <a:lnTo>
                      <a:pt x="1757" y="735"/>
                    </a:lnTo>
                    <a:lnTo>
                      <a:pt x="1759" y="737"/>
                    </a:lnTo>
                    <a:lnTo>
                      <a:pt x="1763" y="737"/>
                    </a:lnTo>
                    <a:lnTo>
                      <a:pt x="1763" y="739"/>
                    </a:lnTo>
                    <a:lnTo>
                      <a:pt x="1766" y="739"/>
                    </a:lnTo>
                    <a:lnTo>
                      <a:pt x="1768" y="740"/>
                    </a:lnTo>
                    <a:lnTo>
                      <a:pt x="1774" y="739"/>
                    </a:lnTo>
                    <a:lnTo>
                      <a:pt x="1776" y="736"/>
                    </a:lnTo>
                    <a:lnTo>
                      <a:pt x="1777" y="734"/>
                    </a:lnTo>
                    <a:lnTo>
                      <a:pt x="1783" y="729"/>
                    </a:lnTo>
                    <a:lnTo>
                      <a:pt x="1787" y="728"/>
                    </a:lnTo>
                    <a:lnTo>
                      <a:pt x="1790" y="728"/>
                    </a:lnTo>
                    <a:lnTo>
                      <a:pt x="1793" y="727"/>
                    </a:lnTo>
                    <a:lnTo>
                      <a:pt x="1796" y="725"/>
                    </a:lnTo>
                    <a:lnTo>
                      <a:pt x="1801" y="719"/>
                    </a:lnTo>
                    <a:lnTo>
                      <a:pt x="1805" y="717"/>
                    </a:lnTo>
                    <a:lnTo>
                      <a:pt x="1807" y="717"/>
                    </a:lnTo>
                    <a:lnTo>
                      <a:pt x="1813" y="719"/>
                    </a:lnTo>
                    <a:lnTo>
                      <a:pt x="1817" y="723"/>
                    </a:lnTo>
                    <a:lnTo>
                      <a:pt x="1819" y="723"/>
                    </a:lnTo>
                    <a:lnTo>
                      <a:pt x="1821" y="723"/>
                    </a:lnTo>
                    <a:lnTo>
                      <a:pt x="1822" y="724"/>
                    </a:lnTo>
                    <a:lnTo>
                      <a:pt x="1824" y="725"/>
                    </a:lnTo>
                    <a:lnTo>
                      <a:pt x="1825" y="727"/>
                    </a:lnTo>
                    <a:lnTo>
                      <a:pt x="1825" y="732"/>
                    </a:lnTo>
                    <a:lnTo>
                      <a:pt x="1828" y="736"/>
                    </a:lnTo>
                    <a:lnTo>
                      <a:pt x="1828" y="742"/>
                    </a:lnTo>
                    <a:lnTo>
                      <a:pt x="1832" y="742"/>
                    </a:lnTo>
                    <a:lnTo>
                      <a:pt x="1833" y="744"/>
                    </a:lnTo>
                    <a:lnTo>
                      <a:pt x="1836" y="748"/>
                    </a:lnTo>
                    <a:lnTo>
                      <a:pt x="1839" y="751"/>
                    </a:lnTo>
                    <a:lnTo>
                      <a:pt x="1843" y="752"/>
                    </a:lnTo>
                    <a:lnTo>
                      <a:pt x="1845" y="754"/>
                    </a:lnTo>
                    <a:lnTo>
                      <a:pt x="1845" y="757"/>
                    </a:lnTo>
                    <a:lnTo>
                      <a:pt x="1849" y="758"/>
                    </a:lnTo>
                    <a:lnTo>
                      <a:pt x="1851" y="759"/>
                    </a:lnTo>
                    <a:lnTo>
                      <a:pt x="1852" y="762"/>
                    </a:lnTo>
                    <a:lnTo>
                      <a:pt x="1856" y="763"/>
                    </a:lnTo>
                    <a:lnTo>
                      <a:pt x="1857" y="766"/>
                    </a:lnTo>
                    <a:lnTo>
                      <a:pt x="1862" y="769"/>
                    </a:lnTo>
                    <a:lnTo>
                      <a:pt x="1865" y="769"/>
                    </a:lnTo>
                    <a:lnTo>
                      <a:pt x="1868" y="769"/>
                    </a:lnTo>
                    <a:lnTo>
                      <a:pt x="1870" y="770"/>
                    </a:lnTo>
                    <a:lnTo>
                      <a:pt x="1873" y="770"/>
                    </a:lnTo>
                    <a:lnTo>
                      <a:pt x="1875" y="774"/>
                    </a:lnTo>
                    <a:lnTo>
                      <a:pt x="1878" y="777"/>
                    </a:lnTo>
                    <a:lnTo>
                      <a:pt x="1882" y="777"/>
                    </a:lnTo>
                    <a:lnTo>
                      <a:pt x="1883" y="780"/>
                    </a:lnTo>
                    <a:lnTo>
                      <a:pt x="1884" y="780"/>
                    </a:lnTo>
                    <a:lnTo>
                      <a:pt x="1886" y="779"/>
                    </a:lnTo>
                    <a:lnTo>
                      <a:pt x="1888" y="782"/>
                    </a:lnTo>
                    <a:lnTo>
                      <a:pt x="1890" y="784"/>
                    </a:lnTo>
                    <a:lnTo>
                      <a:pt x="1890" y="787"/>
                    </a:lnTo>
                    <a:lnTo>
                      <a:pt x="1892" y="788"/>
                    </a:lnTo>
                    <a:lnTo>
                      <a:pt x="1895" y="791"/>
                    </a:lnTo>
                    <a:lnTo>
                      <a:pt x="1899" y="789"/>
                    </a:lnTo>
                    <a:lnTo>
                      <a:pt x="1901" y="792"/>
                    </a:lnTo>
                    <a:lnTo>
                      <a:pt x="1901" y="795"/>
                    </a:lnTo>
                    <a:lnTo>
                      <a:pt x="1902" y="797"/>
                    </a:lnTo>
                    <a:lnTo>
                      <a:pt x="1904" y="800"/>
                    </a:lnTo>
                    <a:lnTo>
                      <a:pt x="1905" y="805"/>
                    </a:lnTo>
                    <a:lnTo>
                      <a:pt x="1907" y="808"/>
                    </a:lnTo>
                    <a:lnTo>
                      <a:pt x="1905" y="811"/>
                    </a:lnTo>
                    <a:lnTo>
                      <a:pt x="1902" y="811"/>
                    </a:lnTo>
                    <a:lnTo>
                      <a:pt x="1902" y="816"/>
                    </a:lnTo>
                    <a:lnTo>
                      <a:pt x="1899" y="820"/>
                    </a:lnTo>
                    <a:lnTo>
                      <a:pt x="1900" y="823"/>
                    </a:lnTo>
                    <a:lnTo>
                      <a:pt x="1903" y="823"/>
                    </a:lnTo>
                    <a:lnTo>
                      <a:pt x="1905" y="822"/>
                    </a:lnTo>
                    <a:lnTo>
                      <a:pt x="1907" y="820"/>
                    </a:lnTo>
                    <a:lnTo>
                      <a:pt x="1911" y="814"/>
                    </a:lnTo>
                    <a:lnTo>
                      <a:pt x="1911" y="810"/>
                    </a:lnTo>
                    <a:lnTo>
                      <a:pt x="1919" y="805"/>
                    </a:lnTo>
                    <a:lnTo>
                      <a:pt x="1919" y="803"/>
                    </a:lnTo>
                    <a:lnTo>
                      <a:pt x="1918" y="799"/>
                    </a:lnTo>
                    <a:lnTo>
                      <a:pt x="1913" y="796"/>
                    </a:lnTo>
                    <a:lnTo>
                      <a:pt x="1911" y="795"/>
                    </a:lnTo>
                    <a:lnTo>
                      <a:pt x="1911" y="793"/>
                    </a:lnTo>
                    <a:lnTo>
                      <a:pt x="1912" y="791"/>
                    </a:lnTo>
                    <a:lnTo>
                      <a:pt x="1912" y="788"/>
                    </a:lnTo>
                    <a:lnTo>
                      <a:pt x="1915" y="787"/>
                    </a:lnTo>
                    <a:lnTo>
                      <a:pt x="1916" y="784"/>
                    </a:lnTo>
                    <a:lnTo>
                      <a:pt x="1918" y="782"/>
                    </a:lnTo>
                    <a:lnTo>
                      <a:pt x="1921" y="782"/>
                    </a:lnTo>
                    <a:lnTo>
                      <a:pt x="1921" y="783"/>
                    </a:lnTo>
                    <a:lnTo>
                      <a:pt x="1920" y="783"/>
                    </a:lnTo>
                    <a:lnTo>
                      <a:pt x="1922" y="785"/>
                    </a:lnTo>
                    <a:lnTo>
                      <a:pt x="1928" y="785"/>
                    </a:lnTo>
                    <a:lnTo>
                      <a:pt x="1930" y="787"/>
                    </a:lnTo>
                    <a:lnTo>
                      <a:pt x="1932" y="791"/>
                    </a:lnTo>
                    <a:lnTo>
                      <a:pt x="1934" y="793"/>
                    </a:lnTo>
                    <a:lnTo>
                      <a:pt x="1936" y="793"/>
                    </a:lnTo>
                    <a:lnTo>
                      <a:pt x="1938" y="788"/>
                    </a:lnTo>
                    <a:lnTo>
                      <a:pt x="1937" y="786"/>
                    </a:lnTo>
                    <a:lnTo>
                      <a:pt x="1935" y="784"/>
                    </a:lnTo>
                    <a:lnTo>
                      <a:pt x="1932" y="782"/>
                    </a:lnTo>
                    <a:lnTo>
                      <a:pt x="1930" y="779"/>
                    </a:lnTo>
                    <a:lnTo>
                      <a:pt x="1922" y="776"/>
                    </a:lnTo>
                    <a:lnTo>
                      <a:pt x="1920" y="774"/>
                    </a:lnTo>
                    <a:lnTo>
                      <a:pt x="1912" y="770"/>
                    </a:lnTo>
                    <a:lnTo>
                      <a:pt x="1903" y="766"/>
                    </a:lnTo>
                    <a:lnTo>
                      <a:pt x="1903" y="763"/>
                    </a:lnTo>
                    <a:lnTo>
                      <a:pt x="1905" y="761"/>
                    </a:lnTo>
                    <a:lnTo>
                      <a:pt x="1905" y="759"/>
                    </a:lnTo>
                    <a:lnTo>
                      <a:pt x="1892" y="759"/>
                    </a:lnTo>
                    <a:lnTo>
                      <a:pt x="1890" y="758"/>
                    </a:lnTo>
                    <a:lnTo>
                      <a:pt x="1886" y="757"/>
                    </a:lnTo>
                    <a:lnTo>
                      <a:pt x="1876" y="746"/>
                    </a:lnTo>
                    <a:lnTo>
                      <a:pt x="1873" y="736"/>
                    </a:lnTo>
                    <a:lnTo>
                      <a:pt x="1870" y="732"/>
                    </a:lnTo>
                    <a:lnTo>
                      <a:pt x="1868" y="731"/>
                    </a:lnTo>
                    <a:lnTo>
                      <a:pt x="1862" y="726"/>
                    </a:lnTo>
                    <a:lnTo>
                      <a:pt x="1859" y="725"/>
                    </a:lnTo>
                    <a:lnTo>
                      <a:pt x="1854" y="720"/>
                    </a:lnTo>
                    <a:lnTo>
                      <a:pt x="1853" y="717"/>
                    </a:lnTo>
                    <a:lnTo>
                      <a:pt x="1853" y="714"/>
                    </a:lnTo>
                    <a:lnTo>
                      <a:pt x="1852" y="714"/>
                    </a:lnTo>
                    <a:lnTo>
                      <a:pt x="1856" y="710"/>
                    </a:lnTo>
                    <a:lnTo>
                      <a:pt x="1857" y="708"/>
                    </a:lnTo>
                    <a:lnTo>
                      <a:pt x="1856" y="708"/>
                    </a:lnTo>
                    <a:lnTo>
                      <a:pt x="1853" y="705"/>
                    </a:lnTo>
                    <a:lnTo>
                      <a:pt x="1852" y="703"/>
                    </a:lnTo>
                    <a:lnTo>
                      <a:pt x="1852" y="703"/>
                    </a:lnTo>
                    <a:lnTo>
                      <a:pt x="1851" y="702"/>
                    </a:lnTo>
                    <a:lnTo>
                      <a:pt x="1851" y="702"/>
                    </a:lnTo>
                    <a:lnTo>
                      <a:pt x="1852" y="702"/>
                    </a:lnTo>
                    <a:lnTo>
                      <a:pt x="1853" y="700"/>
                    </a:lnTo>
                    <a:lnTo>
                      <a:pt x="1856" y="700"/>
                    </a:lnTo>
                    <a:lnTo>
                      <a:pt x="1859" y="699"/>
                    </a:lnTo>
                    <a:lnTo>
                      <a:pt x="1861" y="697"/>
                    </a:lnTo>
                    <a:lnTo>
                      <a:pt x="1864" y="697"/>
                    </a:lnTo>
                    <a:lnTo>
                      <a:pt x="1864" y="695"/>
                    </a:lnTo>
                    <a:lnTo>
                      <a:pt x="1867" y="694"/>
                    </a:lnTo>
                    <a:lnTo>
                      <a:pt x="1868" y="695"/>
                    </a:lnTo>
                    <a:lnTo>
                      <a:pt x="1868" y="695"/>
                    </a:lnTo>
                    <a:lnTo>
                      <a:pt x="1868" y="695"/>
                    </a:lnTo>
                    <a:lnTo>
                      <a:pt x="1870" y="694"/>
                    </a:lnTo>
                    <a:lnTo>
                      <a:pt x="1871" y="694"/>
                    </a:lnTo>
                    <a:lnTo>
                      <a:pt x="1873" y="698"/>
                    </a:lnTo>
                    <a:lnTo>
                      <a:pt x="1873" y="698"/>
                    </a:lnTo>
                    <a:lnTo>
                      <a:pt x="1871" y="698"/>
                    </a:lnTo>
                    <a:lnTo>
                      <a:pt x="1870" y="699"/>
                    </a:lnTo>
                    <a:lnTo>
                      <a:pt x="1869" y="700"/>
                    </a:lnTo>
                    <a:lnTo>
                      <a:pt x="1870" y="702"/>
                    </a:lnTo>
                    <a:lnTo>
                      <a:pt x="1870" y="702"/>
                    </a:lnTo>
                    <a:lnTo>
                      <a:pt x="1873" y="706"/>
                    </a:lnTo>
                    <a:lnTo>
                      <a:pt x="1873" y="708"/>
                    </a:lnTo>
                    <a:lnTo>
                      <a:pt x="1875" y="711"/>
                    </a:lnTo>
                    <a:lnTo>
                      <a:pt x="1876" y="710"/>
                    </a:lnTo>
                    <a:lnTo>
                      <a:pt x="1877" y="707"/>
                    </a:lnTo>
                    <a:lnTo>
                      <a:pt x="1877" y="708"/>
                    </a:lnTo>
                    <a:lnTo>
                      <a:pt x="1878" y="708"/>
                    </a:lnTo>
                    <a:lnTo>
                      <a:pt x="1881" y="701"/>
                    </a:lnTo>
                    <a:lnTo>
                      <a:pt x="1885" y="703"/>
                    </a:lnTo>
                    <a:lnTo>
                      <a:pt x="1888" y="708"/>
                    </a:lnTo>
                    <a:lnTo>
                      <a:pt x="1888" y="712"/>
                    </a:lnTo>
                    <a:lnTo>
                      <a:pt x="1890" y="715"/>
                    </a:lnTo>
                    <a:lnTo>
                      <a:pt x="1892" y="716"/>
                    </a:lnTo>
                    <a:lnTo>
                      <a:pt x="1894" y="718"/>
                    </a:lnTo>
                    <a:lnTo>
                      <a:pt x="1898" y="720"/>
                    </a:lnTo>
                    <a:lnTo>
                      <a:pt x="1898" y="720"/>
                    </a:lnTo>
                    <a:lnTo>
                      <a:pt x="1899" y="720"/>
                    </a:lnTo>
                    <a:lnTo>
                      <a:pt x="1899" y="722"/>
                    </a:lnTo>
                    <a:lnTo>
                      <a:pt x="1898" y="720"/>
                    </a:lnTo>
                    <a:lnTo>
                      <a:pt x="1894" y="719"/>
                    </a:lnTo>
                    <a:lnTo>
                      <a:pt x="1893" y="722"/>
                    </a:lnTo>
                    <a:lnTo>
                      <a:pt x="1899" y="727"/>
                    </a:lnTo>
                    <a:lnTo>
                      <a:pt x="1903" y="729"/>
                    </a:lnTo>
                    <a:lnTo>
                      <a:pt x="1904" y="733"/>
                    </a:lnTo>
                    <a:lnTo>
                      <a:pt x="1909" y="732"/>
                    </a:lnTo>
                    <a:lnTo>
                      <a:pt x="1913" y="734"/>
                    </a:lnTo>
                    <a:lnTo>
                      <a:pt x="1916" y="734"/>
                    </a:lnTo>
                    <a:lnTo>
                      <a:pt x="1919" y="737"/>
                    </a:lnTo>
                    <a:lnTo>
                      <a:pt x="1924" y="741"/>
                    </a:lnTo>
                    <a:lnTo>
                      <a:pt x="1927" y="743"/>
                    </a:lnTo>
                    <a:lnTo>
                      <a:pt x="1924" y="742"/>
                    </a:lnTo>
                    <a:lnTo>
                      <a:pt x="1921" y="741"/>
                    </a:lnTo>
                    <a:lnTo>
                      <a:pt x="1918" y="741"/>
                    </a:lnTo>
                    <a:lnTo>
                      <a:pt x="1924" y="743"/>
                    </a:lnTo>
                    <a:lnTo>
                      <a:pt x="1929" y="744"/>
                    </a:lnTo>
                    <a:lnTo>
                      <a:pt x="1937" y="750"/>
                    </a:lnTo>
                    <a:lnTo>
                      <a:pt x="1942" y="750"/>
                    </a:lnTo>
                    <a:lnTo>
                      <a:pt x="1942" y="751"/>
                    </a:lnTo>
                    <a:lnTo>
                      <a:pt x="1941" y="750"/>
                    </a:lnTo>
                    <a:lnTo>
                      <a:pt x="1938" y="751"/>
                    </a:lnTo>
                    <a:lnTo>
                      <a:pt x="1942" y="753"/>
                    </a:lnTo>
                    <a:lnTo>
                      <a:pt x="1944" y="754"/>
                    </a:lnTo>
                    <a:lnTo>
                      <a:pt x="1946" y="758"/>
                    </a:lnTo>
                    <a:lnTo>
                      <a:pt x="1950" y="760"/>
                    </a:lnTo>
                    <a:lnTo>
                      <a:pt x="1952" y="760"/>
                    </a:lnTo>
                    <a:lnTo>
                      <a:pt x="1953" y="761"/>
                    </a:lnTo>
                    <a:lnTo>
                      <a:pt x="1953" y="765"/>
                    </a:lnTo>
                    <a:lnTo>
                      <a:pt x="1951" y="768"/>
                    </a:lnTo>
                    <a:lnTo>
                      <a:pt x="1951" y="770"/>
                    </a:lnTo>
                    <a:lnTo>
                      <a:pt x="1951" y="774"/>
                    </a:lnTo>
                    <a:lnTo>
                      <a:pt x="1951" y="776"/>
                    </a:lnTo>
                    <a:lnTo>
                      <a:pt x="1950" y="779"/>
                    </a:lnTo>
                    <a:lnTo>
                      <a:pt x="1951" y="782"/>
                    </a:lnTo>
                    <a:lnTo>
                      <a:pt x="1951" y="782"/>
                    </a:lnTo>
                    <a:lnTo>
                      <a:pt x="1951" y="785"/>
                    </a:lnTo>
                    <a:lnTo>
                      <a:pt x="1951" y="785"/>
                    </a:lnTo>
                    <a:lnTo>
                      <a:pt x="1950" y="784"/>
                    </a:lnTo>
                    <a:lnTo>
                      <a:pt x="1951" y="786"/>
                    </a:lnTo>
                    <a:lnTo>
                      <a:pt x="1956" y="789"/>
                    </a:lnTo>
                    <a:lnTo>
                      <a:pt x="1959" y="793"/>
                    </a:lnTo>
                    <a:lnTo>
                      <a:pt x="1959" y="795"/>
                    </a:lnTo>
                    <a:lnTo>
                      <a:pt x="1961" y="796"/>
                    </a:lnTo>
                    <a:lnTo>
                      <a:pt x="1963" y="801"/>
                    </a:lnTo>
                    <a:lnTo>
                      <a:pt x="1966" y="802"/>
                    </a:lnTo>
                    <a:lnTo>
                      <a:pt x="1969" y="806"/>
                    </a:lnTo>
                    <a:lnTo>
                      <a:pt x="1970" y="804"/>
                    </a:lnTo>
                    <a:lnTo>
                      <a:pt x="1971" y="805"/>
                    </a:lnTo>
                    <a:lnTo>
                      <a:pt x="1973" y="805"/>
                    </a:lnTo>
                    <a:lnTo>
                      <a:pt x="1972" y="808"/>
                    </a:lnTo>
                    <a:lnTo>
                      <a:pt x="1971" y="808"/>
                    </a:lnTo>
                    <a:lnTo>
                      <a:pt x="1969" y="806"/>
                    </a:lnTo>
                    <a:lnTo>
                      <a:pt x="1969" y="810"/>
                    </a:lnTo>
                    <a:lnTo>
                      <a:pt x="1972" y="812"/>
                    </a:lnTo>
                    <a:lnTo>
                      <a:pt x="1975" y="818"/>
                    </a:lnTo>
                    <a:lnTo>
                      <a:pt x="1977" y="816"/>
                    </a:lnTo>
                    <a:lnTo>
                      <a:pt x="1977" y="814"/>
                    </a:lnTo>
                    <a:lnTo>
                      <a:pt x="1979" y="818"/>
                    </a:lnTo>
                    <a:lnTo>
                      <a:pt x="1986" y="816"/>
                    </a:lnTo>
                    <a:lnTo>
                      <a:pt x="1988" y="817"/>
                    </a:lnTo>
                    <a:lnTo>
                      <a:pt x="1992" y="816"/>
                    </a:lnTo>
                    <a:lnTo>
                      <a:pt x="1994" y="818"/>
                    </a:lnTo>
                    <a:lnTo>
                      <a:pt x="1995" y="817"/>
                    </a:lnTo>
                    <a:lnTo>
                      <a:pt x="1997" y="819"/>
                    </a:lnTo>
                    <a:lnTo>
                      <a:pt x="1999" y="819"/>
                    </a:lnTo>
                    <a:lnTo>
                      <a:pt x="2003" y="820"/>
                    </a:lnTo>
                    <a:lnTo>
                      <a:pt x="2002" y="821"/>
                    </a:lnTo>
                    <a:lnTo>
                      <a:pt x="1999" y="822"/>
                    </a:lnTo>
                    <a:lnTo>
                      <a:pt x="1997" y="822"/>
                    </a:lnTo>
                    <a:lnTo>
                      <a:pt x="1994" y="820"/>
                    </a:lnTo>
                    <a:lnTo>
                      <a:pt x="1992" y="820"/>
                    </a:lnTo>
                    <a:lnTo>
                      <a:pt x="1988" y="819"/>
                    </a:lnTo>
                    <a:lnTo>
                      <a:pt x="1985" y="817"/>
                    </a:lnTo>
                    <a:lnTo>
                      <a:pt x="1982" y="818"/>
                    </a:lnTo>
                    <a:lnTo>
                      <a:pt x="1980" y="820"/>
                    </a:lnTo>
                    <a:lnTo>
                      <a:pt x="1977" y="820"/>
                    </a:lnTo>
                    <a:lnTo>
                      <a:pt x="1976" y="822"/>
                    </a:lnTo>
                    <a:lnTo>
                      <a:pt x="1976" y="826"/>
                    </a:lnTo>
                    <a:lnTo>
                      <a:pt x="1978" y="828"/>
                    </a:lnTo>
                    <a:lnTo>
                      <a:pt x="1980" y="829"/>
                    </a:lnTo>
                    <a:lnTo>
                      <a:pt x="1981" y="831"/>
                    </a:lnTo>
                    <a:lnTo>
                      <a:pt x="1980" y="837"/>
                    </a:lnTo>
                    <a:lnTo>
                      <a:pt x="1982" y="840"/>
                    </a:lnTo>
                    <a:lnTo>
                      <a:pt x="1985" y="840"/>
                    </a:lnTo>
                    <a:lnTo>
                      <a:pt x="1987" y="837"/>
                    </a:lnTo>
                    <a:lnTo>
                      <a:pt x="1988" y="839"/>
                    </a:lnTo>
                    <a:lnTo>
                      <a:pt x="1990" y="842"/>
                    </a:lnTo>
                    <a:lnTo>
                      <a:pt x="1993" y="846"/>
                    </a:lnTo>
                    <a:lnTo>
                      <a:pt x="1993" y="846"/>
                    </a:lnTo>
                    <a:lnTo>
                      <a:pt x="1993" y="844"/>
                    </a:lnTo>
                    <a:lnTo>
                      <a:pt x="1995" y="840"/>
                    </a:lnTo>
                    <a:lnTo>
                      <a:pt x="1997" y="843"/>
                    </a:lnTo>
                    <a:lnTo>
                      <a:pt x="1998" y="845"/>
                    </a:lnTo>
                    <a:lnTo>
                      <a:pt x="2002" y="847"/>
                    </a:lnTo>
                    <a:lnTo>
                      <a:pt x="2002" y="845"/>
                    </a:lnTo>
                    <a:lnTo>
                      <a:pt x="2001" y="843"/>
                    </a:lnTo>
                    <a:lnTo>
                      <a:pt x="2001" y="840"/>
                    </a:lnTo>
                    <a:lnTo>
                      <a:pt x="1999" y="837"/>
                    </a:lnTo>
                    <a:lnTo>
                      <a:pt x="1997" y="833"/>
                    </a:lnTo>
                    <a:lnTo>
                      <a:pt x="1996" y="829"/>
                    </a:lnTo>
                    <a:lnTo>
                      <a:pt x="1996" y="829"/>
                    </a:lnTo>
                    <a:lnTo>
                      <a:pt x="1998" y="830"/>
                    </a:lnTo>
                    <a:lnTo>
                      <a:pt x="2001" y="833"/>
                    </a:lnTo>
                    <a:lnTo>
                      <a:pt x="2006" y="831"/>
                    </a:lnTo>
                    <a:lnTo>
                      <a:pt x="2006" y="831"/>
                    </a:lnTo>
                    <a:lnTo>
                      <a:pt x="2005" y="828"/>
                    </a:lnTo>
                    <a:lnTo>
                      <a:pt x="2003" y="829"/>
                    </a:lnTo>
                    <a:lnTo>
                      <a:pt x="2002" y="827"/>
                    </a:lnTo>
                    <a:lnTo>
                      <a:pt x="1999" y="825"/>
                    </a:lnTo>
                    <a:lnTo>
                      <a:pt x="1999" y="823"/>
                    </a:lnTo>
                    <a:lnTo>
                      <a:pt x="2006" y="822"/>
                    </a:lnTo>
                    <a:lnTo>
                      <a:pt x="2009" y="823"/>
                    </a:lnTo>
                    <a:lnTo>
                      <a:pt x="2011" y="825"/>
                    </a:lnTo>
                    <a:lnTo>
                      <a:pt x="2014" y="828"/>
                    </a:lnTo>
                    <a:lnTo>
                      <a:pt x="2014" y="827"/>
                    </a:lnTo>
                    <a:lnTo>
                      <a:pt x="2014" y="825"/>
                    </a:lnTo>
                    <a:lnTo>
                      <a:pt x="2013" y="822"/>
                    </a:lnTo>
                    <a:lnTo>
                      <a:pt x="2013" y="820"/>
                    </a:lnTo>
                    <a:lnTo>
                      <a:pt x="2012" y="818"/>
                    </a:lnTo>
                    <a:lnTo>
                      <a:pt x="2010" y="817"/>
                    </a:lnTo>
                    <a:lnTo>
                      <a:pt x="2007" y="814"/>
                    </a:lnTo>
                    <a:lnTo>
                      <a:pt x="2004" y="814"/>
                    </a:lnTo>
                    <a:lnTo>
                      <a:pt x="2004" y="812"/>
                    </a:lnTo>
                    <a:lnTo>
                      <a:pt x="2002" y="812"/>
                    </a:lnTo>
                    <a:lnTo>
                      <a:pt x="1998" y="810"/>
                    </a:lnTo>
                    <a:lnTo>
                      <a:pt x="1996" y="810"/>
                    </a:lnTo>
                    <a:lnTo>
                      <a:pt x="1994" y="808"/>
                    </a:lnTo>
                    <a:lnTo>
                      <a:pt x="1997" y="808"/>
                    </a:lnTo>
                    <a:lnTo>
                      <a:pt x="1999" y="806"/>
                    </a:lnTo>
                    <a:lnTo>
                      <a:pt x="1997" y="802"/>
                    </a:lnTo>
                    <a:lnTo>
                      <a:pt x="2001" y="801"/>
                    </a:lnTo>
                    <a:lnTo>
                      <a:pt x="2002" y="802"/>
                    </a:lnTo>
                    <a:lnTo>
                      <a:pt x="2001" y="805"/>
                    </a:lnTo>
                    <a:lnTo>
                      <a:pt x="2003" y="804"/>
                    </a:lnTo>
                    <a:lnTo>
                      <a:pt x="2004" y="802"/>
                    </a:lnTo>
                    <a:lnTo>
                      <a:pt x="1998" y="796"/>
                    </a:lnTo>
                    <a:lnTo>
                      <a:pt x="1995" y="791"/>
                    </a:lnTo>
                    <a:lnTo>
                      <a:pt x="1994" y="791"/>
                    </a:lnTo>
                    <a:lnTo>
                      <a:pt x="1994" y="788"/>
                    </a:lnTo>
                    <a:lnTo>
                      <a:pt x="1995" y="785"/>
                    </a:lnTo>
                    <a:lnTo>
                      <a:pt x="1995" y="783"/>
                    </a:lnTo>
                    <a:lnTo>
                      <a:pt x="1995" y="782"/>
                    </a:lnTo>
                    <a:lnTo>
                      <a:pt x="1996" y="782"/>
                    </a:lnTo>
                    <a:lnTo>
                      <a:pt x="1998" y="779"/>
                    </a:lnTo>
                    <a:lnTo>
                      <a:pt x="1997" y="783"/>
                    </a:lnTo>
                    <a:lnTo>
                      <a:pt x="2001" y="785"/>
                    </a:lnTo>
                    <a:lnTo>
                      <a:pt x="2004" y="787"/>
                    </a:lnTo>
                    <a:lnTo>
                      <a:pt x="2005" y="791"/>
                    </a:lnTo>
                    <a:lnTo>
                      <a:pt x="2007" y="791"/>
                    </a:lnTo>
                    <a:lnTo>
                      <a:pt x="2006" y="789"/>
                    </a:lnTo>
                    <a:lnTo>
                      <a:pt x="2004" y="786"/>
                    </a:lnTo>
                    <a:lnTo>
                      <a:pt x="2006" y="786"/>
                    </a:lnTo>
                    <a:lnTo>
                      <a:pt x="2010" y="787"/>
                    </a:lnTo>
                    <a:lnTo>
                      <a:pt x="2012" y="791"/>
                    </a:lnTo>
                    <a:lnTo>
                      <a:pt x="2013" y="791"/>
                    </a:lnTo>
                    <a:lnTo>
                      <a:pt x="2013" y="789"/>
                    </a:lnTo>
                    <a:lnTo>
                      <a:pt x="2012" y="787"/>
                    </a:lnTo>
                    <a:lnTo>
                      <a:pt x="2011" y="787"/>
                    </a:lnTo>
                    <a:lnTo>
                      <a:pt x="2010" y="784"/>
                    </a:lnTo>
                    <a:lnTo>
                      <a:pt x="2013" y="784"/>
                    </a:lnTo>
                    <a:lnTo>
                      <a:pt x="2015" y="785"/>
                    </a:lnTo>
                    <a:lnTo>
                      <a:pt x="2018" y="788"/>
                    </a:lnTo>
                    <a:lnTo>
                      <a:pt x="2019" y="787"/>
                    </a:lnTo>
                    <a:lnTo>
                      <a:pt x="2016" y="785"/>
                    </a:lnTo>
                    <a:lnTo>
                      <a:pt x="2014" y="783"/>
                    </a:lnTo>
                    <a:lnTo>
                      <a:pt x="2011" y="783"/>
                    </a:lnTo>
                    <a:lnTo>
                      <a:pt x="2010" y="778"/>
                    </a:lnTo>
                    <a:lnTo>
                      <a:pt x="2012" y="777"/>
                    </a:lnTo>
                    <a:lnTo>
                      <a:pt x="2013" y="778"/>
                    </a:lnTo>
                    <a:lnTo>
                      <a:pt x="2016" y="777"/>
                    </a:lnTo>
                    <a:lnTo>
                      <a:pt x="2019" y="775"/>
                    </a:lnTo>
                    <a:lnTo>
                      <a:pt x="2024" y="776"/>
                    </a:lnTo>
                    <a:lnTo>
                      <a:pt x="2027" y="775"/>
                    </a:lnTo>
                    <a:lnTo>
                      <a:pt x="2029" y="774"/>
                    </a:lnTo>
                    <a:lnTo>
                      <a:pt x="2030" y="775"/>
                    </a:lnTo>
                    <a:lnTo>
                      <a:pt x="2039" y="776"/>
                    </a:lnTo>
                    <a:lnTo>
                      <a:pt x="2041" y="778"/>
                    </a:lnTo>
                    <a:lnTo>
                      <a:pt x="2043" y="780"/>
                    </a:lnTo>
                    <a:lnTo>
                      <a:pt x="2046" y="780"/>
                    </a:lnTo>
                    <a:lnTo>
                      <a:pt x="2050" y="779"/>
                    </a:lnTo>
                    <a:lnTo>
                      <a:pt x="2052" y="780"/>
                    </a:lnTo>
                    <a:lnTo>
                      <a:pt x="2044" y="785"/>
                    </a:lnTo>
                    <a:lnTo>
                      <a:pt x="2045" y="786"/>
                    </a:lnTo>
                    <a:lnTo>
                      <a:pt x="2044" y="789"/>
                    </a:lnTo>
                    <a:lnTo>
                      <a:pt x="2046" y="786"/>
                    </a:lnTo>
                    <a:lnTo>
                      <a:pt x="2049" y="785"/>
                    </a:lnTo>
                    <a:lnTo>
                      <a:pt x="2052" y="782"/>
                    </a:lnTo>
                    <a:lnTo>
                      <a:pt x="2054" y="782"/>
                    </a:lnTo>
                    <a:lnTo>
                      <a:pt x="2055" y="780"/>
                    </a:lnTo>
                    <a:lnTo>
                      <a:pt x="2057" y="779"/>
                    </a:lnTo>
                    <a:lnTo>
                      <a:pt x="2063" y="774"/>
                    </a:lnTo>
                    <a:lnTo>
                      <a:pt x="2065" y="774"/>
                    </a:lnTo>
                    <a:lnTo>
                      <a:pt x="2071" y="772"/>
                    </a:lnTo>
                    <a:lnTo>
                      <a:pt x="2075" y="774"/>
                    </a:lnTo>
                    <a:lnTo>
                      <a:pt x="2077" y="774"/>
                    </a:lnTo>
                    <a:lnTo>
                      <a:pt x="2077" y="775"/>
                    </a:lnTo>
                    <a:lnTo>
                      <a:pt x="2080" y="775"/>
                    </a:lnTo>
                    <a:lnTo>
                      <a:pt x="2082" y="772"/>
                    </a:lnTo>
                    <a:lnTo>
                      <a:pt x="2081" y="770"/>
                    </a:lnTo>
                    <a:lnTo>
                      <a:pt x="2073" y="767"/>
                    </a:lnTo>
                    <a:lnTo>
                      <a:pt x="2070" y="765"/>
                    </a:lnTo>
                    <a:lnTo>
                      <a:pt x="2067" y="760"/>
                    </a:lnTo>
                    <a:lnTo>
                      <a:pt x="2069" y="758"/>
                    </a:lnTo>
                    <a:lnTo>
                      <a:pt x="2067" y="756"/>
                    </a:lnTo>
                    <a:lnTo>
                      <a:pt x="2065" y="753"/>
                    </a:lnTo>
                    <a:lnTo>
                      <a:pt x="2063" y="751"/>
                    </a:lnTo>
                    <a:lnTo>
                      <a:pt x="2061" y="750"/>
                    </a:lnTo>
                    <a:lnTo>
                      <a:pt x="2063" y="749"/>
                    </a:lnTo>
                    <a:lnTo>
                      <a:pt x="2064" y="746"/>
                    </a:lnTo>
                    <a:lnTo>
                      <a:pt x="2066" y="744"/>
                    </a:lnTo>
                    <a:lnTo>
                      <a:pt x="2067" y="737"/>
                    </a:lnTo>
                    <a:lnTo>
                      <a:pt x="2069" y="737"/>
                    </a:lnTo>
                    <a:lnTo>
                      <a:pt x="2070" y="734"/>
                    </a:lnTo>
                    <a:lnTo>
                      <a:pt x="2075" y="734"/>
                    </a:lnTo>
                    <a:lnTo>
                      <a:pt x="2077" y="726"/>
                    </a:lnTo>
                    <a:lnTo>
                      <a:pt x="2077" y="720"/>
                    </a:lnTo>
                    <a:lnTo>
                      <a:pt x="2078" y="718"/>
                    </a:lnTo>
                    <a:lnTo>
                      <a:pt x="2082" y="712"/>
                    </a:lnTo>
                    <a:lnTo>
                      <a:pt x="2079" y="714"/>
                    </a:lnTo>
                    <a:lnTo>
                      <a:pt x="2079" y="714"/>
                    </a:lnTo>
                    <a:lnTo>
                      <a:pt x="2081" y="710"/>
                    </a:lnTo>
                    <a:lnTo>
                      <a:pt x="2081" y="708"/>
                    </a:lnTo>
                    <a:lnTo>
                      <a:pt x="2082" y="708"/>
                    </a:lnTo>
                    <a:lnTo>
                      <a:pt x="2082" y="710"/>
                    </a:lnTo>
                    <a:lnTo>
                      <a:pt x="2086" y="711"/>
                    </a:lnTo>
                    <a:lnTo>
                      <a:pt x="2088" y="710"/>
                    </a:lnTo>
                    <a:lnTo>
                      <a:pt x="2090" y="709"/>
                    </a:lnTo>
                    <a:lnTo>
                      <a:pt x="2091" y="708"/>
                    </a:lnTo>
                    <a:lnTo>
                      <a:pt x="2091" y="703"/>
                    </a:lnTo>
                    <a:lnTo>
                      <a:pt x="2091" y="703"/>
                    </a:lnTo>
                    <a:lnTo>
                      <a:pt x="2092" y="701"/>
                    </a:lnTo>
                    <a:lnTo>
                      <a:pt x="2092" y="700"/>
                    </a:lnTo>
                    <a:lnTo>
                      <a:pt x="2090" y="698"/>
                    </a:lnTo>
                    <a:lnTo>
                      <a:pt x="2090" y="695"/>
                    </a:lnTo>
                    <a:lnTo>
                      <a:pt x="2092" y="695"/>
                    </a:lnTo>
                    <a:lnTo>
                      <a:pt x="2096" y="693"/>
                    </a:lnTo>
                    <a:lnTo>
                      <a:pt x="2096" y="694"/>
                    </a:lnTo>
                    <a:lnTo>
                      <a:pt x="2098" y="693"/>
                    </a:lnTo>
                    <a:lnTo>
                      <a:pt x="2101" y="689"/>
                    </a:lnTo>
                    <a:lnTo>
                      <a:pt x="2098" y="684"/>
                    </a:lnTo>
                    <a:lnTo>
                      <a:pt x="2099" y="684"/>
                    </a:lnTo>
                    <a:lnTo>
                      <a:pt x="2101" y="688"/>
                    </a:lnTo>
                    <a:lnTo>
                      <a:pt x="2101" y="689"/>
                    </a:lnTo>
                    <a:lnTo>
                      <a:pt x="2106" y="684"/>
                    </a:lnTo>
                    <a:lnTo>
                      <a:pt x="2106" y="681"/>
                    </a:lnTo>
                    <a:lnTo>
                      <a:pt x="2112" y="680"/>
                    </a:lnTo>
                    <a:lnTo>
                      <a:pt x="2114" y="680"/>
                    </a:lnTo>
                    <a:lnTo>
                      <a:pt x="2115" y="677"/>
                    </a:lnTo>
                    <a:lnTo>
                      <a:pt x="2116" y="680"/>
                    </a:lnTo>
                    <a:lnTo>
                      <a:pt x="2120" y="680"/>
                    </a:lnTo>
                    <a:lnTo>
                      <a:pt x="2121" y="677"/>
                    </a:lnTo>
                    <a:lnTo>
                      <a:pt x="2122" y="674"/>
                    </a:lnTo>
                    <a:lnTo>
                      <a:pt x="2122" y="674"/>
                    </a:lnTo>
                    <a:lnTo>
                      <a:pt x="2120" y="669"/>
                    </a:lnTo>
                    <a:lnTo>
                      <a:pt x="2123" y="674"/>
                    </a:lnTo>
                    <a:lnTo>
                      <a:pt x="2123" y="678"/>
                    </a:lnTo>
                    <a:lnTo>
                      <a:pt x="2124" y="681"/>
                    </a:lnTo>
                    <a:lnTo>
                      <a:pt x="2127" y="681"/>
                    </a:lnTo>
                    <a:lnTo>
                      <a:pt x="2132" y="680"/>
                    </a:lnTo>
                    <a:lnTo>
                      <a:pt x="2129" y="681"/>
                    </a:lnTo>
                    <a:lnTo>
                      <a:pt x="2129" y="682"/>
                    </a:lnTo>
                    <a:lnTo>
                      <a:pt x="2123" y="682"/>
                    </a:lnTo>
                    <a:lnTo>
                      <a:pt x="2118" y="681"/>
                    </a:lnTo>
                    <a:lnTo>
                      <a:pt x="2121" y="682"/>
                    </a:lnTo>
                    <a:lnTo>
                      <a:pt x="2123" y="684"/>
                    </a:lnTo>
                    <a:lnTo>
                      <a:pt x="2120" y="685"/>
                    </a:lnTo>
                    <a:lnTo>
                      <a:pt x="2123" y="686"/>
                    </a:lnTo>
                    <a:lnTo>
                      <a:pt x="2127" y="689"/>
                    </a:lnTo>
                    <a:lnTo>
                      <a:pt x="2130" y="689"/>
                    </a:lnTo>
                    <a:lnTo>
                      <a:pt x="2138" y="689"/>
                    </a:lnTo>
                    <a:lnTo>
                      <a:pt x="2143" y="690"/>
                    </a:lnTo>
                    <a:lnTo>
                      <a:pt x="2146" y="689"/>
                    </a:lnTo>
                    <a:lnTo>
                      <a:pt x="2146" y="688"/>
                    </a:lnTo>
                    <a:lnTo>
                      <a:pt x="2146" y="688"/>
                    </a:lnTo>
                    <a:lnTo>
                      <a:pt x="2146" y="686"/>
                    </a:lnTo>
                    <a:lnTo>
                      <a:pt x="2146" y="686"/>
                    </a:lnTo>
                    <a:lnTo>
                      <a:pt x="2148" y="686"/>
                    </a:lnTo>
                    <a:lnTo>
                      <a:pt x="2151" y="688"/>
                    </a:lnTo>
                    <a:lnTo>
                      <a:pt x="2154" y="686"/>
                    </a:lnTo>
                    <a:lnTo>
                      <a:pt x="2156" y="689"/>
                    </a:lnTo>
                    <a:lnTo>
                      <a:pt x="2157" y="691"/>
                    </a:lnTo>
                    <a:lnTo>
                      <a:pt x="2160" y="690"/>
                    </a:lnTo>
                    <a:lnTo>
                      <a:pt x="2163" y="695"/>
                    </a:lnTo>
                    <a:lnTo>
                      <a:pt x="2164" y="695"/>
                    </a:lnTo>
                    <a:lnTo>
                      <a:pt x="2164" y="694"/>
                    </a:lnTo>
                    <a:lnTo>
                      <a:pt x="2163" y="692"/>
                    </a:lnTo>
                    <a:lnTo>
                      <a:pt x="2161" y="690"/>
                    </a:lnTo>
                    <a:lnTo>
                      <a:pt x="2161" y="688"/>
                    </a:lnTo>
                    <a:lnTo>
                      <a:pt x="2166" y="685"/>
                    </a:lnTo>
                    <a:lnTo>
                      <a:pt x="2167" y="683"/>
                    </a:lnTo>
                    <a:lnTo>
                      <a:pt x="2168" y="685"/>
                    </a:lnTo>
                    <a:lnTo>
                      <a:pt x="2164" y="689"/>
                    </a:lnTo>
                    <a:lnTo>
                      <a:pt x="2164" y="689"/>
                    </a:lnTo>
                    <a:lnTo>
                      <a:pt x="2167" y="688"/>
                    </a:lnTo>
                    <a:lnTo>
                      <a:pt x="2171" y="683"/>
                    </a:lnTo>
                    <a:lnTo>
                      <a:pt x="2173" y="682"/>
                    </a:lnTo>
                    <a:lnTo>
                      <a:pt x="2175" y="680"/>
                    </a:lnTo>
                    <a:lnTo>
                      <a:pt x="2178" y="678"/>
                    </a:lnTo>
                    <a:lnTo>
                      <a:pt x="2181" y="680"/>
                    </a:lnTo>
                    <a:lnTo>
                      <a:pt x="2184" y="678"/>
                    </a:lnTo>
                    <a:lnTo>
                      <a:pt x="2186" y="677"/>
                    </a:lnTo>
                    <a:lnTo>
                      <a:pt x="2189" y="678"/>
                    </a:lnTo>
                    <a:lnTo>
                      <a:pt x="2192" y="675"/>
                    </a:lnTo>
                    <a:lnTo>
                      <a:pt x="2198" y="674"/>
                    </a:lnTo>
                    <a:lnTo>
                      <a:pt x="2199" y="673"/>
                    </a:lnTo>
                    <a:lnTo>
                      <a:pt x="2203" y="672"/>
                    </a:lnTo>
                    <a:lnTo>
                      <a:pt x="2207" y="672"/>
                    </a:lnTo>
                    <a:lnTo>
                      <a:pt x="2208" y="672"/>
                    </a:lnTo>
                    <a:lnTo>
                      <a:pt x="2209" y="671"/>
                    </a:lnTo>
                    <a:lnTo>
                      <a:pt x="2212" y="669"/>
                    </a:lnTo>
                    <a:lnTo>
                      <a:pt x="2215" y="669"/>
                    </a:lnTo>
                    <a:lnTo>
                      <a:pt x="2212" y="671"/>
                    </a:lnTo>
                    <a:lnTo>
                      <a:pt x="2215" y="671"/>
                    </a:lnTo>
                    <a:lnTo>
                      <a:pt x="2217" y="671"/>
                    </a:lnTo>
                    <a:lnTo>
                      <a:pt x="2219" y="668"/>
                    </a:lnTo>
                    <a:lnTo>
                      <a:pt x="2223" y="669"/>
                    </a:lnTo>
                    <a:lnTo>
                      <a:pt x="2223" y="671"/>
                    </a:lnTo>
                    <a:lnTo>
                      <a:pt x="2224" y="672"/>
                    </a:lnTo>
                    <a:lnTo>
                      <a:pt x="2223" y="673"/>
                    </a:lnTo>
                    <a:lnTo>
                      <a:pt x="2219" y="673"/>
                    </a:lnTo>
                    <a:lnTo>
                      <a:pt x="2215" y="675"/>
                    </a:lnTo>
                    <a:lnTo>
                      <a:pt x="2211" y="675"/>
                    </a:lnTo>
                    <a:lnTo>
                      <a:pt x="2210" y="678"/>
                    </a:lnTo>
                    <a:lnTo>
                      <a:pt x="2212" y="680"/>
                    </a:lnTo>
                    <a:lnTo>
                      <a:pt x="2208" y="678"/>
                    </a:lnTo>
                    <a:lnTo>
                      <a:pt x="2202" y="681"/>
                    </a:lnTo>
                    <a:lnTo>
                      <a:pt x="2205" y="683"/>
                    </a:lnTo>
                    <a:lnTo>
                      <a:pt x="2208" y="684"/>
                    </a:lnTo>
                    <a:lnTo>
                      <a:pt x="2212" y="690"/>
                    </a:lnTo>
                    <a:lnTo>
                      <a:pt x="2210" y="689"/>
                    </a:lnTo>
                    <a:lnTo>
                      <a:pt x="2207" y="690"/>
                    </a:lnTo>
                    <a:lnTo>
                      <a:pt x="2206" y="692"/>
                    </a:lnTo>
                    <a:lnTo>
                      <a:pt x="2206" y="690"/>
                    </a:lnTo>
                    <a:lnTo>
                      <a:pt x="2202" y="695"/>
                    </a:lnTo>
                    <a:lnTo>
                      <a:pt x="2200" y="697"/>
                    </a:lnTo>
                    <a:lnTo>
                      <a:pt x="2201" y="699"/>
                    </a:lnTo>
                    <a:lnTo>
                      <a:pt x="2199" y="701"/>
                    </a:lnTo>
                    <a:lnTo>
                      <a:pt x="2197" y="702"/>
                    </a:lnTo>
                    <a:lnTo>
                      <a:pt x="2193" y="702"/>
                    </a:lnTo>
                    <a:lnTo>
                      <a:pt x="2190" y="700"/>
                    </a:lnTo>
                    <a:lnTo>
                      <a:pt x="2186" y="701"/>
                    </a:lnTo>
                    <a:lnTo>
                      <a:pt x="2190" y="703"/>
                    </a:lnTo>
                    <a:lnTo>
                      <a:pt x="2188" y="705"/>
                    </a:lnTo>
                    <a:lnTo>
                      <a:pt x="2188" y="706"/>
                    </a:lnTo>
                    <a:lnTo>
                      <a:pt x="2193" y="708"/>
                    </a:lnTo>
                    <a:lnTo>
                      <a:pt x="2198" y="712"/>
                    </a:lnTo>
                    <a:lnTo>
                      <a:pt x="2201" y="714"/>
                    </a:lnTo>
                    <a:lnTo>
                      <a:pt x="2203" y="712"/>
                    </a:lnTo>
                    <a:lnTo>
                      <a:pt x="2208" y="718"/>
                    </a:lnTo>
                    <a:lnTo>
                      <a:pt x="2214" y="719"/>
                    </a:lnTo>
                    <a:lnTo>
                      <a:pt x="2219" y="723"/>
                    </a:lnTo>
                    <a:lnTo>
                      <a:pt x="2225" y="727"/>
                    </a:lnTo>
                    <a:lnTo>
                      <a:pt x="2227" y="731"/>
                    </a:lnTo>
                    <a:lnTo>
                      <a:pt x="2232" y="734"/>
                    </a:lnTo>
                    <a:lnTo>
                      <a:pt x="2233" y="735"/>
                    </a:lnTo>
                    <a:lnTo>
                      <a:pt x="2236" y="736"/>
                    </a:lnTo>
                    <a:lnTo>
                      <a:pt x="2238" y="739"/>
                    </a:lnTo>
                    <a:lnTo>
                      <a:pt x="2244" y="740"/>
                    </a:lnTo>
                    <a:lnTo>
                      <a:pt x="2246" y="742"/>
                    </a:lnTo>
                    <a:lnTo>
                      <a:pt x="2250" y="744"/>
                    </a:lnTo>
                    <a:lnTo>
                      <a:pt x="2252" y="745"/>
                    </a:lnTo>
                    <a:lnTo>
                      <a:pt x="2253" y="749"/>
                    </a:lnTo>
                    <a:lnTo>
                      <a:pt x="2253" y="751"/>
                    </a:lnTo>
                    <a:lnTo>
                      <a:pt x="2255" y="754"/>
                    </a:lnTo>
                    <a:lnTo>
                      <a:pt x="2257" y="759"/>
                    </a:lnTo>
                    <a:lnTo>
                      <a:pt x="2257" y="761"/>
                    </a:lnTo>
                    <a:lnTo>
                      <a:pt x="2253" y="766"/>
                    </a:lnTo>
                    <a:lnTo>
                      <a:pt x="2251" y="768"/>
                    </a:lnTo>
                    <a:lnTo>
                      <a:pt x="2246" y="770"/>
                    </a:lnTo>
                    <a:lnTo>
                      <a:pt x="2244" y="770"/>
                    </a:lnTo>
                    <a:lnTo>
                      <a:pt x="2242" y="772"/>
                    </a:lnTo>
                    <a:lnTo>
                      <a:pt x="2234" y="775"/>
                    </a:lnTo>
                    <a:lnTo>
                      <a:pt x="2233" y="775"/>
                    </a:lnTo>
                    <a:lnTo>
                      <a:pt x="2227" y="774"/>
                    </a:lnTo>
                    <a:lnTo>
                      <a:pt x="2224" y="772"/>
                    </a:lnTo>
                    <a:lnTo>
                      <a:pt x="2217" y="774"/>
                    </a:lnTo>
                    <a:lnTo>
                      <a:pt x="2215" y="775"/>
                    </a:lnTo>
                    <a:lnTo>
                      <a:pt x="2209" y="775"/>
                    </a:lnTo>
                    <a:lnTo>
                      <a:pt x="2202" y="774"/>
                    </a:lnTo>
                    <a:lnTo>
                      <a:pt x="2201" y="771"/>
                    </a:lnTo>
                    <a:lnTo>
                      <a:pt x="2199" y="774"/>
                    </a:lnTo>
                    <a:lnTo>
                      <a:pt x="2197" y="772"/>
                    </a:lnTo>
                    <a:lnTo>
                      <a:pt x="2193" y="771"/>
                    </a:lnTo>
                    <a:lnTo>
                      <a:pt x="2192" y="770"/>
                    </a:lnTo>
                    <a:lnTo>
                      <a:pt x="2189" y="768"/>
                    </a:lnTo>
                    <a:lnTo>
                      <a:pt x="2186" y="768"/>
                    </a:lnTo>
                    <a:lnTo>
                      <a:pt x="2184" y="770"/>
                    </a:lnTo>
                    <a:lnTo>
                      <a:pt x="2182" y="769"/>
                    </a:lnTo>
                    <a:lnTo>
                      <a:pt x="2180" y="766"/>
                    </a:lnTo>
                    <a:lnTo>
                      <a:pt x="2180" y="763"/>
                    </a:lnTo>
                    <a:lnTo>
                      <a:pt x="2176" y="763"/>
                    </a:lnTo>
                    <a:lnTo>
                      <a:pt x="2176" y="762"/>
                    </a:lnTo>
                    <a:lnTo>
                      <a:pt x="2171" y="763"/>
                    </a:lnTo>
                    <a:lnTo>
                      <a:pt x="2168" y="762"/>
                    </a:lnTo>
                    <a:lnTo>
                      <a:pt x="2166" y="760"/>
                    </a:lnTo>
                    <a:lnTo>
                      <a:pt x="2165" y="757"/>
                    </a:lnTo>
                    <a:lnTo>
                      <a:pt x="2164" y="757"/>
                    </a:lnTo>
                    <a:lnTo>
                      <a:pt x="2161" y="758"/>
                    </a:lnTo>
                    <a:lnTo>
                      <a:pt x="2158" y="759"/>
                    </a:lnTo>
                    <a:lnTo>
                      <a:pt x="2141" y="758"/>
                    </a:lnTo>
                    <a:lnTo>
                      <a:pt x="2135" y="759"/>
                    </a:lnTo>
                    <a:lnTo>
                      <a:pt x="2126" y="762"/>
                    </a:lnTo>
                    <a:lnTo>
                      <a:pt x="2123" y="765"/>
                    </a:lnTo>
                    <a:lnTo>
                      <a:pt x="2115" y="769"/>
                    </a:lnTo>
                    <a:lnTo>
                      <a:pt x="2114" y="772"/>
                    </a:lnTo>
                    <a:lnTo>
                      <a:pt x="2107" y="772"/>
                    </a:lnTo>
                    <a:lnTo>
                      <a:pt x="2100" y="770"/>
                    </a:lnTo>
                    <a:lnTo>
                      <a:pt x="2098" y="771"/>
                    </a:lnTo>
                    <a:lnTo>
                      <a:pt x="2093" y="771"/>
                    </a:lnTo>
                    <a:lnTo>
                      <a:pt x="2084" y="770"/>
                    </a:lnTo>
                    <a:lnTo>
                      <a:pt x="2082" y="772"/>
                    </a:lnTo>
                    <a:lnTo>
                      <a:pt x="2083" y="775"/>
                    </a:lnTo>
                    <a:lnTo>
                      <a:pt x="2087" y="777"/>
                    </a:lnTo>
                    <a:lnTo>
                      <a:pt x="2088" y="777"/>
                    </a:lnTo>
                    <a:lnTo>
                      <a:pt x="2090" y="777"/>
                    </a:lnTo>
                    <a:lnTo>
                      <a:pt x="2092" y="778"/>
                    </a:lnTo>
                    <a:lnTo>
                      <a:pt x="2083" y="779"/>
                    </a:lnTo>
                    <a:lnTo>
                      <a:pt x="2080" y="780"/>
                    </a:lnTo>
                    <a:lnTo>
                      <a:pt x="2081" y="783"/>
                    </a:lnTo>
                    <a:lnTo>
                      <a:pt x="2084" y="783"/>
                    </a:lnTo>
                    <a:lnTo>
                      <a:pt x="2080" y="784"/>
                    </a:lnTo>
                    <a:lnTo>
                      <a:pt x="2071" y="784"/>
                    </a:lnTo>
                    <a:lnTo>
                      <a:pt x="2067" y="784"/>
                    </a:lnTo>
                    <a:lnTo>
                      <a:pt x="2066" y="782"/>
                    </a:lnTo>
                    <a:lnTo>
                      <a:pt x="2064" y="783"/>
                    </a:lnTo>
                    <a:lnTo>
                      <a:pt x="2064" y="785"/>
                    </a:lnTo>
                    <a:lnTo>
                      <a:pt x="2062" y="785"/>
                    </a:lnTo>
                    <a:lnTo>
                      <a:pt x="2057" y="783"/>
                    </a:lnTo>
                    <a:lnTo>
                      <a:pt x="2054" y="784"/>
                    </a:lnTo>
                    <a:lnTo>
                      <a:pt x="2052" y="784"/>
                    </a:lnTo>
                    <a:lnTo>
                      <a:pt x="2046" y="787"/>
                    </a:lnTo>
                    <a:lnTo>
                      <a:pt x="2045" y="791"/>
                    </a:lnTo>
                    <a:lnTo>
                      <a:pt x="2043" y="791"/>
                    </a:lnTo>
                    <a:lnTo>
                      <a:pt x="2043" y="796"/>
                    </a:lnTo>
                    <a:lnTo>
                      <a:pt x="2041" y="799"/>
                    </a:lnTo>
                    <a:lnTo>
                      <a:pt x="2043" y="799"/>
                    </a:lnTo>
                    <a:lnTo>
                      <a:pt x="2050" y="797"/>
                    </a:lnTo>
                    <a:lnTo>
                      <a:pt x="2054" y="797"/>
                    </a:lnTo>
                    <a:lnTo>
                      <a:pt x="2052" y="800"/>
                    </a:lnTo>
                    <a:lnTo>
                      <a:pt x="2049" y="802"/>
                    </a:lnTo>
                    <a:lnTo>
                      <a:pt x="2053" y="804"/>
                    </a:lnTo>
                    <a:lnTo>
                      <a:pt x="2052" y="806"/>
                    </a:lnTo>
                    <a:lnTo>
                      <a:pt x="2055" y="808"/>
                    </a:lnTo>
                    <a:lnTo>
                      <a:pt x="2054" y="810"/>
                    </a:lnTo>
                    <a:lnTo>
                      <a:pt x="2050" y="810"/>
                    </a:lnTo>
                    <a:lnTo>
                      <a:pt x="2053" y="814"/>
                    </a:lnTo>
                    <a:lnTo>
                      <a:pt x="2056" y="814"/>
                    </a:lnTo>
                    <a:lnTo>
                      <a:pt x="2055" y="816"/>
                    </a:lnTo>
                    <a:lnTo>
                      <a:pt x="2050" y="818"/>
                    </a:lnTo>
                    <a:lnTo>
                      <a:pt x="2049" y="817"/>
                    </a:lnTo>
                    <a:lnTo>
                      <a:pt x="2049" y="814"/>
                    </a:lnTo>
                    <a:lnTo>
                      <a:pt x="2047" y="811"/>
                    </a:lnTo>
                    <a:lnTo>
                      <a:pt x="2046" y="811"/>
                    </a:lnTo>
                    <a:lnTo>
                      <a:pt x="2046" y="813"/>
                    </a:lnTo>
                    <a:lnTo>
                      <a:pt x="2047" y="816"/>
                    </a:lnTo>
                    <a:lnTo>
                      <a:pt x="2047" y="817"/>
                    </a:lnTo>
                    <a:lnTo>
                      <a:pt x="2044" y="818"/>
                    </a:lnTo>
                    <a:lnTo>
                      <a:pt x="2049" y="820"/>
                    </a:lnTo>
                    <a:lnTo>
                      <a:pt x="2050" y="819"/>
                    </a:lnTo>
                    <a:lnTo>
                      <a:pt x="2054" y="821"/>
                    </a:lnTo>
                    <a:lnTo>
                      <a:pt x="2058" y="822"/>
                    </a:lnTo>
                    <a:lnTo>
                      <a:pt x="2057" y="827"/>
                    </a:lnTo>
                    <a:lnTo>
                      <a:pt x="2055" y="827"/>
                    </a:lnTo>
                    <a:lnTo>
                      <a:pt x="2054" y="828"/>
                    </a:lnTo>
                    <a:lnTo>
                      <a:pt x="2057" y="829"/>
                    </a:lnTo>
                    <a:lnTo>
                      <a:pt x="2057" y="833"/>
                    </a:lnTo>
                    <a:lnTo>
                      <a:pt x="2060" y="833"/>
                    </a:lnTo>
                    <a:lnTo>
                      <a:pt x="2062" y="834"/>
                    </a:lnTo>
                    <a:lnTo>
                      <a:pt x="2063" y="834"/>
                    </a:lnTo>
                    <a:lnTo>
                      <a:pt x="2061" y="837"/>
                    </a:lnTo>
                    <a:lnTo>
                      <a:pt x="2058" y="836"/>
                    </a:lnTo>
                    <a:lnTo>
                      <a:pt x="2058" y="838"/>
                    </a:lnTo>
                    <a:lnTo>
                      <a:pt x="2069" y="837"/>
                    </a:lnTo>
                    <a:lnTo>
                      <a:pt x="2071" y="839"/>
                    </a:lnTo>
                    <a:lnTo>
                      <a:pt x="2069" y="842"/>
                    </a:lnTo>
                    <a:lnTo>
                      <a:pt x="2065" y="840"/>
                    </a:lnTo>
                    <a:lnTo>
                      <a:pt x="2062" y="842"/>
                    </a:lnTo>
                    <a:lnTo>
                      <a:pt x="2060" y="843"/>
                    </a:lnTo>
                    <a:lnTo>
                      <a:pt x="2060" y="843"/>
                    </a:lnTo>
                    <a:lnTo>
                      <a:pt x="2060" y="844"/>
                    </a:lnTo>
                    <a:lnTo>
                      <a:pt x="2064" y="844"/>
                    </a:lnTo>
                    <a:lnTo>
                      <a:pt x="2065" y="842"/>
                    </a:lnTo>
                    <a:lnTo>
                      <a:pt x="2067" y="842"/>
                    </a:lnTo>
                    <a:lnTo>
                      <a:pt x="2070" y="842"/>
                    </a:lnTo>
                    <a:lnTo>
                      <a:pt x="2069" y="844"/>
                    </a:lnTo>
                    <a:lnTo>
                      <a:pt x="2067" y="845"/>
                    </a:lnTo>
                    <a:lnTo>
                      <a:pt x="2069" y="845"/>
                    </a:lnTo>
                    <a:lnTo>
                      <a:pt x="2072" y="843"/>
                    </a:lnTo>
                    <a:lnTo>
                      <a:pt x="2074" y="840"/>
                    </a:lnTo>
                    <a:lnTo>
                      <a:pt x="2077" y="840"/>
                    </a:lnTo>
                    <a:lnTo>
                      <a:pt x="2077" y="843"/>
                    </a:lnTo>
                    <a:lnTo>
                      <a:pt x="2078" y="843"/>
                    </a:lnTo>
                    <a:lnTo>
                      <a:pt x="2078" y="843"/>
                    </a:lnTo>
                    <a:lnTo>
                      <a:pt x="2079" y="843"/>
                    </a:lnTo>
                    <a:lnTo>
                      <a:pt x="2081" y="843"/>
                    </a:lnTo>
                    <a:lnTo>
                      <a:pt x="2082" y="845"/>
                    </a:lnTo>
                    <a:lnTo>
                      <a:pt x="2083" y="847"/>
                    </a:lnTo>
                    <a:lnTo>
                      <a:pt x="2084" y="848"/>
                    </a:lnTo>
                    <a:lnTo>
                      <a:pt x="2088" y="849"/>
                    </a:lnTo>
                    <a:lnTo>
                      <a:pt x="2092" y="851"/>
                    </a:lnTo>
                    <a:lnTo>
                      <a:pt x="2098" y="849"/>
                    </a:lnTo>
                    <a:lnTo>
                      <a:pt x="2101" y="851"/>
                    </a:lnTo>
                    <a:lnTo>
                      <a:pt x="2104" y="845"/>
                    </a:lnTo>
                    <a:lnTo>
                      <a:pt x="2104" y="843"/>
                    </a:lnTo>
                    <a:lnTo>
                      <a:pt x="2106" y="840"/>
                    </a:lnTo>
                    <a:lnTo>
                      <a:pt x="2110" y="840"/>
                    </a:lnTo>
                    <a:lnTo>
                      <a:pt x="2113" y="840"/>
                    </a:lnTo>
                    <a:lnTo>
                      <a:pt x="2118" y="844"/>
                    </a:lnTo>
                    <a:lnTo>
                      <a:pt x="2123" y="845"/>
                    </a:lnTo>
                    <a:lnTo>
                      <a:pt x="2125" y="847"/>
                    </a:lnTo>
                    <a:lnTo>
                      <a:pt x="2127" y="851"/>
                    </a:lnTo>
                    <a:lnTo>
                      <a:pt x="2131" y="853"/>
                    </a:lnTo>
                    <a:lnTo>
                      <a:pt x="2134" y="853"/>
                    </a:lnTo>
                    <a:lnTo>
                      <a:pt x="2137" y="852"/>
                    </a:lnTo>
                    <a:lnTo>
                      <a:pt x="2146" y="851"/>
                    </a:lnTo>
                    <a:lnTo>
                      <a:pt x="2148" y="849"/>
                    </a:lnTo>
                    <a:lnTo>
                      <a:pt x="2151" y="849"/>
                    </a:lnTo>
                    <a:lnTo>
                      <a:pt x="2152" y="847"/>
                    </a:lnTo>
                    <a:lnTo>
                      <a:pt x="2155" y="844"/>
                    </a:lnTo>
                    <a:lnTo>
                      <a:pt x="2159" y="840"/>
                    </a:lnTo>
                    <a:lnTo>
                      <a:pt x="2163" y="842"/>
                    </a:lnTo>
                    <a:lnTo>
                      <a:pt x="2163" y="843"/>
                    </a:lnTo>
                    <a:lnTo>
                      <a:pt x="2164" y="843"/>
                    </a:lnTo>
                    <a:lnTo>
                      <a:pt x="2167" y="844"/>
                    </a:lnTo>
                    <a:lnTo>
                      <a:pt x="2169" y="845"/>
                    </a:lnTo>
                    <a:lnTo>
                      <a:pt x="2172" y="845"/>
                    </a:lnTo>
                    <a:lnTo>
                      <a:pt x="2172" y="843"/>
                    </a:lnTo>
                    <a:lnTo>
                      <a:pt x="2174" y="842"/>
                    </a:lnTo>
                    <a:lnTo>
                      <a:pt x="2176" y="840"/>
                    </a:lnTo>
                    <a:lnTo>
                      <a:pt x="2180" y="840"/>
                    </a:lnTo>
                    <a:lnTo>
                      <a:pt x="2181" y="843"/>
                    </a:lnTo>
                    <a:lnTo>
                      <a:pt x="2178" y="845"/>
                    </a:lnTo>
                    <a:lnTo>
                      <a:pt x="2176" y="847"/>
                    </a:lnTo>
                    <a:lnTo>
                      <a:pt x="2175" y="851"/>
                    </a:lnTo>
                    <a:lnTo>
                      <a:pt x="2177" y="854"/>
                    </a:lnTo>
                    <a:lnTo>
                      <a:pt x="2175" y="857"/>
                    </a:lnTo>
                    <a:lnTo>
                      <a:pt x="2175" y="860"/>
                    </a:lnTo>
                    <a:lnTo>
                      <a:pt x="2176" y="862"/>
                    </a:lnTo>
                    <a:lnTo>
                      <a:pt x="2176" y="866"/>
                    </a:lnTo>
                    <a:lnTo>
                      <a:pt x="2176" y="870"/>
                    </a:lnTo>
                    <a:lnTo>
                      <a:pt x="2177" y="874"/>
                    </a:lnTo>
                    <a:lnTo>
                      <a:pt x="2177" y="877"/>
                    </a:lnTo>
                    <a:lnTo>
                      <a:pt x="2175" y="879"/>
                    </a:lnTo>
                    <a:lnTo>
                      <a:pt x="2173" y="880"/>
                    </a:lnTo>
                    <a:lnTo>
                      <a:pt x="2172" y="886"/>
                    </a:lnTo>
                    <a:lnTo>
                      <a:pt x="2171" y="887"/>
                    </a:lnTo>
                    <a:lnTo>
                      <a:pt x="2169" y="891"/>
                    </a:lnTo>
                    <a:lnTo>
                      <a:pt x="2167" y="896"/>
                    </a:lnTo>
                    <a:lnTo>
                      <a:pt x="2167" y="897"/>
                    </a:lnTo>
                    <a:lnTo>
                      <a:pt x="2165" y="898"/>
                    </a:lnTo>
                    <a:lnTo>
                      <a:pt x="2165" y="902"/>
                    </a:lnTo>
                    <a:lnTo>
                      <a:pt x="2164" y="903"/>
                    </a:lnTo>
                    <a:lnTo>
                      <a:pt x="2163" y="905"/>
                    </a:lnTo>
                    <a:lnTo>
                      <a:pt x="2161" y="911"/>
                    </a:lnTo>
                    <a:lnTo>
                      <a:pt x="2159" y="917"/>
                    </a:lnTo>
                    <a:lnTo>
                      <a:pt x="2157" y="921"/>
                    </a:lnTo>
                    <a:lnTo>
                      <a:pt x="2154" y="925"/>
                    </a:lnTo>
                    <a:lnTo>
                      <a:pt x="2151" y="926"/>
                    </a:lnTo>
                    <a:lnTo>
                      <a:pt x="2148" y="928"/>
                    </a:lnTo>
                    <a:lnTo>
                      <a:pt x="2144" y="929"/>
                    </a:lnTo>
                    <a:lnTo>
                      <a:pt x="2142" y="928"/>
                    </a:lnTo>
                    <a:lnTo>
                      <a:pt x="2141" y="929"/>
                    </a:lnTo>
                    <a:lnTo>
                      <a:pt x="2139" y="930"/>
                    </a:lnTo>
                    <a:lnTo>
                      <a:pt x="2137" y="929"/>
                    </a:lnTo>
                    <a:lnTo>
                      <a:pt x="2137" y="930"/>
                    </a:lnTo>
                    <a:lnTo>
                      <a:pt x="2135" y="929"/>
                    </a:lnTo>
                    <a:lnTo>
                      <a:pt x="2133" y="930"/>
                    </a:lnTo>
                    <a:lnTo>
                      <a:pt x="2135" y="929"/>
                    </a:lnTo>
                    <a:lnTo>
                      <a:pt x="2131" y="930"/>
                    </a:lnTo>
                    <a:lnTo>
                      <a:pt x="2129" y="928"/>
                    </a:lnTo>
                    <a:lnTo>
                      <a:pt x="2127" y="926"/>
                    </a:lnTo>
                    <a:lnTo>
                      <a:pt x="2126" y="929"/>
                    </a:lnTo>
                    <a:lnTo>
                      <a:pt x="2125" y="929"/>
                    </a:lnTo>
                    <a:lnTo>
                      <a:pt x="2124" y="929"/>
                    </a:lnTo>
                    <a:lnTo>
                      <a:pt x="2124" y="930"/>
                    </a:lnTo>
                    <a:lnTo>
                      <a:pt x="2123" y="929"/>
                    </a:lnTo>
                    <a:lnTo>
                      <a:pt x="2123" y="928"/>
                    </a:lnTo>
                    <a:lnTo>
                      <a:pt x="2120" y="926"/>
                    </a:lnTo>
                    <a:lnTo>
                      <a:pt x="2122" y="924"/>
                    </a:lnTo>
                    <a:lnTo>
                      <a:pt x="2124" y="925"/>
                    </a:lnTo>
                    <a:lnTo>
                      <a:pt x="2122" y="922"/>
                    </a:lnTo>
                    <a:lnTo>
                      <a:pt x="2121" y="922"/>
                    </a:lnTo>
                    <a:lnTo>
                      <a:pt x="2117" y="923"/>
                    </a:lnTo>
                    <a:lnTo>
                      <a:pt x="2112" y="922"/>
                    </a:lnTo>
                    <a:lnTo>
                      <a:pt x="2109" y="922"/>
                    </a:lnTo>
                    <a:lnTo>
                      <a:pt x="2110" y="922"/>
                    </a:lnTo>
                    <a:lnTo>
                      <a:pt x="2108" y="924"/>
                    </a:lnTo>
                    <a:lnTo>
                      <a:pt x="2106" y="923"/>
                    </a:lnTo>
                    <a:lnTo>
                      <a:pt x="2104" y="924"/>
                    </a:lnTo>
                    <a:lnTo>
                      <a:pt x="2106" y="922"/>
                    </a:lnTo>
                    <a:lnTo>
                      <a:pt x="2104" y="923"/>
                    </a:lnTo>
                    <a:lnTo>
                      <a:pt x="2101" y="923"/>
                    </a:lnTo>
                    <a:lnTo>
                      <a:pt x="2098" y="926"/>
                    </a:lnTo>
                    <a:lnTo>
                      <a:pt x="2099" y="926"/>
                    </a:lnTo>
                    <a:lnTo>
                      <a:pt x="2098" y="926"/>
                    </a:lnTo>
                    <a:lnTo>
                      <a:pt x="2097" y="925"/>
                    </a:lnTo>
                    <a:lnTo>
                      <a:pt x="2090" y="930"/>
                    </a:lnTo>
                    <a:lnTo>
                      <a:pt x="2084" y="932"/>
                    </a:lnTo>
                    <a:lnTo>
                      <a:pt x="2082" y="933"/>
                    </a:lnTo>
                    <a:lnTo>
                      <a:pt x="2080" y="931"/>
                    </a:lnTo>
                    <a:lnTo>
                      <a:pt x="2074" y="929"/>
                    </a:lnTo>
                    <a:lnTo>
                      <a:pt x="2069" y="929"/>
                    </a:lnTo>
                    <a:lnTo>
                      <a:pt x="2066" y="926"/>
                    </a:lnTo>
                    <a:lnTo>
                      <a:pt x="2063" y="928"/>
                    </a:lnTo>
                    <a:lnTo>
                      <a:pt x="2061" y="926"/>
                    </a:lnTo>
                    <a:lnTo>
                      <a:pt x="2058" y="924"/>
                    </a:lnTo>
                    <a:lnTo>
                      <a:pt x="2041" y="921"/>
                    </a:lnTo>
                    <a:lnTo>
                      <a:pt x="2039" y="921"/>
                    </a:lnTo>
                    <a:lnTo>
                      <a:pt x="2033" y="923"/>
                    </a:lnTo>
                    <a:lnTo>
                      <a:pt x="2030" y="923"/>
                    </a:lnTo>
                    <a:lnTo>
                      <a:pt x="2029" y="922"/>
                    </a:lnTo>
                    <a:lnTo>
                      <a:pt x="2029" y="921"/>
                    </a:lnTo>
                    <a:lnTo>
                      <a:pt x="2027" y="916"/>
                    </a:lnTo>
                    <a:lnTo>
                      <a:pt x="2024" y="915"/>
                    </a:lnTo>
                    <a:lnTo>
                      <a:pt x="2016" y="915"/>
                    </a:lnTo>
                    <a:lnTo>
                      <a:pt x="2013" y="914"/>
                    </a:lnTo>
                    <a:lnTo>
                      <a:pt x="2011" y="913"/>
                    </a:lnTo>
                    <a:lnTo>
                      <a:pt x="2003" y="912"/>
                    </a:lnTo>
                    <a:lnTo>
                      <a:pt x="2001" y="910"/>
                    </a:lnTo>
                    <a:lnTo>
                      <a:pt x="2001" y="906"/>
                    </a:lnTo>
                    <a:lnTo>
                      <a:pt x="1998" y="905"/>
                    </a:lnTo>
                    <a:lnTo>
                      <a:pt x="1993" y="903"/>
                    </a:lnTo>
                    <a:lnTo>
                      <a:pt x="1989" y="902"/>
                    </a:lnTo>
                    <a:lnTo>
                      <a:pt x="1986" y="902"/>
                    </a:lnTo>
                    <a:lnTo>
                      <a:pt x="1982" y="902"/>
                    </a:lnTo>
                    <a:lnTo>
                      <a:pt x="1980" y="902"/>
                    </a:lnTo>
                    <a:lnTo>
                      <a:pt x="1977" y="904"/>
                    </a:lnTo>
                    <a:lnTo>
                      <a:pt x="1972" y="904"/>
                    </a:lnTo>
                    <a:lnTo>
                      <a:pt x="1969" y="905"/>
                    </a:lnTo>
                    <a:lnTo>
                      <a:pt x="1967" y="906"/>
                    </a:lnTo>
                    <a:lnTo>
                      <a:pt x="1961" y="911"/>
                    </a:lnTo>
                    <a:lnTo>
                      <a:pt x="1959" y="914"/>
                    </a:lnTo>
                    <a:lnTo>
                      <a:pt x="1958" y="917"/>
                    </a:lnTo>
                    <a:lnTo>
                      <a:pt x="1958" y="921"/>
                    </a:lnTo>
                    <a:lnTo>
                      <a:pt x="1959" y="923"/>
                    </a:lnTo>
                    <a:lnTo>
                      <a:pt x="1961" y="928"/>
                    </a:lnTo>
                    <a:lnTo>
                      <a:pt x="1960" y="930"/>
                    </a:lnTo>
                    <a:lnTo>
                      <a:pt x="1959" y="933"/>
                    </a:lnTo>
                    <a:lnTo>
                      <a:pt x="1954" y="939"/>
                    </a:lnTo>
                    <a:lnTo>
                      <a:pt x="1949" y="941"/>
                    </a:lnTo>
                    <a:lnTo>
                      <a:pt x="1945" y="941"/>
                    </a:lnTo>
                    <a:lnTo>
                      <a:pt x="1939" y="938"/>
                    </a:lnTo>
                    <a:lnTo>
                      <a:pt x="1933" y="933"/>
                    </a:lnTo>
                    <a:lnTo>
                      <a:pt x="1921" y="929"/>
                    </a:lnTo>
                    <a:lnTo>
                      <a:pt x="1913" y="926"/>
                    </a:lnTo>
                    <a:lnTo>
                      <a:pt x="1910" y="928"/>
                    </a:lnTo>
                    <a:lnTo>
                      <a:pt x="1905" y="926"/>
                    </a:lnTo>
                    <a:lnTo>
                      <a:pt x="1900" y="924"/>
                    </a:lnTo>
                    <a:lnTo>
                      <a:pt x="1898" y="922"/>
                    </a:lnTo>
                    <a:lnTo>
                      <a:pt x="1896" y="920"/>
                    </a:lnTo>
                    <a:lnTo>
                      <a:pt x="1895" y="916"/>
                    </a:lnTo>
                    <a:lnTo>
                      <a:pt x="1894" y="911"/>
                    </a:lnTo>
                    <a:lnTo>
                      <a:pt x="1892" y="910"/>
                    </a:lnTo>
                    <a:lnTo>
                      <a:pt x="1887" y="908"/>
                    </a:lnTo>
                    <a:lnTo>
                      <a:pt x="1883" y="907"/>
                    </a:lnTo>
                    <a:lnTo>
                      <a:pt x="1879" y="905"/>
                    </a:lnTo>
                    <a:lnTo>
                      <a:pt x="1875" y="904"/>
                    </a:lnTo>
                    <a:lnTo>
                      <a:pt x="1870" y="903"/>
                    </a:lnTo>
                    <a:lnTo>
                      <a:pt x="1867" y="902"/>
                    </a:lnTo>
                    <a:lnTo>
                      <a:pt x="1859" y="903"/>
                    </a:lnTo>
                    <a:lnTo>
                      <a:pt x="1853" y="903"/>
                    </a:lnTo>
                    <a:lnTo>
                      <a:pt x="1847" y="899"/>
                    </a:lnTo>
                    <a:lnTo>
                      <a:pt x="1844" y="898"/>
                    </a:lnTo>
                    <a:lnTo>
                      <a:pt x="1840" y="896"/>
                    </a:lnTo>
                    <a:lnTo>
                      <a:pt x="1838" y="896"/>
                    </a:lnTo>
                    <a:lnTo>
                      <a:pt x="1836" y="893"/>
                    </a:lnTo>
                    <a:lnTo>
                      <a:pt x="1835" y="890"/>
                    </a:lnTo>
                    <a:lnTo>
                      <a:pt x="1834" y="890"/>
                    </a:lnTo>
                    <a:lnTo>
                      <a:pt x="1832" y="893"/>
                    </a:lnTo>
                    <a:lnTo>
                      <a:pt x="1832" y="890"/>
                    </a:lnTo>
                    <a:lnTo>
                      <a:pt x="1828" y="890"/>
                    </a:lnTo>
                    <a:lnTo>
                      <a:pt x="1825" y="888"/>
                    </a:lnTo>
                    <a:lnTo>
                      <a:pt x="1823" y="886"/>
                    </a:lnTo>
                    <a:lnTo>
                      <a:pt x="1822" y="883"/>
                    </a:lnTo>
                    <a:lnTo>
                      <a:pt x="1822" y="882"/>
                    </a:lnTo>
                    <a:lnTo>
                      <a:pt x="1824" y="879"/>
                    </a:lnTo>
                    <a:lnTo>
                      <a:pt x="1830" y="877"/>
                    </a:lnTo>
                    <a:lnTo>
                      <a:pt x="1834" y="871"/>
                    </a:lnTo>
                    <a:lnTo>
                      <a:pt x="1836" y="865"/>
                    </a:lnTo>
                    <a:lnTo>
                      <a:pt x="1835" y="861"/>
                    </a:lnTo>
                    <a:lnTo>
                      <a:pt x="1833" y="857"/>
                    </a:lnTo>
                    <a:lnTo>
                      <a:pt x="1831" y="857"/>
                    </a:lnTo>
                    <a:lnTo>
                      <a:pt x="1828" y="854"/>
                    </a:lnTo>
                    <a:lnTo>
                      <a:pt x="1827" y="851"/>
                    </a:lnTo>
                    <a:lnTo>
                      <a:pt x="1828" y="848"/>
                    </a:lnTo>
                    <a:lnTo>
                      <a:pt x="1832" y="846"/>
                    </a:lnTo>
                    <a:lnTo>
                      <a:pt x="1835" y="842"/>
                    </a:lnTo>
                    <a:lnTo>
                      <a:pt x="1836" y="838"/>
                    </a:lnTo>
                    <a:lnTo>
                      <a:pt x="1834" y="838"/>
                    </a:lnTo>
                    <a:lnTo>
                      <a:pt x="1827" y="843"/>
                    </a:lnTo>
                    <a:lnTo>
                      <a:pt x="1825" y="842"/>
                    </a:lnTo>
                    <a:lnTo>
                      <a:pt x="1825" y="840"/>
                    </a:lnTo>
                    <a:lnTo>
                      <a:pt x="1825" y="842"/>
                    </a:lnTo>
                    <a:lnTo>
                      <a:pt x="1826" y="839"/>
                    </a:lnTo>
                    <a:lnTo>
                      <a:pt x="1825" y="839"/>
                    </a:lnTo>
                    <a:lnTo>
                      <a:pt x="1824" y="836"/>
                    </a:lnTo>
                    <a:lnTo>
                      <a:pt x="1824" y="836"/>
                    </a:lnTo>
                    <a:lnTo>
                      <a:pt x="1822" y="834"/>
                    </a:lnTo>
                    <a:lnTo>
                      <a:pt x="1819" y="834"/>
                    </a:lnTo>
                    <a:lnTo>
                      <a:pt x="1819" y="834"/>
                    </a:lnTo>
                    <a:lnTo>
                      <a:pt x="1817" y="833"/>
                    </a:lnTo>
                    <a:lnTo>
                      <a:pt x="1809" y="836"/>
                    </a:lnTo>
                    <a:lnTo>
                      <a:pt x="1807" y="837"/>
                    </a:lnTo>
                    <a:lnTo>
                      <a:pt x="1802" y="839"/>
                    </a:lnTo>
                    <a:lnTo>
                      <a:pt x="1800" y="839"/>
                    </a:lnTo>
                    <a:lnTo>
                      <a:pt x="1797" y="838"/>
                    </a:lnTo>
                    <a:lnTo>
                      <a:pt x="1794" y="840"/>
                    </a:lnTo>
                    <a:lnTo>
                      <a:pt x="1792" y="840"/>
                    </a:lnTo>
                    <a:lnTo>
                      <a:pt x="1785" y="837"/>
                    </a:lnTo>
                    <a:lnTo>
                      <a:pt x="1784" y="837"/>
                    </a:lnTo>
                    <a:lnTo>
                      <a:pt x="1781" y="839"/>
                    </a:lnTo>
                    <a:lnTo>
                      <a:pt x="1779" y="839"/>
                    </a:lnTo>
                    <a:lnTo>
                      <a:pt x="1776" y="838"/>
                    </a:lnTo>
                    <a:lnTo>
                      <a:pt x="1773" y="836"/>
                    </a:lnTo>
                    <a:lnTo>
                      <a:pt x="1771" y="837"/>
                    </a:lnTo>
                    <a:lnTo>
                      <a:pt x="1771" y="839"/>
                    </a:lnTo>
                    <a:lnTo>
                      <a:pt x="1767" y="840"/>
                    </a:lnTo>
                    <a:lnTo>
                      <a:pt x="1763" y="842"/>
                    </a:lnTo>
                    <a:lnTo>
                      <a:pt x="1759" y="844"/>
                    </a:lnTo>
                    <a:lnTo>
                      <a:pt x="1756" y="844"/>
                    </a:lnTo>
                    <a:lnTo>
                      <a:pt x="1754" y="843"/>
                    </a:lnTo>
                    <a:lnTo>
                      <a:pt x="1754" y="840"/>
                    </a:lnTo>
                    <a:lnTo>
                      <a:pt x="1750" y="839"/>
                    </a:lnTo>
                    <a:lnTo>
                      <a:pt x="1737" y="839"/>
                    </a:lnTo>
                    <a:lnTo>
                      <a:pt x="1732" y="842"/>
                    </a:lnTo>
                    <a:lnTo>
                      <a:pt x="1729" y="840"/>
                    </a:lnTo>
                    <a:lnTo>
                      <a:pt x="1728" y="842"/>
                    </a:lnTo>
                    <a:lnTo>
                      <a:pt x="1725" y="840"/>
                    </a:lnTo>
                    <a:lnTo>
                      <a:pt x="1720" y="845"/>
                    </a:lnTo>
                    <a:lnTo>
                      <a:pt x="1717" y="844"/>
                    </a:lnTo>
                    <a:lnTo>
                      <a:pt x="1700" y="846"/>
                    </a:lnTo>
                    <a:lnTo>
                      <a:pt x="1689" y="851"/>
                    </a:lnTo>
                    <a:lnTo>
                      <a:pt x="1687" y="853"/>
                    </a:lnTo>
                    <a:lnTo>
                      <a:pt x="1685" y="856"/>
                    </a:lnTo>
                    <a:lnTo>
                      <a:pt x="1683" y="857"/>
                    </a:lnTo>
                    <a:lnTo>
                      <a:pt x="1680" y="855"/>
                    </a:lnTo>
                    <a:lnTo>
                      <a:pt x="1676" y="857"/>
                    </a:lnTo>
                    <a:lnTo>
                      <a:pt x="1672" y="857"/>
                    </a:lnTo>
                    <a:lnTo>
                      <a:pt x="1670" y="860"/>
                    </a:lnTo>
                    <a:lnTo>
                      <a:pt x="1668" y="862"/>
                    </a:lnTo>
                    <a:lnTo>
                      <a:pt x="1666" y="864"/>
                    </a:lnTo>
                    <a:lnTo>
                      <a:pt x="1663" y="865"/>
                    </a:lnTo>
                    <a:lnTo>
                      <a:pt x="1661" y="868"/>
                    </a:lnTo>
                    <a:lnTo>
                      <a:pt x="1656" y="868"/>
                    </a:lnTo>
                    <a:lnTo>
                      <a:pt x="1654" y="868"/>
                    </a:lnTo>
                    <a:lnTo>
                      <a:pt x="1653" y="868"/>
                    </a:lnTo>
                    <a:lnTo>
                      <a:pt x="1649" y="868"/>
                    </a:lnTo>
                    <a:lnTo>
                      <a:pt x="1647" y="868"/>
                    </a:lnTo>
                    <a:lnTo>
                      <a:pt x="1645" y="865"/>
                    </a:lnTo>
                    <a:lnTo>
                      <a:pt x="1645" y="864"/>
                    </a:lnTo>
                    <a:lnTo>
                      <a:pt x="1639" y="866"/>
                    </a:lnTo>
                    <a:lnTo>
                      <a:pt x="1634" y="865"/>
                    </a:lnTo>
                    <a:lnTo>
                      <a:pt x="1632" y="866"/>
                    </a:lnTo>
                    <a:lnTo>
                      <a:pt x="1630" y="865"/>
                    </a:lnTo>
                    <a:lnTo>
                      <a:pt x="1625" y="866"/>
                    </a:lnTo>
                    <a:lnTo>
                      <a:pt x="1620" y="866"/>
                    </a:lnTo>
                    <a:lnTo>
                      <a:pt x="1618" y="864"/>
                    </a:lnTo>
                    <a:lnTo>
                      <a:pt x="1612" y="860"/>
                    </a:lnTo>
                    <a:lnTo>
                      <a:pt x="1611" y="856"/>
                    </a:lnTo>
                    <a:lnTo>
                      <a:pt x="1612" y="855"/>
                    </a:lnTo>
                    <a:lnTo>
                      <a:pt x="1611" y="855"/>
                    </a:lnTo>
                    <a:lnTo>
                      <a:pt x="1606" y="856"/>
                    </a:lnTo>
                    <a:lnTo>
                      <a:pt x="1604" y="856"/>
                    </a:lnTo>
                    <a:lnTo>
                      <a:pt x="1603" y="860"/>
                    </a:lnTo>
                    <a:lnTo>
                      <a:pt x="1598" y="872"/>
                    </a:lnTo>
                    <a:lnTo>
                      <a:pt x="1592" y="883"/>
                    </a:lnTo>
                    <a:lnTo>
                      <a:pt x="1588" y="887"/>
                    </a:lnTo>
                    <a:lnTo>
                      <a:pt x="1584" y="889"/>
                    </a:lnTo>
                    <a:lnTo>
                      <a:pt x="1568" y="896"/>
                    </a:lnTo>
                    <a:lnTo>
                      <a:pt x="1563" y="902"/>
                    </a:lnTo>
                    <a:lnTo>
                      <a:pt x="1558" y="906"/>
                    </a:lnTo>
                    <a:lnTo>
                      <a:pt x="1558" y="912"/>
                    </a:lnTo>
                    <a:lnTo>
                      <a:pt x="1557" y="914"/>
                    </a:lnTo>
                    <a:lnTo>
                      <a:pt x="1553" y="919"/>
                    </a:lnTo>
                    <a:lnTo>
                      <a:pt x="1550" y="924"/>
                    </a:lnTo>
                    <a:lnTo>
                      <a:pt x="1550" y="932"/>
                    </a:lnTo>
                    <a:lnTo>
                      <a:pt x="1550" y="934"/>
                    </a:lnTo>
                    <a:lnTo>
                      <a:pt x="1552" y="938"/>
                    </a:lnTo>
                    <a:lnTo>
                      <a:pt x="1553" y="940"/>
                    </a:lnTo>
                    <a:lnTo>
                      <a:pt x="1553" y="942"/>
                    </a:lnTo>
                    <a:lnTo>
                      <a:pt x="1551" y="948"/>
                    </a:lnTo>
                    <a:lnTo>
                      <a:pt x="1548" y="950"/>
                    </a:lnTo>
                    <a:lnTo>
                      <a:pt x="1544" y="956"/>
                    </a:lnTo>
                    <a:lnTo>
                      <a:pt x="1542" y="958"/>
                    </a:lnTo>
                    <a:lnTo>
                      <a:pt x="1540" y="960"/>
                    </a:lnTo>
                    <a:lnTo>
                      <a:pt x="1534" y="964"/>
                    </a:lnTo>
                    <a:lnTo>
                      <a:pt x="1529" y="967"/>
                    </a:lnTo>
                    <a:lnTo>
                      <a:pt x="1527" y="971"/>
                    </a:lnTo>
                    <a:lnTo>
                      <a:pt x="1519" y="974"/>
                    </a:lnTo>
                    <a:lnTo>
                      <a:pt x="1509" y="975"/>
                    </a:lnTo>
                    <a:lnTo>
                      <a:pt x="1507" y="979"/>
                    </a:lnTo>
                    <a:lnTo>
                      <a:pt x="1504" y="980"/>
                    </a:lnTo>
                    <a:lnTo>
                      <a:pt x="1503" y="983"/>
                    </a:lnTo>
                    <a:lnTo>
                      <a:pt x="1501" y="987"/>
                    </a:lnTo>
                    <a:lnTo>
                      <a:pt x="1501" y="990"/>
                    </a:lnTo>
                    <a:lnTo>
                      <a:pt x="1500" y="992"/>
                    </a:lnTo>
                    <a:lnTo>
                      <a:pt x="1498" y="994"/>
                    </a:lnTo>
                    <a:lnTo>
                      <a:pt x="1487" y="1001"/>
                    </a:lnTo>
                    <a:lnTo>
                      <a:pt x="1486" y="1005"/>
                    </a:lnTo>
                    <a:lnTo>
                      <a:pt x="1482" y="1013"/>
                    </a:lnTo>
                    <a:lnTo>
                      <a:pt x="1481" y="1022"/>
                    </a:lnTo>
                    <a:lnTo>
                      <a:pt x="1480" y="1025"/>
                    </a:lnTo>
                    <a:lnTo>
                      <a:pt x="1476" y="1027"/>
                    </a:lnTo>
                    <a:lnTo>
                      <a:pt x="1472" y="1032"/>
                    </a:lnTo>
                    <a:lnTo>
                      <a:pt x="1467" y="1036"/>
                    </a:lnTo>
                    <a:lnTo>
                      <a:pt x="1466" y="1039"/>
                    </a:lnTo>
                    <a:lnTo>
                      <a:pt x="1468" y="1036"/>
                    </a:lnTo>
                    <a:lnTo>
                      <a:pt x="1467" y="1039"/>
                    </a:lnTo>
                    <a:lnTo>
                      <a:pt x="1463" y="1047"/>
                    </a:lnTo>
                    <a:lnTo>
                      <a:pt x="1463" y="1049"/>
                    </a:lnTo>
                    <a:lnTo>
                      <a:pt x="1461" y="1052"/>
                    </a:lnTo>
                    <a:lnTo>
                      <a:pt x="1460" y="1054"/>
                    </a:lnTo>
                    <a:lnTo>
                      <a:pt x="1459" y="1058"/>
                    </a:lnTo>
                    <a:lnTo>
                      <a:pt x="1457" y="1058"/>
                    </a:lnTo>
                    <a:lnTo>
                      <a:pt x="1455" y="1061"/>
                    </a:lnTo>
                    <a:lnTo>
                      <a:pt x="1454" y="1064"/>
                    </a:lnTo>
                    <a:lnTo>
                      <a:pt x="1450" y="1077"/>
                    </a:lnTo>
                    <a:lnTo>
                      <a:pt x="1451" y="1081"/>
                    </a:lnTo>
                    <a:lnTo>
                      <a:pt x="1452" y="1077"/>
                    </a:lnTo>
                    <a:lnTo>
                      <a:pt x="1452" y="1075"/>
                    </a:lnTo>
                    <a:lnTo>
                      <a:pt x="1454" y="1076"/>
                    </a:lnTo>
                    <a:lnTo>
                      <a:pt x="1457" y="1082"/>
                    </a:lnTo>
                    <a:lnTo>
                      <a:pt x="1459" y="1081"/>
                    </a:lnTo>
                    <a:lnTo>
                      <a:pt x="1463" y="1088"/>
                    </a:lnTo>
                    <a:lnTo>
                      <a:pt x="1463" y="1094"/>
                    </a:lnTo>
                    <a:lnTo>
                      <a:pt x="1459" y="1100"/>
                    </a:lnTo>
                    <a:lnTo>
                      <a:pt x="1459" y="1102"/>
                    </a:lnTo>
                    <a:lnTo>
                      <a:pt x="1461" y="1103"/>
                    </a:lnTo>
                    <a:lnTo>
                      <a:pt x="1465" y="1113"/>
                    </a:lnTo>
                    <a:lnTo>
                      <a:pt x="1465" y="1119"/>
                    </a:lnTo>
                    <a:lnTo>
                      <a:pt x="1465" y="1124"/>
                    </a:lnTo>
                    <a:lnTo>
                      <a:pt x="1465" y="1127"/>
                    </a:lnTo>
                    <a:lnTo>
                      <a:pt x="1459" y="1141"/>
                    </a:lnTo>
                    <a:lnTo>
                      <a:pt x="1458" y="1145"/>
                    </a:lnTo>
                    <a:lnTo>
                      <a:pt x="1458" y="1151"/>
                    </a:lnTo>
                    <a:lnTo>
                      <a:pt x="1454" y="1158"/>
                    </a:lnTo>
                    <a:lnTo>
                      <a:pt x="1451" y="1162"/>
                    </a:lnTo>
                    <a:lnTo>
                      <a:pt x="1449" y="1163"/>
                    </a:lnTo>
                    <a:lnTo>
                      <a:pt x="1447" y="1164"/>
                    </a:lnTo>
                    <a:lnTo>
                      <a:pt x="1448" y="1165"/>
                    </a:lnTo>
                    <a:lnTo>
                      <a:pt x="1450" y="1167"/>
                    </a:lnTo>
                    <a:lnTo>
                      <a:pt x="1452" y="1170"/>
                    </a:lnTo>
                    <a:lnTo>
                      <a:pt x="1455" y="1174"/>
                    </a:lnTo>
                    <a:lnTo>
                      <a:pt x="1455" y="1177"/>
                    </a:lnTo>
                    <a:lnTo>
                      <a:pt x="1459" y="1173"/>
                    </a:lnTo>
                    <a:lnTo>
                      <a:pt x="1459" y="1173"/>
                    </a:lnTo>
                    <a:lnTo>
                      <a:pt x="1460" y="1173"/>
                    </a:lnTo>
                    <a:lnTo>
                      <a:pt x="1459" y="1173"/>
                    </a:lnTo>
                    <a:lnTo>
                      <a:pt x="1456" y="1179"/>
                    </a:lnTo>
                    <a:lnTo>
                      <a:pt x="1458" y="1178"/>
                    </a:lnTo>
                    <a:lnTo>
                      <a:pt x="1459" y="1176"/>
                    </a:lnTo>
                    <a:lnTo>
                      <a:pt x="1459" y="1179"/>
                    </a:lnTo>
                    <a:lnTo>
                      <a:pt x="1458" y="1181"/>
                    </a:lnTo>
                    <a:lnTo>
                      <a:pt x="1458" y="1182"/>
                    </a:lnTo>
                    <a:lnTo>
                      <a:pt x="1460" y="1185"/>
                    </a:lnTo>
                    <a:lnTo>
                      <a:pt x="1464" y="1184"/>
                    </a:lnTo>
                    <a:lnTo>
                      <a:pt x="1468" y="1184"/>
                    </a:lnTo>
                    <a:lnTo>
                      <a:pt x="1472" y="1182"/>
                    </a:lnTo>
                    <a:lnTo>
                      <a:pt x="1473" y="1182"/>
                    </a:lnTo>
                    <a:lnTo>
                      <a:pt x="1475" y="1182"/>
                    </a:lnTo>
                    <a:lnTo>
                      <a:pt x="1474" y="1184"/>
                    </a:lnTo>
                    <a:lnTo>
                      <a:pt x="1473" y="1182"/>
                    </a:lnTo>
                    <a:lnTo>
                      <a:pt x="1472" y="1182"/>
                    </a:lnTo>
                    <a:lnTo>
                      <a:pt x="1469" y="1184"/>
                    </a:lnTo>
                    <a:lnTo>
                      <a:pt x="1464" y="1184"/>
                    </a:lnTo>
                    <a:lnTo>
                      <a:pt x="1464" y="1186"/>
                    </a:lnTo>
                    <a:lnTo>
                      <a:pt x="1458" y="1186"/>
                    </a:lnTo>
                    <a:lnTo>
                      <a:pt x="1457" y="1184"/>
                    </a:lnTo>
                    <a:lnTo>
                      <a:pt x="1455" y="1185"/>
                    </a:lnTo>
                    <a:lnTo>
                      <a:pt x="1455" y="1187"/>
                    </a:lnTo>
                    <a:lnTo>
                      <a:pt x="1456" y="1189"/>
                    </a:lnTo>
                    <a:lnTo>
                      <a:pt x="1455" y="1191"/>
                    </a:lnTo>
                    <a:lnTo>
                      <a:pt x="1456" y="1193"/>
                    </a:lnTo>
                    <a:lnTo>
                      <a:pt x="1458" y="1193"/>
                    </a:lnTo>
                    <a:lnTo>
                      <a:pt x="1459" y="1195"/>
                    </a:lnTo>
                    <a:lnTo>
                      <a:pt x="1457" y="1195"/>
                    </a:lnTo>
                    <a:lnTo>
                      <a:pt x="1455" y="1198"/>
                    </a:lnTo>
                    <a:lnTo>
                      <a:pt x="1456" y="1199"/>
                    </a:lnTo>
                    <a:lnTo>
                      <a:pt x="1460" y="1201"/>
                    </a:lnTo>
                    <a:lnTo>
                      <a:pt x="1461" y="1199"/>
                    </a:lnTo>
                    <a:lnTo>
                      <a:pt x="1465" y="1198"/>
                    </a:lnTo>
                    <a:lnTo>
                      <a:pt x="1461" y="1201"/>
                    </a:lnTo>
                    <a:lnTo>
                      <a:pt x="1461" y="1204"/>
                    </a:lnTo>
                    <a:lnTo>
                      <a:pt x="1464" y="1205"/>
                    </a:lnTo>
                    <a:lnTo>
                      <a:pt x="1466" y="1204"/>
                    </a:lnTo>
                    <a:lnTo>
                      <a:pt x="1469" y="1204"/>
                    </a:lnTo>
                    <a:lnTo>
                      <a:pt x="1467" y="1204"/>
                    </a:lnTo>
                    <a:lnTo>
                      <a:pt x="1467" y="1207"/>
                    </a:lnTo>
                    <a:lnTo>
                      <a:pt x="1470" y="1206"/>
                    </a:lnTo>
                    <a:lnTo>
                      <a:pt x="1472" y="1205"/>
                    </a:lnTo>
                    <a:lnTo>
                      <a:pt x="1480" y="1204"/>
                    </a:lnTo>
                    <a:lnTo>
                      <a:pt x="1480" y="1206"/>
                    </a:lnTo>
                    <a:lnTo>
                      <a:pt x="1481" y="1206"/>
                    </a:lnTo>
                    <a:lnTo>
                      <a:pt x="1480" y="1206"/>
                    </a:lnTo>
                    <a:lnTo>
                      <a:pt x="1476" y="1206"/>
                    </a:lnTo>
                    <a:lnTo>
                      <a:pt x="1474" y="1206"/>
                    </a:lnTo>
                    <a:lnTo>
                      <a:pt x="1473" y="1208"/>
                    </a:lnTo>
                    <a:lnTo>
                      <a:pt x="1477" y="1207"/>
                    </a:lnTo>
                    <a:lnTo>
                      <a:pt x="1475" y="1210"/>
                    </a:lnTo>
                    <a:lnTo>
                      <a:pt x="1473" y="1212"/>
                    </a:lnTo>
                    <a:lnTo>
                      <a:pt x="1475" y="1212"/>
                    </a:lnTo>
                    <a:lnTo>
                      <a:pt x="1475" y="1214"/>
                    </a:lnTo>
                    <a:lnTo>
                      <a:pt x="1476" y="1216"/>
                    </a:lnTo>
                    <a:lnTo>
                      <a:pt x="1480" y="1215"/>
                    </a:lnTo>
                    <a:lnTo>
                      <a:pt x="1480" y="1218"/>
                    </a:lnTo>
                    <a:lnTo>
                      <a:pt x="1484" y="1218"/>
                    </a:lnTo>
                    <a:lnTo>
                      <a:pt x="1482" y="1220"/>
                    </a:lnTo>
                    <a:lnTo>
                      <a:pt x="1484" y="1222"/>
                    </a:lnTo>
                    <a:lnTo>
                      <a:pt x="1484" y="1222"/>
                    </a:lnTo>
                    <a:lnTo>
                      <a:pt x="1486" y="1227"/>
                    </a:lnTo>
                    <a:lnTo>
                      <a:pt x="1490" y="1229"/>
                    </a:lnTo>
                    <a:lnTo>
                      <a:pt x="1492" y="1229"/>
                    </a:lnTo>
                    <a:lnTo>
                      <a:pt x="1492" y="1231"/>
                    </a:lnTo>
                    <a:lnTo>
                      <a:pt x="1495" y="1233"/>
                    </a:lnTo>
                    <a:lnTo>
                      <a:pt x="1497" y="1232"/>
                    </a:lnTo>
                    <a:lnTo>
                      <a:pt x="1498" y="1232"/>
                    </a:lnTo>
                    <a:lnTo>
                      <a:pt x="1497" y="1235"/>
                    </a:lnTo>
                    <a:lnTo>
                      <a:pt x="1498" y="1233"/>
                    </a:lnTo>
                    <a:lnTo>
                      <a:pt x="1498" y="1237"/>
                    </a:lnTo>
                    <a:lnTo>
                      <a:pt x="1500" y="1237"/>
                    </a:lnTo>
                    <a:lnTo>
                      <a:pt x="1502" y="1242"/>
                    </a:lnTo>
                    <a:lnTo>
                      <a:pt x="1502" y="1245"/>
                    </a:lnTo>
                    <a:lnTo>
                      <a:pt x="1506" y="1246"/>
                    </a:lnTo>
                    <a:lnTo>
                      <a:pt x="1507" y="1247"/>
                    </a:lnTo>
                    <a:lnTo>
                      <a:pt x="1504" y="1247"/>
                    </a:lnTo>
                    <a:lnTo>
                      <a:pt x="1503" y="1249"/>
                    </a:lnTo>
                    <a:lnTo>
                      <a:pt x="1506" y="1249"/>
                    </a:lnTo>
                    <a:lnTo>
                      <a:pt x="1506" y="1250"/>
                    </a:lnTo>
                    <a:lnTo>
                      <a:pt x="1509" y="1252"/>
                    </a:lnTo>
                    <a:lnTo>
                      <a:pt x="1506" y="1253"/>
                    </a:lnTo>
                    <a:lnTo>
                      <a:pt x="1506" y="1253"/>
                    </a:lnTo>
                    <a:lnTo>
                      <a:pt x="1506" y="1254"/>
                    </a:lnTo>
                    <a:lnTo>
                      <a:pt x="1503" y="1253"/>
                    </a:lnTo>
                    <a:lnTo>
                      <a:pt x="1504" y="1255"/>
                    </a:lnTo>
                    <a:lnTo>
                      <a:pt x="1507" y="1255"/>
                    </a:lnTo>
                    <a:lnTo>
                      <a:pt x="1508" y="1258"/>
                    </a:lnTo>
                    <a:lnTo>
                      <a:pt x="1507" y="1261"/>
                    </a:lnTo>
                    <a:lnTo>
                      <a:pt x="1512" y="1263"/>
                    </a:lnTo>
                    <a:lnTo>
                      <a:pt x="1514" y="1263"/>
                    </a:lnTo>
                    <a:lnTo>
                      <a:pt x="1516" y="1265"/>
                    </a:lnTo>
                    <a:lnTo>
                      <a:pt x="1518" y="1264"/>
                    </a:lnTo>
                    <a:lnTo>
                      <a:pt x="1515" y="1265"/>
                    </a:lnTo>
                    <a:lnTo>
                      <a:pt x="1516" y="1267"/>
                    </a:lnTo>
                    <a:lnTo>
                      <a:pt x="1518" y="1268"/>
                    </a:lnTo>
                    <a:lnTo>
                      <a:pt x="1526" y="1273"/>
                    </a:lnTo>
                    <a:lnTo>
                      <a:pt x="1526" y="1273"/>
                    </a:lnTo>
                    <a:lnTo>
                      <a:pt x="1528" y="1274"/>
                    </a:lnTo>
                    <a:lnTo>
                      <a:pt x="1529" y="1276"/>
                    </a:lnTo>
                    <a:lnTo>
                      <a:pt x="1533" y="1279"/>
                    </a:lnTo>
                    <a:lnTo>
                      <a:pt x="1536" y="1281"/>
                    </a:lnTo>
                    <a:lnTo>
                      <a:pt x="1537" y="1281"/>
                    </a:lnTo>
                    <a:lnTo>
                      <a:pt x="1536" y="1282"/>
                    </a:lnTo>
                    <a:lnTo>
                      <a:pt x="1540" y="1283"/>
                    </a:lnTo>
                    <a:lnTo>
                      <a:pt x="1543" y="1284"/>
                    </a:lnTo>
                    <a:lnTo>
                      <a:pt x="1546" y="1288"/>
                    </a:lnTo>
                    <a:lnTo>
                      <a:pt x="1548" y="1289"/>
                    </a:lnTo>
                    <a:lnTo>
                      <a:pt x="1553" y="1293"/>
                    </a:lnTo>
                    <a:lnTo>
                      <a:pt x="1555" y="1297"/>
                    </a:lnTo>
                    <a:lnTo>
                      <a:pt x="1561" y="1300"/>
                    </a:lnTo>
                    <a:lnTo>
                      <a:pt x="1579" y="1309"/>
                    </a:lnTo>
                    <a:lnTo>
                      <a:pt x="1582" y="1309"/>
                    </a:lnTo>
                    <a:lnTo>
                      <a:pt x="1582" y="1309"/>
                    </a:lnTo>
                    <a:lnTo>
                      <a:pt x="1584" y="1308"/>
                    </a:lnTo>
                    <a:lnTo>
                      <a:pt x="1586" y="1307"/>
                    </a:lnTo>
                    <a:lnTo>
                      <a:pt x="1604" y="1300"/>
                    </a:lnTo>
                    <a:lnTo>
                      <a:pt x="1610" y="1299"/>
                    </a:lnTo>
                    <a:lnTo>
                      <a:pt x="1617" y="1298"/>
                    </a:lnTo>
                    <a:lnTo>
                      <a:pt x="1613" y="1297"/>
                    </a:lnTo>
                    <a:lnTo>
                      <a:pt x="1611" y="1298"/>
                    </a:lnTo>
                    <a:lnTo>
                      <a:pt x="1612" y="1297"/>
                    </a:lnTo>
                    <a:lnTo>
                      <a:pt x="1617" y="1297"/>
                    </a:lnTo>
                    <a:lnTo>
                      <a:pt x="1617" y="1298"/>
                    </a:lnTo>
                    <a:lnTo>
                      <a:pt x="1619" y="1298"/>
                    </a:lnTo>
                    <a:lnTo>
                      <a:pt x="1630" y="1297"/>
                    </a:lnTo>
                    <a:lnTo>
                      <a:pt x="1629" y="1297"/>
                    </a:lnTo>
                    <a:lnTo>
                      <a:pt x="1623" y="1297"/>
                    </a:lnTo>
                    <a:lnTo>
                      <a:pt x="1621" y="1297"/>
                    </a:lnTo>
                    <a:lnTo>
                      <a:pt x="1619" y="1298"/>
                    </a:lnTo>
                    <a:lnTo>
                      <a:pt x="1619" y="1297"/>
                    </a:lnTo>
                    <a:lnTo>
                      <a:pt x="1626" y="1296"/>
                    </a:lnTo>
                    <a:lnTo>
                      <a:pt x="1629" y="1297"/>
                    </a:lnTo>
                    <a:lnTo>
                      <a:pt x="1630" y="1297"/>
                    </a:lnTo>
                    <a:lnTo>
                      <a:pt x="1630" y="1296"/>
                    </a:lnTo>
                    <a:lnTo>
                      <a:pt x="1632" y="1297"/>
                    </a:lnTo>
                    <a:lnTo>
                      <a:pt x="1632" y="1297"/>
                    </a:lnTo>
                    <a:lnTo>
                      <a:pt x="1630" y="1297"/>
                    </a:lnTo>
                    <a:lnTo>
                      <a:pt x="1634" y="1298"/>
                    </a:lnTo>
                    <a:lnTo>
                      <a:pt x="1634" y="1297"/>
                    </a:lnTo>
                    <a:lnTo>
                      <a:pt x="1636" y="1298"/>
                    </a:lnTo>
                    <a:lnTo>
                      <a:pt x="1639" y="1298"/>
                    </a:lnTo>
                    <a:lnTo>
                      <a:pt x="1640" y="1296"/>
                    </a:lnTo>
                    <a:lnTo>
                      <a:pt x="1640" y="1296"/>
                    </a:lnTo>
                    <a:lnTo>
                      <a:pt x="1642" y="1298"/>
                    </a:lnTo>
                    <a:lnTo>
                      <a:pt x="1645" y="1299"/>
                    </a:lnTo>
                    <a:lnTo>
                      <a:pt x="1643" y="1299"/>
                    </a:lnTo>
                    <a:lnTo>
                      <a:pt x="1653" y="1301"/>
                    </a:lnTo>
                    <a:lnTo>
                      <a:pt x="1656" y="1304"/>
                    </a:lnTo>
                    <a:lnTo>
                      <a:pt x="1662" y="1301"/>
                    </a:lnTo>
                    <a:lnTo>
                      <a:pt x="1662" y="1300"/>
                    </a:lnTo>
                    <a:lnTo>
                      <a:pt x="1671" y="1297"/>
                    </a:lnTo>
                    <a:lnTo>
                      <a:pt x="1674" y="1297"/>
                    </a:lnTo>
                    <a:lnTo>
                      <a:pt x="1680" y="1293"/>
                    </a:lnTo>
                    <a:lnTo>
                      <a:pt x="1685" y="1292"/>
                    </a:lnTo>
                    <a:lnTo>
                      <a:pt x="1687" y="1290"/>
                    </a:lnTo>
                    <a:lnTo>
                      <a:pt x="1693" y="1290"/>
                    </a:lnTo>
                    <a:lnTo>
                      <a:pt x="1694" y="1289"/>
                    </a:lnTo>
                    <a:lnTo>
                      <a:pt x="1691" y="1285"/>
                    </a:lnTo>
                    <a:lnTo>
                      <a:pt x="1689" y="1285"/>
                    </a:lnTo>
                    <a:lnTo>
                      <a:pt x="1688" y="1285"/>
                    </a:lnTo>
                    <a:lnTo>
                      <a:pt x="1691" y="1285"/>
                    </a:lnTo>
                    <a:lnTo>
                      <a:pt x="1693" y="1287"/>
                    </a:lnTo>
                    <a:lnTo>
                      <a:pt x="1694" y="1289"/>
                    </a:lnTo>
                    <a:lnTo>
                      <a:pt x="1697" y="1290"/>
                    </a:lnTo>
                    <a:lnTo>
                      <a:pt x="1699" y="1287"/>
                    </a:lnTo>
                    <a:lnTo>
                      <a:pt x="1702" y="1285"/>
                    </a:lnTo>
                    <a:lnTo>
                      <a:pt x="1704" y="1284"/>
                    </a:lnTo>
                    <a:lnTo>
                      <a:pt x="1707" y="1283"/>
                    </a:lnTo>
                    <a:lnTo>
                      <a:pt x="1711" y="1282"/>
                    </a:lnTo>
                    <a:lnTo>
                      <a:pt x="1719" y="1282"/>
                    </a:lnTo>
                    <a:lnTo>
                      <a:pt x="1730" y="1281"/>
                    </a:lnTo>
                    <a:lnTo>
                      <a:pt x="1731" y="1280"/>
                    </a:lnTo>
                    <a:lnTo>
                      <a:pt x="1736" y="1278"/>
                    </a:lnTo>
                    <a:lnTo>
                      <a:pt x="1733" y="1280"/>
                    </a:lnTo>
                    <a:lnTo>
                      <a:pt x="1731" y="1280"/>
                    </a:lnTo>
                    <a:lnTo>
                      <a:pt x="1733" y="1281"/>
                    </a:lnTo>
                    <a:lnTo>
                      <a:pt x="1737" y="1280"/>
                    </a:lnTo>
                    <a:lnTo>
                      <a:pt x="1743" y="1281"/>
                    </a:lnTo>
                    <a:lnTo>
                      <a:pt x="1749" y="1284"/>
                    </a:lnTo>
                    <a:lnTo>
                      <a:pt x="1754" y="1289"/>
                    </a:lnTo>
                    <a:lnTo>
                      <a:pt x="1755" y="1289"/>
                    </a:lnTo>
                    <a:lnTo>
                      <a:pt x="1757" y="1288"/>
                    </a:lnTo>
                    <a:lnTo>
                      <a:pt x="1755" y="1289"/>
                    </a:lnTo>
                    <a:lnTo>
                      <a:pt x="1755" y="1292"/>
                    </a:lnTo>
                    <a:lnTo>
                      <a:pt x="1758" y="1290"/>
                    </a:lnTo>
                    <a:lnTo>
                      <a:pt x="1757" y="1291"/>
                    </a:lnTo>
                    <a:lnTo>
                      <a:pt x="1760" y="1292"/>
                    </a:lnTo>
                    <a:lnTo>
                      <a:pt x="1757" y="1292"/>
                    </a:lnTo>
                    <a:lnTo>
                      <a:pt x="1758" y="1295"/>
                    </a:lnTo>
                    <a:lnTo>
                      <a:pt x="1762" y="1293"/>
                    </a:lnTo>
                    <a:lnTo>
                      <a:pt x="1762" y="1295"/>
                    </a:lnTo>
                    <a:lnTo>
                      <a:pt x="1759" y="1296"/>
                    </a:lnTo>
                    <a:lnTo>
                      <a:pt x="1759" y="1301"/>
                    </a:lnTo>
                    <a:lnTo>
                      <a:pt x="1763" y="1307"/>
                    </a:lnTo>
                    <a:lnTo>
                      <a:pt x="1766" y="1308"/>
                    </a:lnTo>
                    <a:lnTo>
                      <a:pt x="1767" y="1308"/>
                    </a:lnTo>
                    <a:lnTo>
                      <a:pt x="1768" y="1310"/>
                    </a:lnTo>
                    <a:lnTo>
                      <a:pt x="1771" y="1307"/>
                    </a:lnTo>
                    <a:lnTo>
                      <a:pt x="1771" y="1310"/>
                    </a:lnTo>
                    <a:lnTo>
                      <a:pt x="1773" y="1309"/>
                    </a:lnTo>
                    <a:lnTo>
                      <a:pt x="1774" y="1307"/>
                    </a:lnTo>
                    <a:lnTo>
                      <a:pt x="1776" y="1306"/>
                    </a:lnTo>
                    <a:lnTo>
                      <a:pt x="1776" y="1306"/>
                    </a:lnTo>
                    <a:lnTo>
                      <a:pt x="1776" y="1308"/>
                    </a:lnTo>
                    <a:lnTo>
                      <a:pt x="1777" y="1309"/>
                    </a:lnTo>
                    <a:lnTo>
                      <a:pt x="1777" y="1302"/>
                    </a:lnTo>
                    <a:lnTo>
                      <a:pt x="1779" y="1308"/>
                    </a:lnTo>
                    <a:lnTo>
                      <a:pt x="1780" y="1307"/>
                    </a:lnTo>
                    <a:lnTo>
                      <a:pt x="1780" y="1305"/>
                    </a:lnTo>
                    <a:lnTo>
                      <a:pt x="1781" y="1305"/>
                    </a:lnTo>
                    <a:lnTo>
                      <a:pt x="1781" y="1307"/>
                    </a:lnTo>
                    <a:lnTo>
                      <a:pt x="1782" y="1305"/>
                    </a:lnTo>
                    <a:lnTo>
                      <a:pt x="1784" y="1306"/>
                    </a:lnTo>
                    <a:lnTo>
                      <a:pt x="1785" y="1306"/>
                    </a:lnTo>
                    <a:lnTo>
                      <a:pt x="1788" y="1306"/>
                    </a:lnTo>
                    <a:lnTo>
                      <a:pt x="1788" y="1304"/>
                    </a:lnTo>
                    <a:lnTo>
                      <a:pt x="1789" y="1306"/>
                    </a:lnTo>
                    <a:lnTo>
                      <a:pt x="1791" y="1307"/>
                    </a:lnTo>
                    <a:lnTo>
                      <a:pt x="1797" y="1306"/>
                    </a:lnTo>
                    <a:lnTo>
                      <a:pt x="1799" y="1306"/>
                    </a:lnTo>
                    <a:lnTo>
                      <a:pt x="1797" y="1300"/>
                    </a:lnTo>
                    <a:lnTo>
                      <a:pt x="1799" y="1302"/>
                    </a:lnTo>
                    <a:lnTo>
                      <a:pt x="1800" y="1302"/>
                    </a:lnTo>
                    <a:lnTo>
                      <a:pt x="1802" y="1302"/>
                    </a:lnTo>
                    <a:lnTo>
                      <a:pt x="1801" y="1306"/>
                    </a:lnTo>
                    <a:lnTo>
                      <a:pt x="1804" y="1307"/>
                    </a:lnTo>
                    <a:lnTo>
                      <a:pt x="1804" y="1305"/>
                    </a:lnTo>
                    <a:lnTo>
                      <a:pt x="1806" y="1306"/>
                    </a:lnTo>
                    <a:lnTo>
                      <a:pt x="1806" y="1305"/>
                    </a:lnTo>
                    <a:lnTo>
                      <a:pt x="1807" y="1310"/>
                    </a:lnTo>
                    <a:lnTo>
                      <a:pt x="1809" y="1314"/>
                    </a:lnTo>
                    <a:lnTo>
                      <a:pt x="1813" y="1314"/>
                    </a:lnTo>
                    <a:lnTo>
                      <a:pt x="1813" y="1315"/>
                    </a:lnTo>
                    <a:lnTo>
                      <a:pt x="1814" y="1314"/>
                    </a:lnTo>
                    <a:lnTo>
                      <a:pt x="1815" y="1314"/>
                    </a:lnTo>
                    <a:lnTo>
                      <a:pt x="1815" y="1314"/>
                    </a:lnTo>
                    <a:lnTo>
                      <a:pt x="1814" y="1313"/>
                    </a:lnTo>
                    <a:lnTo>
                      <a:pt x="1817" y="1313"/>
                    </a:lnTo>
                    <a:lnTo>
                      <a:pt x="1817" y="1313"/>
                    </a:lnTo>
                    <a:lnTo>
                      <a:pt x="1817" y="1313"/>
                    </a:lnTo>
                    <a:lnTo>
                      <a:pt x="1818" y="1316"/>
                    </a:lnTo>
                    <a:lnTo>
                      <a:pt x="1817" y="1316"/>
                    </a:lnTo>
                    <a:lnTo>
                      <a:pt x="1817" y="1319"/>
                    </a:lnTo>
                    <a:lnTo>
                      <a:pt x="1819" y="1319"/>
                    </a:lnTo>
                    <a:lnTo>
                      <a:pt x="1818" y="1322"/>
                    </a:lnTo>
                    <a:lnTo>
                      <a:pt x="1821" y="1324"/>
                    </a:lnTo>
                    <a:lnTo>
                      <a:pt x="1822" y="1326"/>
                    </a:lnTo>
                    <a:lnTo>
                      <a:pt x="1819" y="1330"/>
                    </a:lnTo>
                    <a:lnTo>
                      <a:pt x="1818" y="1340"/>
                    </a:lnTo>
                    <a:lnTo>
                      <a:pt x="1819" y="1342"/>
                    </a:lnTo>
                    <a:lnTo>
                      <a:pt x="1817" y="1347"/>
                    </a:lnTo>
                    <a:lnTo>
                      <a:pt x="1818" y="1347"/>
                    </a:lnTo>
                    <a:lnTo>
                      <a:pt x="1816" y="1347"/>
                    </a:lnTo>
                    <a:lnTo>
                      <a:pt x="1814" y="1350"/>
                    </a:lnTo>
                    <a:lnTo>
                      <a:pt x="1813" y="1352"/>
                    </a:lnTo>
                    <a:lnTo>
                      <a:pt x="1816" y="1353"/>
                    </a:lnTo>
                    <a:lnTo>
                      <a:pt x="1818" y="1353"/>
                    </a:lnTo>
                    <a:lnTo>
                      <a:pt x="1819" y="1355"/>
                    </a:lnTo>
                    <a:lnTo>
                      <a:pt x="1816" y="1355"/>
                    </a:lnTo>
                    <a:lnTo>
                      <a:pt x="1816" y="1360"/>
                    </a:lnTo>
                    <a:lnTo>
                      <a:pt x="1814" y="1359"/>
                    </a:lnTo>
                    <a:lnTo>
                      <a:pt x="1814" y="1362"/>
                    </a:lnTo>
                    <a:lnTo>
                      <a:pt x="1816" y="1365"/>
                    </a:lnTo>
                    <a:lnTo>
                      <a:pt x="1819" y="1366"/>
                    </a:lnTo>
                    <a:lnTo>
                      <a:pt x="1822" y="1366"/>
                    </a:lnTo>
                    <a:lnTo>
                      <a:pt x="1816" y="1367"/>
                    </a:lnTo>
                    <a:lnTo>
                      <a:pt x="1814" y="1366"/>
                    </a:lnTo>
                    <a:lnTo>
                      <a:pt x="1813" y="1373"/>
                    </a:lnTo>
                    <a:lnTo>
                      <a:pt x="1809" y="1378"/>
                    </a:lnTo>
                    <a:lnTo>
                      <a:pt x="1808" y="1381"/>
                    </a:lnTo>
                    <a:lnTo>
                      <a:pt x="1807" y="1378"/>
                    </a:lnTo>
                    <a:lnTo>
                      <a:pt x="1807" y="1378"/>
                    </a:lnTo>
                    <a:lnTo>
                      <a:pt x="1806" y="1378"/>
                    </a:lnTo>
                    <a:lnTo>
                      <a:pt x="1806" y="1381"/>
                    </a:lnTo>
                    <a:lnTo>
                      <a:pt x="1807" y="1382"/>
                    </a:lnTo>
                    <a:lnTo>
                      <a:pt x="1807" y="1383"/>
                    </a:lnTo>
                    <a:lnTo>
                      <a:pt x="1808" y="1386"/>
                    </a:lnTo>
                    <a:lnTo>
                      <a:pt x="1810" y="1387"/>
                    </a:lnTo>
                    <a:lnTo>
                      <a:pt x="1813" y="1390"/>
                    </a:lnTo>
                    <a:lnTo>
                      <a:pt x="1816" y="1391"/>
                    </a:lnTo>
                    <a:lnTo>
                      <a:pt x="1813" y="1391"/>
                    </a:lnTo>
                    <a:lnTo>
                      <a:pt x="1810" y="1389"/>
                    </a:lnTo>
                    <a:lnTo>
                      <a:pt x="1808" y="1386"/>
                    </a:lnTo>
                    <a:lnTo>
                      <a:pt x="1811" y="1392"/>
                    </a:lnTo>
                    <a:lnTo>
                      <a:pt x="1813" y="1394"/>
                    </a:lnTo>
                    <a:lnTo>
                      <a:pt x="1815" y="1395"/>
                    </a:lnTo>
                    <a:lnTo>
                      <a:pt x="1815" y="1395"/>
                    </a:lnTo>
                    <a:lnTo>
                      <a:pt x="1816" y="1401"/>
                    </a:lnTo>
                    <a:lnTo>
                      <a:pt x="1819" y="1402"/>
                    </a:lnTo>
                    <a:lnTo>
                      <a:pt x="1822" y="1403"/>
                    </a:lnTo>
                    <a:lnTo>
                      <a:pt x="1822" y="1404"/>
                    </a:lnTo>
                    <a:lnTo>
                      <a:pt x="1819" y="1403"/>
                    </a:lnTo>
                    <a:lnTo>
                      <a:pt x="1821" y="1406"/>
                    </a:lnTo>
                    <a:lnTo>
                      <a:pt x="1831" y="1413"/>
                    </a:lnTo>
                    <a:lnTo>
                      <a:pt x="1831" y="1415"/>
                    </a:lnTo>
                    <a:lnTo>
                      <a:pt x="1838" y="1422"/>
                    </a:lnTo>
                    <a:lnTo>
                      <a:pt x="1844" y="1429"/>
                    </a:lnTo>
                    <a:lnTo>
                      <a:pt x="1845" y="1433"/>
                    </a:lnTo>
                    <a:lnTo>
                      <a:pt x="1849" y="1437"/>
                    </a:lnTo>
                    <a:lnTo>
                      <a:pt x="1851" y="1437"/>
                    </a:lnTo>
                    <a:lnTo>
                      <a:pt x="1850" y="1439"/>
                    </a:lnTo>
                    <a:lnTo>
                      <a:pt x="1851" y="1442"/>
                    </a:lnTo>
                    <a:lnTo>
                      <a:pt x="1851" y="1445"/>
                    </a:lnTo>
                    <a:lnTo>
                      <a:pt x="1852" y="1447"/>
                    </a:lnTo>
                    <a:lnTo>
                      <a:pt x="1853" y="1450"/>
                    </a:lnTo>
                    <a:lnTo>
                      <a:pt x="1856" y="1451"/>
                    </a:lnTo>
                    <a:lnTo>
                      <a:pt x="1858" y="1451"/>
                    </a:lnTo>
                    <a:lnTo>
                      <a:pt x="1861" y="1449"/>
                    </a:lnTo>
                    <a:lnTo>
                      <a:pt x="1865" y="1449"/>
                    </a:lnTo>
                    <a:lnTo>
                      <a:pt x="1864" y="1450"/>
                    </a:lnTo>
                    <a:lnTo>
                      <a:pt x="1861" y="1451"/>
                    </a:lnTo>
                    <a:lnTo>
                      <a:pt x="1858" y="1451"/>
                    </a:lnTo>
                    <a:lnTo>
                      <a:pt x="1853" y="1453"/>
                    </a:lnTo>
                    <a:lnTo>
                      <a:pt x="1854" y="1455"/>
                    </a:lnTo>
                    <a:lnTo>
                      <a:pt x="1858" y="1461"/>
                    </a:lnTo>
                    <a:lnTo>
                      <a:pt x="1860" y="1463"/>
                    </a:lnTo>
                    <a:lnTo>
                      <a:pt x="1860" y="1466"/>
                    </a:lnTo>
                    <a:lnTo>
                      <a:pt x="1860" y="1467"/>
                    </a:lnTo>
                    <a:lnTo>
                      <a:pt x="1862" y="1472"/>
                    </a:lnTo>
                    <a:lnTo>
                      <a:pt x="1868" y="1483"/>
                    </a:lnTo>
                    <a:lnTo>
                      <a:pt x="1868" y="1486"/>
                    </a:lnTo>
                    <a:lnTo>
                      <a:pt x="1867" y="1489"/>
                    </a:lnTo>
                    <a:lnTo>
                      <a:pt x="1862" y="1493"/>
                    </a:lnTo>
                    <a:lnTo>
                      <a:pt x="1864" y="1495"/>
                    </a:lnTo>
                    <a:lnTo>
                      <a:pt x="1865" y="1497"/>
                    </a:lnTo>
                    <a:lnTo>
                      <a:pt x="1866" y="1500"/>
                    </a:lnTo>
                    <a:lnTo>
                      <a:pt x="1866" y="1502"/>
                    </a:lnTo>
                    <a:lnTo>
                      <a:pt x="1870" y="1512"/>
                    </a:lnTo>
                    <a:lnTo>
                      <a:pt x="1873" y="1515"/>
                    </a:lnTo>
                    <a:lnTo>
                      <a:pt x="1875" y="1521"/>
                    </a:lnTo>
                    <a:lnTo>
                      <a:pt x="1873" y="1532"/>
                    </a:lnTo>
                    <a:lnTo>
                      <a:pt x="1870" y="1538"/>
                    </a:lnTo>
                    <a:lnTo>
                      <a:pt x="1869" y="1540"/>
                    </a:lnTo>
                    <a:lnTo>
                      <a:pt x="1867" y="1541"/>
                    </a:lnTo>
                    <a:lnTo>
                      <a:pt x="1864" y="1544"/>
                    </a:lnTo>
                    <a:lnTo>
                      <a:pt x="1860" y="1549"/>
                    </a:lnTo>
                    <a:lnTo>
                      <a:pt x="1858" y="1552"/>
                    </a:lnTo>
                    <a:lnTo>
                      <a:pt x="1856" y="1554"/>
                    </a:lnTo>
                    <a:lnTo>
                      <a:pt x="1856" y="1558"/>
                    </a:lnTo>
                    <a:lnTo>
                      <a:pt x="1854" y="1561"/>
                    </a:lnTo>
                    <a:lnTo>
                      <a:pt x="1853" y="1572"/>
                    </a:lnTo>
                    <a:lnTo>
                      <a:pt x="1850" y="1579"/>
                    </a:lnTo>
                    <a:lnTo>
                      <a:pt x="1850" y="1581"/>
                    </a:lnTo>
                    <a:lnTo>
                      <a:pt x="1850" y="1583"/>
                    </a:lnTo>
                    <a:lnTo>
                      <a:pt x="1845" y="1588"/>
                    </a:lnTo>
                    <a:lnTo>
                      <a:pt x="1847" y="1599"/>
                    </a:lnTo>
                    <a:lnTo>
                      <a:pt x="1845" y="1610"/>
                    </a:lnTo>
                    <a:lnTo>
                      <a:pt x="1845" y="1615"/>
                    </a:lnTo>
                    <a:lnTo>
                      <a:pt x="1845" y="1618"/>
                    </a:lnTo>
                    <a:lnTo>
                      <a:pt x="1848" y="1621"/>
                    </a:lnTo>
                    <a:lnTo>
                      <a:pt x="1849" y="1623"/>
                    </a:lnTo>
                    <a:lnTo>
                      <a:pt x="1853" y="1629"/>
                    </a:lnTo>
                    <a:lnTo>
                      <a:pt x="1857" y="1633"/>
                    </a:lnTo>
                    <a:lnTo>
                      <a:pt x="1864" y="1646"/>
                    </a:lnTo>
                    <a:lnTo>
                      <a:pt x="1865" y="1649"/>
                    </a:lnTo>
                    <a:lnTo>
                      <a:pt x="1868" y="1657"/>
                    </a:lnTo>
                    <a:lnTo>
                      <a:pt x="1870" y="1663"/>
                    </a:lnTo>
                    <a:lnTo>
                      <a:pt x="1873" y="1666"/>
                    </a:lnTo>
                    <a:lnTo>
                      <a:pt x="1877" y="1673"/>
                    </a:lnTo>
                    <a:lnTo>
                      <a:pt x="1879" y="1676"/>
                    </a:lnTo>
                    <a:lnTo>
                      <a:pt x="1883" y="1682"/>
                    </a:lnTo>
                    <a:lnTo>
                      <a:pt x="1884" y="1684"/>
                    </a:lnTo>
                    <a:lnTo>
                      <a:pt x="1884" y="1687"/>
                    </a:lnTo>
                    <a:lnTo>
                      <a:pt x="1882" y="1690"/>
                    </a:lnTo>
                    <a:lnTo>
                      <a:pt x="1883" y="1694"/>
                    </a:lnTo>
                    <a:lnTo>
                      <a:pt x="1883" y="1697"/>
                    </a:lnTo>
                    <a:lnTo>
                      <a:pt x="1884" y="1702"/>
                    </a:lnTo>
                    <a:lnTo>
                      <a:pt x="1883" y="1704"/>
                    </a:lnTo>
                    <a:lnTo>
                      <a:pt x="1885" y="1710"/>
                    </a:lnTo>
                    <a:lnTo>
                      <a:pt x="1885" y="1712"/>
                    </a:lnTo>
                    <a:lnTo>
                      <a:pt x="1887" y="1716"/>
                    </a:lnTo>
                    <a:lnTo>
                      <a:pt x="1887" y="1718"/>
                    </a:lnTo>
                    <a:lnTo>
                      <a:pt x="1887" y="1724"/>
                    </a:lnTo>
                    <a:lnTo>
                      <a:pt x="1888" y="1726"/>
                    </a:lnTo>
                    <a:lnTo>
                      <a:pt x="1887" y="1728"/>
                    </a:lnTo>
                    <a:lnTo>
                      <a:pt x="1890" y="1734"/>
                    </a:lnTo>
                    <a:lnTo>
                      <a:pt x="1890" y="1737"/>
                    </a:lnTo>
                    <a:lnTo>
                      <a:pt x="1892" y="1738"/>
                    </a:lnTo>
                    <a:lnTo>
                      <a:pt x="1892" y="1742"/>
                    </a:lnTo>
                    <a:lnTo>
                      <a:pt x="1892" y="1744"/>
                    </a:lnTo>
                    <a:lnTo>
                      <a:pt x="1893" y="1746"/>
                    </a:lnTo>
                    <a:lnTo>
                      <a:pt x="1894" y="1752"/>
                    </a:lnTo>
                    <a:lnTo>
                      <a:pt x="1899" y="1760"/>
                    </a:lnTo>
                    <a:lnTo>
                      <a:pt x="1901" y="1763"/>
                    </a:lnTo>
                    <a:lnTo>
                      <a:pt x="1910" y="1771"/>
                    </a:lnTo>
                    <a:lnTo>
                      <a:pt x="1910" y="1771"/>
                    </a:lnTo>
                    <a:lnTo>
                      <a:pt x="1911" y="1774"/>
                    </a:lnTo>
                    <a:lnTo>
                      <a:pt x="1915" y="1779"/>
                    </a:lnTo>
                    <a:lnTo>
                      <a:pt x="1918" y="1787"/>
                    </a:lnTo>
                    <a:lnTo>
                      <a:pt x="1919" y="1789"/>
                    </a:lnTo>
                    <a:lnTo>
                      <a:pt x="1921" y="1797"/>
                    </a:lnTo>
                    <a:lnTo>
                      <a:pt x="1926" y="1805"/>
                    </a:lnTo>
                    <a:lnTo>
                      <a:pt x="1929" y="1812"/>
                    </a:lnTo>
                    <a:lnTo>
                      <a:pt x="1934" y="1818"/>
                    </a:lnTo>
                    <a:lnTo>
                      <a:pt x="1935" y="1820"/>
                    </a:lnTo>
                    <a:lnTo>
                      <a:pt x="1936" y="1827"/>
                    </a:lnTo>
                    <a:lnTo>
                      <a:pt x="1936" y="1829"/>
                    </a:lnTo>
                    <a:lnTo>
                      <a:pt x="1935" y="1832"/>
                    </a:lnTo>
                    <a:lnTo>
                      <a:pt x="1933" y="1834"/>
                    </a:lnTo>
                    <a:lnTo>
                      <a:pt x="1930" y="1834"/>
                    </a:lnTo>
                    <a:lnTo>
                      <a:pt x="1929" y="1836"/>
                    </a:lnTo>
                    <a:lnTo>
                      <a:pt x="1932" y="1837"/>
                    </a:lnTo>
                    <a:lnTo>
                      <a:pt x="1933" y="1840"/>
                    </a:lnTo>
                    <a:lnTo>
                      <a:pt x="1933" y="1841"/>
                    </a:lnTo>
                    <a:lnTo>
                      <a:pt x="1935" y="1844"/>
                    </a:lnTo>
                    <a:lnTo>
                      <a:pt x="1937" y="1848"/>
                    </a:lnTo>
                    <a:lnTo>
                      <a:pt x="1936" y="1853"/>
                    </a:lnTo>
                    <a:lnTo>
                      <a:pt x="1936" y="1856"/>
                    </a:lnTo>
                    <a:lnTo>
                      <a:pt x="1938" y="1858"/>
                    </a:lnTo>
                    <a:lnTo>
                      <a:pt x="1937" y="1855"/>
                    </a:lnTo>
                    <a:lnTo>
                      <a:pt x="1938" y="1854"/>
                    </a:lnTo>
                    <a:lnTo>
                      <a:pt x="1941" y="1854"/>
                    </a:lnTo>
                    <a:lnTo>
                      <a:pt x="1943" y="1854"/>
                    </a:lnTo>
                    <a:lnTo>
                      <a:pt x="1943" y="1856"/>
                    </a:lnTo>
                    <a:lnTo>
                      <a:pt x="1944" y="1858"/>
                    </a:lnTo>
                    <a:lnTo>
                      <a:pt x="1946" y="1858"/>
                    </a:lnTo>
                    <a:lnTo>
                      <a:pt x="1949" y="1860"/>
                    </a:lnTo>
                    <a:lnTo>
                      <a:pt x="1950" y="1862"/>
                    </a:lnTo>
                    <a:lnTo>
                      <a:pt x="1951" y="1862"/>
                    </a:lnTo>
                    <a:lnTo>
                      <a:pt x="1953" y="1864"/>
                    </a:lnTo>
                    <a:lnTo>
                      <a:pt x="1955" y="1864"/>
                    </a:lnTo>
                    <a:lnTo>
                      <a:pt x="1959" y="1865"/>
                    </a:lnTo>
                    <a:lnTo>
                      <a:pt x="1967" y="1860"/>
                    </a:lnTo>
                    <a:lnTo>
                      <a:pt x="1970" y="1860"/>
                    </a:lnTo>
                    <a:lnTo>
                      <a:pt x="1970" y="1858"/>
                    </a:lnTo>
                    <a:lnTo>
                      <a:pt x="1972" y="1858"/>
                    </a:lnTo>
                    <a:lnTo>
                      <a:pt x="1976" y="1860"/>
                    </a:lnTo>
                    <a:lnTo>
                      <a:pt x="1984" y="1858"/>
                    </a:lnTo>
                    <a:lnTo>
                      <a:pt x="1989" y="1854"/>
                    </a:lnTo>
                    <a:lnTo>
                      <a:pt x="1992" y="1854"/>
                    </a:lnTo>
                    <a:lnTo>
                      <a:pt x="1993" y="1854"/>
                    </a:lnTo>
                    <a:lnTo>
                      <a:pt x="1995" y="1853"/>
                    </a:lnTo>
                    <a:lnTo>
                      <a:pt x="1996" y="1853"/>
                    </a:lnTo>
                    <a:lnTo>
                      <a:pt x="1996" y="1853"/>
                    </a:lnTo>
                    <a:lnTo>
                      <a:pt x="1997" y="1853"/>
                    </a:lnTo>
                    <a:lnTo>
                      <a:pt x="1999" y="1854"/>
                    </a:lnTo>
                    <a:lnTo>
                      <a:pt x="2001" y="1854"/>
                    </a:lnTo>
                    <a:lnTo>
                      <a:pt x="2003" y="1854"/>
                    </a:lnTo>
                    <a:lnTo>
                      <a:pt x="2005" y="1853"/>
                    </a:lnTo>
                    <a:lnTo>
                      <a:pt x="2009" y="1853"/>
                    </a:lnTo>
                    <a:lnTo>
                      <a:pt x="2024" y="1855"/>
                    </a:lnTo>
                    <a:lnTo>
                      <a:pt x="2026" y="1853"/>
                    </a:lnTo>
                    <a:lnTo>
                      <a:pt x="2027" y="1852"/>
                    </a:lnTo>
                    <a:lnTo>
                      <a:pt x="2030" y="1852"/>
                    </a:lnTo>
                    <a:lnTo>
                      <a:pt x="2032" y="1853"/>
                    </a:lnTo>
                    <a:lnTo>
                      <a:pt x="2036" y="1854"/>
                    </a:lnTo>
                    <a:lnTo>
                      <a:pt x="2037" y="1853"/>
                    </a:lnTo>
                    <a:lnTo>
                      <a:pt x="2036" y="1851"/>
                    </a:lnTo>
                    <a:lnTo>
                      <a:pt x="2038" y="1848"/>
                    </a:lnTo>
                    <a:lnTo>
                      <a:pt x="2041" y="1848"/>
                    </a:lnTo>
                    <a:lnTo>
                      <a:pt x="2047" y="1849"/>
                    </a:lnTo>
                    <a:lnTo>
                      <a:pt x="2055" y="1846"/>
                    </a:lnTo>
                    <a:lnTo>
                      <a:pt x="2066" y="1838"/>
                    </a:lnTo>
                    <a:lnTo>
                      <a:pt x="2069" y="1836"/>
                    </a:lnTo>
                    <a:lnTo>
                      <a:pt x="2070" y="1835"/>
                    </a:lnTo>
                    <a:lnTo>
                      <a:pt x="2073" y="1832"/>
                    </a:lnTo>
                    <a:lnTo>
                      <a:pt x="2079" y="1828"/>
                    </a:lnTo>
                    <a:lnTo>
                      <a:pt x="2089" y="1817"/>
                    </a:lnTo>
                    <a:lnTo>
                      <a:pt x="2096" y="1811"/>
                    </a:lnTo>
                    <a:lnTo>
                      <a:pt x="2100" y="1805"/>
                    </a:lnTo>
                    <a:lnTo>
                      <a:pt x="2104" y="1800"/>
                    </a:lnTo>
                    <a:lnTo>
                      <a:pt x="2106" y="1795"/>
                    </a:lnTo>
                    <a:lnTo>
                      <a:pt x="2110" y="1791"/>
                    </a:lnTo>
                    <a:lnTo>
                      <a:pt x="2110" y="1788"/>
                    </a:lnTo>
                    <a:lnTo>
                      <a:pt x="2114" y="1783"/>
                    </a:lnTo>
                    <a:lnTo>
                      <a:pt x="2120" y="1776"/>
                    </a:lnTo>
                    <a:lnTo>
                      <a:pt x="2121" y="1776"/>
                    </a:lnTo>
                    <a:lnTo>
                      <a:pt x="2123" y="1775"/>
                    </a:lnTo>
                    <a:lnTo>
                      <a:pt x="2123" y="1774"/>
                    </a:lnTo>
                    <a:lnTo>
                      <a:pt x="2125" y="1772"/>
                    </a:lnTo>
                    <a:lnTo>
                      <a:pt x="2127" y="1770"/>
                    </a:lnTo>
                    <a:lnTo>
                      <a:pt x="2129" y="1768"/>
                    </a:lnTo>
                    <a:lnTo>
                      <a:pt x="2130" y="1767"/>
                    </a:lnTo>
                    <a:lnTo>
                      <a:pt x="2131" y="1763"/>
                    </a:lnTo>
                    <a:lnTo>
                      <a:pt x="2132" y="1758"/>
                    </a:lnTo>
                    <a:lnTo>
                      <a:pt x="2134" y="1748"/>
                    </a:lnTo>
                    <a:lnTo>
                      <a:pt x="2137" y="1734"/>
                    </a:lnTo>
                    <a:lnTo>
                      <a:pt x="2134" y="1737"/>
                    </a:lnTo>
                    <a:lnTo>
                      <a:pt x="2132" y="1735"/>
                    </a:lnTo>
                    <a:lnTo>
                      <a:pt x="2131" y="1733"/>
                    </a:lnTo>
                    <a:lnTo>
                      <a:pt x="2130" y="1733"/>
                    </a:lnTo>
                    <a:lnTo>
                      <a:pt x="2132" y="1732"/>
                    </a:lnTo>
                    <a:lnTo>
                      <a:pt x="2134" y="1727"/>
                    </a:lnTo>
                    <a:lnTo>
                      <a:pt x="2137" y="1725"/>
                    </a:lnTo>
                    <a:lnTo>
                      <a:pt x="2139" y="1724"/>
                    </a:lnTo>
                    <a:lnTo>
                      <a:pt x="2140" y="1723"/>
                    </a:lnTo>
                    <a:lnTo>
                      <a:pt x="2159" y="1715"/>
                    </a:lnTo>
                    <a:lnTo>
                      <a:pt x="2165" y="1712"/>
                    </a:lnTo>
                    <a:lnTo>
                      <a:pt x="2169" y="1707"/>
                    </a:lnTo>
                    <a:lnTo>
                      <a:pt x="2172" y="1702"/>
                    </a:lnTo>
                    <a:lnTo>
                      <a:pt x="2168" y="1703"/>
                    </a:lnTo>
                    <a:lnTo>
                      <a:pt x="2171" y="1692"/>
                    </a:lnTo>
                    <a:lnTo>
                      <a:pt x="2172" y="1690"/>
                    </a:lnTo>
                    <a:lnTo>
                      <a:pt x="2173" y="1689"/>
                    </a:lnTo>
                    <a:lnTo>
                      <a:pt x="2171" y="1685"/>
                    </a:lnTo>
                    <a:lnTo>
                      <a:pt x="2172" y="1678"/>
                    </a:lnTo>
                    <a:lnTo>
                      <a:pt x="2171" y="1676"/>
                    </a:lnTo>
                    <a:lnTo>
                      <a:pt x="2169" y="1678"/>
                    </a:lnTo>
                    <a:lnTo>
                      <a:pt x="2169" y="1682"/>
                    </a:lnTo>
                    <a:lnTo>
                      <a:pt x="2168" y="1678"/>
                    </a:lnTo>
                    <a:lnTo>
                      <a:pt x="2168" y="1676"/>
                    </a:lnTo>
                    <a:lnTo>
                      <a:pt x="2167" y="1669"/>
                    </a:lnTo>
                    <a:lnTo>
                      <a:pt x="2166" y="1666"/>
                    </a:lnTo>
                    <a:lnTo>
                      <a:pt x="2165" y="1661"/>
                    </a:lnTo>
                    <a:lnTo>
                      <a:pt x="2166" y="1660"/>
                    </a:lnTo>
                    <a:lnTo>
                      <a:pt x="2164" y="1657"/>
                    </a:lnTo>
                    <a:lnTo>
                      <a:pt x="2159" y="1651"/>
                    </a:lnTo>
                    <a:lnTo>
                      <a:pt x="2160" y="1646"/>
                    </a:lnTo>
                    <a:lnTo>
                      <a:pt x="2160" y="1644"/>
                    </a:lnTo>
                    <a:lnTo>
                      <a:pt x="2159" y="1642"/>
                    </a:lnTo>
                    <a:lnTo>
                      <a:pt x="2158" y="1641"/>
                    </a:lnTo>
                    <a:lnTo>
                      <a:pt x="2160" y="1642"/>
                    </a:lnTo>
                    <a:lnTo>
                      <a:pt x="2161" y="1644"/>
                    </a:lnTo>
                    <a:lnTo>
                      <a:pt x="2164" y="1643"/>
                    </a:lnTo>
                    <a:lnTo>
                      <a:pt x="2169" y="1639"/>
                    </a:lnTo>
                    <a:lnTo>
                      <a:pt x="2174" y="1633"/>
                    </a:lnTo>
                    <a:lnTo>
                      <a:pt x="2176" y="1632"/>
                    </a:lnTo>
                    <a:lnTo>
                      <a:pt x="2180" y="1629"/>
                    </a:lnTo>
                    <a:lnTo>
                      <a:pt x="2181" y="1630"/>
                    </a:lnTo>
                    <a:lnTo>
                      <a:pt x="2181" y="1627"/>
                    </a:lnTo>
                    <a:lnTo>
                      <a:pt x="2184" y="1627"/>
                    </a:lnTo>
                    <a:lnTo>
                      <a:pt x="2184" y="1625"/>
                    </a:lnTo>
                    <a:lnTo>
                      <a:pt x="2189" y="1621"/>
                    </a:lnTo>
                    <a:lnTo>
                      <a:pt x="2190" y="1617"/>
                    </a:lnTo>
                    <a:lnTo>
                      <a:pt x="2189" y="1616"/>
                    </a:lnTo>
                    <a:lnTo>
                      <a:pt x="2192" y="1617"/>
                    </a:lnTo>
                    <a:lnTo>
                      <a:pt x="2194" y="1614"/>
                    </a:lnTo>
                    <a:lnTo>
                      <a:pt x="2198" y="1612"/>
                    </a:lnTo>
                    <a:lnTo>
                      <a:pt x="2199" y="1610"/>
                    </a:lnTo>
                    <a:lnTo>
                      <a:pt x="2210" y="1606"/>
                    </a:lnTo>
                    <a:lnTo>
                      <a:pt x="2212" y="1606"/>
                    </a:lnTo>
                    <a:lnTo>
                      <a:pt x="2215" y="1604"/>
                    </a:lnTo>
                    <a:lnTo>
                      <a:pt x="2217" y="1604"/>
                    </a:lnTo>
                    <a:lnTo>
                      <a:pt x="2219" y="1604"/>
                    </a:lnTo>
                    <a:lnTo>
                      <a:pt x="2224" y="1600"/>
                    </a:lnTo>
                    <a:lnTo>
                      <a:pt x="2228" y="1597"/>
                    </a:lnTo>
                    <a:lnTo>
                      <a:pt x="2229" y="1593"/>
                    </a:lnTo>
                    <a:lnTo>
                      <a:pt x="2233" y="1592"/>
                    </a:lnTo>
                    <a:lnTo>
                      <a:pt x="2238" y="1584"/>
                    </a:lnTo>
                    <a:lnTo>
                      <a:pt x="2241" y="1581"/>
                    </a:lnTo>
                    <a:lnTo>
                      <a:pt x="2242" y="1579"/>
                    </a:lnTo>
                    <a:lnTo>
                      <a:pt x="2241" y="1577"/>
                    </a:lnTo>
                    <a:lnTo>
                      <a:pt x="2244" y="1571"/>
                    </a:lnTo>
                    <a:lnTo>
                      <a:pt x="2244" y="1569"/>
                    </a:lnTo>
                    <a:lnTo>
                      <a:pt x="2242" y="1569"/>
                    </a:lnTo>
                    <a:lnTo>
                      <a:pt x="2241" y="1566"/>
                    </a:lnTo>
                    <a:lnTo>
                      <a:pt x="2240" y="1564"/>
                    </a:lnTo>
                    <a:lnTo>
                      <a:pt x="2241" y="1561"/>
                    </a:lnTo>
                    <a:lnTo>
                      <a:pt x="2241" y="1558"/>
                    </a:lnTo>
                    <a:lnTo>
                      <a:pt x="2241" y="1555"/>
                    </a:lnTo>
                    <a:lnTo>
                      <a:pt x="2240" y="1555"/>
                    </a:lnTo>
                    <a:lnTo>
                      <a:pt x="2241" y="1549"/>
                    </a:lnTo>
                    <a:lnTo>
                      <a:pt x="2238" y="1547"/>
                    </a:lnTo>
                    <a:lnTo>
                      <a:pt x="2241" y="1545"/>
                    </a:lnTo>
                    <a:lnTo>
                      <a:pt x="2240" y="1541"/>
                    </a:lnTo>
                    <a:lnTo>
                      <a:pt x="2241" y="1539"/>
                    </a:lnTo>
                    <a:lnTo>
                      <a:pt x="2240" y="1537"/>
                    </a:lnTo>
                    <a:lnTo>
                      <a:pt x="2240" y="1531"/>
                    </a:lnTo>
                    <a:lnTo>
                      <a:pt x="2238" y="1529"/>
                    </a:lnTo>
                    <a:lnTo>
                      <a:pt x="2238" y="1527"/>
                    </a:lnTo>
                    <a:lnTo>
                      <a:pt x="2237" y="1524"/>
                    </a:lnTo>
                    <a:lnTo>
                      <a:pt x="2240" y="1522"/>
                    </a:lnTo>
                    <a:lnTo>
                      <a:pt x="2240" y="1514"/>
                    </a:lnTo>
                    <a:lnTo>
                      <a:pt x="2238" y="1513"/>
                    </a:lnTo>
                    <a:lnTo>
                      <a:pt x="2236" y="1510"/>
                    </a:lnTo>
                    <a:lnTo>
                      <a:pt x="2233" y="1507"/>
                    </a:lnTo>
                    <a:lnTo>
                      <a:pt x="2232" y="1509"/>
                    </a:lnTo>
                    <a:lnTo>
                      <a:pt x="2231" y="1506"/>
                    </a:lnTo>
                    <a:lnTo>
                      <a:pt x="2228" y="1506"/>
                    </a:lnTo>
                    <a:lnTo>
                      <a:pt x="2229" y="1503"/>
                    </a:lnTo>
                    <a:lnTo>
                      <a:pt x="2228" y="1498"/>
                    </a:lnTo>
                    <a:lnTo>
                      <a:pt x="2227" y="1496"/>
                    </a:lnTo>
                    <a:lnTo>
                      <a:pt x="2224" y="1490"/>
                    </a:lnTo>
                    <a:lnTo>
                      <a:pt x="2223" y="1485"/>
                    </a:lnTo>
                    <a:lnTo>
                      <a:pt x="2223" y="1483"/>
                    </a:lnTo>
                    <a:lnTo>
                      <a:pt x="2225" y="1479"/>
                    </a:lnTo>
                    <a:lnTo>
                      <a:pt x="2225" y="1478"/>
                    </a:lnTo>
                    <a:lnTo>
                      <a:pt x="2224" y="1476"/>
                    </a:lnTo>
                    <a:lnTo>
                      <a:pt x="2223" y="1476"/>
                    </a:lnTo>
                    <a:lnTo>
                      <a:pt x="2223" y="1471"/>
                    </a:lnTo>
                    <a:lnTo>
                      <a:pt x="2224" y="1469"/>
                    </a:lnTo>
                    <a:lnTo>
                      <a:pt x="2226" y="1466"/>
                    </a:lnTo>
                    <a:lnTo>
                      <a:pt x="2226" y="1464"/>
                    </a:lnTo>
                    <a:lnTo>
                      <a:pt x="2224" y="1462"/>
                    </a:lnTo>
                    <a:lnTo>
                      <a:pt x="2223" y="1462"/>
                    </a:lnTo>
                    <a:lnTo>
                      <a:pt x="2221" y="1460"/>
                    </a:lnTo>
                    <a:lnTo>
                      <a:pt x="2217" y="1455"/>
                    </a:lnTo>
                    <a:lnTo>
                      <a:pt x="2217" y="1453"/>
                    </a:lnTo>
                    <a:lnTo>
                      <a:pt x="2216" y="1451"/>
                    </a:lnTo>
                    <a:lnTo>
                      <a:pt x="2217" y="1446"/>
                    </a:lnTo>
                    <a:lnTo>
                      <a:pt x="2219" y="1441"/>
                    </a:lnTo>
                    <a:lnTo>
                      <a:pt x="2220" y="1437"/>
                    </a:lnTo>
                    <a:lnTo>
                      <a:pt x="2221" y="1435"/>
                    </a:lnTo>
                    <a:lnTo>
                      <a:pt x="2221" y="1433"/>
                    </a:lnTo>
                    <a:lnTo>
                      <a:pt x="2225" y="1432"/>
                    </a:lnTo>
                    <a:lnTo>
                      <a:pt x="2226" y="1428"/>
                    </a:lnTo>
                    <a:lnTo>
                      <a:pt x="2227" y="1426"/>
                    </a:lnTo>
                    <a:lnTo>
                      <a:pt x="2227" y="1424"/>
                    </a:lnTo>
                    <a:lnTo>
                      <a:pt x="2228" y="1424"/>
                    </a:lnTo>
                    <a:lnTo>
                      <a:pt x="2228" y="1422"/>
                    </a:lnTo>
                    <a:lnTo>
                      <a:pt x="2231" y="1420"/>
                    </a:lnTo>
                    <a:lnTo>
                      <a:pt x="2231" y="1418"/>
                    </a:lnTo>
                    <a:lnTo>
                      <a:pt x="2232" y="1416"/>
                    </a:lnTo>
                    <a:lnTo>
                      <a:pt x="2233" y="1415"/>
                    </a:lnTo>
                    <a:lnTo>
                      <a:pt x="2234" y="1412"/>
                    </a:lnTo>
                    <a:lnTo>
                      <a:pt x="2234" y="1411"/>
                    </a:lnTo>
                    <a:lnTo>
                      <a:pt x="2235" y="1409"/>
                    </a:lnTo>
                    <a:lnTo>
                      <a:pt x="2235" y="1407"/>
                    </a:lnTo>
                    <a:lnTo>
                      <a:pt x="2237" y="1403"/>
                    </a:lnTo>
                    <a:lnTo>
                      <a:pt x="2240" y="1403"/>
                    </a:lnTo>
                    <a:lnTo>
                      <a:pt x="2242" y="1402"/>
                    </a:lnTo>
                    <a:lnTo>
                      <a:pt x="2244" y="1400"/>
                    </a:lnTo>
                    <a:lnTo>
                      <a:pt x="2244" y="1399"/>
                    </a:lnTo>
                    <a:lnTo>
                      <a:pt x="2246" y="1394"/>
                    </a:lnTo>
                    <a:lnTo>
                      <a:pt x="2249" y="1395"/>
                    </a:lnTo>
                    <a:lnTo>
                      <a:pt x="2252" y="1394"/>
                    </a:lnTo>
                    <a:lnTo>
                      <a:pt x="2254" y="1392"/>
                    </a:lnTo>
                    <a:lnTo>
                      <a:pt x="2255" y="1389"/>
                    </a:lnTo>
                    <a:lnTo>
                      <a:pt x="2258" y="1386"/>
                    </a:lnTo>
                    <a:lnTo>
                      <a:pt x="2258" y="1385"/>
                    </a:lnTo>
                    <a:lnTo>
                      <a:pt x="2259" y="1382"/>
                    </a:lnTo>
                    <a:lnTo>
                      <a:pt x="2259" y="1381"/>
                    </a:lnTo>
                    <a:lnTo>
                      <a:pt x="2261" y="1381"/>
                    </a:lnTo>
                    <a:lnTo>
                      <a:pt x="2263" y="1378"/>
                    </a:lnTo>
                    <a:lnTo>
                      <a:pt x="2268" y="1373"/>
                    </a:lnTo>
                    <a:lnTo>
                      <a:pt x="2269" y="1372"/>
                    </a:lnTo>
                    <a:lnTo>
                      <a:pt x="2272" y="1368"/>
                    </a:lnTo>
                    <a:lnTo>
                      <a:pt x="2280" y="1360"/>
                    </a:lnTo>
                    <a:lnTo>
                      <a:pt x="2287" y="1353"/>
                    </a:lnTo>
                    <a:lnTo>
                      <a:pt x="2293" y="1349"/>
                    </a:lnTo>
                    <a:lnTo>
                      <a:pt x="2296" y="1347"/>
                    </a:lnTo>
                    <a:lnTo>
                      <a:pt x="2299" y="1345"/>
                    </a:lnTo>
                    <a:lnTo>
                      <a:pt x="2301" y="1343"/>
                    </a:lnTo>
                    <a:lnTo>
                      <a:pt x="2303" y="1342"/>
                    </a:lnTo>
                    <a:lnTo>
                      <a:pt x="2305" y="1341"/>
                    </a:lnTo>
                    <a:lnTo>
                      <a:pt x="2314" y="1335"/>
                    </a:lnTo>
                    <a:lnTo>
                      <a:pt x="2317" y="1333"/>
                    </a:lnTo>
                    <a:lnTo>
                      <a:pt x="2319" y="1332"/>
                    </a:lnTo>
                    <a:lnTo>
                      <a:pt x="2321" y="1329"/>
                    </a:lnTo>
                    <a:lnTo>
                      <a:pt x="2322" y="1329"/>
                    </a:lnTo>
                    <a:lnTo>
                      <a:pt x="2325" y="1325"/>
                    </a:lnTo>
                    <a:lnTo>
                      <a:pt x="2328" y="1322"/>
                    </a:lnTo>
                    <a:lnTo>
                      <a:pt x="2330" y="1321"/>
                    </a:lnTo>
                    <a:lnTo>
                      <a:pt x="2330" y="1319"/>
                    </a:lnTo>
                    <a:lnTo>
                      <a:pt x="2334" y="1316"/>
                    </a:lnTo>
                    <a:lnTo>
                      <a:pt x="2335" y="1315"/>
                    </a:lnTo>
                    <a:lnTo>
                      <a:pt x="2337" y="1313"/>
                    </a:lnTo>
                    <a:lnTo>
                      <a:pt x="2342" y="1308"/>
                    </a:lnTo>
                    <a:lnTo>
                      <a:pt x="2343" y="1305"/>
                    </a:lnTo>
                    <a:lnTo>
                      <a:pt x="2344" y="1302"/>
                    </a:lnTo>
                    <a:lnTo>
                      <a:pt x="2346" y="1300"/>
                    </a:lnTo>
                    <a:lnTo>
                      <a:pt x="2348" y="1297"/>
                    </a:lnTo>
                    <a:lnTo>
                      <a:pt x="2349" y="1295"/>
                    </a:lnTo>
                    <a:lnTo>
                      <a:pt x="2352" y="1292"/>
                    </a:lnTo>
                    <a:lnTo>
                      <a:pt x="2354" y="1289"/>
                    </a:lnTo>
                    <a:lnTo>
                      <a:pt x="2356" y="1284"/>
                    </a:lnTo>
                    <a:lnTo>
                      <a:pt x="2357" y="1279"/>
                    </a:lnTo>
                    <a:lnTo>
                      <a:pt x="2359" y="1275"/>
                    </a:lnTo>
                    <a:lnTo>
                      <a:pt x="2360" y="1273"/>
                    </a:lnTo>
                    <a:lnTo>
                      <a:pt x="2364" y="1267"/>
                    </a:lnTo>
                    <a:lnTo>
                      <a:pt x="2366" y="1264"/>
                    </a:lnTo>
                    <a:lnTo>
                      <a:pt x="2368" y="1262"/>
                    </a:lnTo>
                    <a:lnTo>
                      <a:pt x="2366" y="1261"/>
                    </a:lnTo>
                    <a:lnTo>
                      <a:pt x="2368" y="1259"/>
                    </a:lnTo>
                    <a:lnTo>
                      <a:pt x="2370" y="1257"/>
                    </a:lnTo>
                    <a:lnTo>
                      <a:pt x="2371" y="1254"/>
                    </a:lnTo>
                    <a:lnTo>
                      <a:pt x="2372" y="1254"/>
                    </a:lnTo>
                    <a:lnTo>
                      <a:pt x="2373" y="1252"/>
                    </a:lnTo>
                    <a:lnTo>
                      <a:pt x="2374" y="1249"/>
                    </a:lnTo>
                    <a:lnTo>
                      <a:pt x="2376" y="1246"/>
                    </a:lnTo>
                    <a:lnTo>
                      <a:pt x="2378" y="1244"/>
                    </a:lnTo>
                    <a:lnTo>
                      <a:pt x="2379" y="1241"/>
                    </a:lnTo>
                    <a:lnTo>
                      <a:pt x="2381" y="1239"/>
                    </a:lnTo>
                    <a:lnTo>
                      <a:pt x="2380" y="1237"/>
                    </a:lnTo>
                    <a:lnTo>
                      <a:pt x="2381" y="1231"/>
                    </a:lnTo>
                    <a:lnTo>
                      <a:pt x="2381" y="1229"/>
                    </a:lnTo>
                    <a:lnTo>
                      <a:pt x="2382" y="1227"/>
                    </a:lnTo>
                    <a:lnTo>
                      <a:pt x="2386" y="1225"/>
                    </a:lnTo>
                    <a:lnTo>
                      <a:pt x="2388" y="1227"/>
                    </a:lnTo>
                    <a:lnTo>
                      <a:pt x="2386" y="1225"/>
                    </a:lnTo>
                    <a:lnTo>
                      <a:pt x="2383" y="1225"/>
                    </a:lnTo>
                    <a:lnTo>
                      <a:pt x="2385" y="1223"/>
                    </a:lnTo>
                    <a:lnTo>
                      <a:pt x="2385" y="1220"/>
                    </a:lnTo>
                    <a:lnTo>
                      <a:pt x="2385" y="1218"/>
                    </a:lnTo>
                    <a:lnTo>
                      <a:pt x="2385" y="1214"/>
                    </a:lnTo>
                    <a:lnTo>
                      <a:pt x="2385" y="1212"/>
                    </a:lnTo>
                    <a:lnTo>
                      <a:pt x="2387" y="1206"/>
                    </a:lnTo>
                    <a:lnTo>
                      <a:pt x="2383" y="1205"/>
                    </a:lnTo>
                    <a:lnTo>
                      <a:pt x="2381" y="1204"/>
                    </a:lnTo>
                    <a:lnTo>
                      <a:pt x="2378" y="1204"/>
                    </a:lnTo>
                    <a:lnTo>
                      <a:pt x="2376" y="1207"/>
                    </a:lnTo>
                    <a:lnTo>
                      <a:pt x="2371" y="1211"/>
                    </a:lnTo>
                    <a:lnTo>
                      <a:pt x="2369" y="1211"/>
                    </a:lnTo>
                    <a:lnTo>
                      <a:pt x="2368" y="1211"/>
                    </a:lnTo>
                    <a:lnTo>
                      <a:pt x="2365" y="1211"/>
                    </a:lnTo>
                    <a:lnTo>
                      <a:pt x="2355" y="1214"/>
                    </a:lnTo>
                    <a:lnTo>
                      <a:pt x="2354" y="1214"/>
                    </a:lnTo>
                    <a:lnTo>
                      <a:pt x="2352" y="1213"/>
                    </a:lnTo>
                    <a:lnTo>
                      <a:pt x="2348" y="1213"/>
                    </a:lnTo>
                    <a:lnTo>
                      <a:pt x="2344" y="1215"/>
                    </a:lnTo>
                    <a:lnTo>
                      <a:pt x="2340" y="1215"/>
                    </a:lnTo>
                    <a:lnTo>
                      <a:pt x="2338" y="1216"/>
                    </a:lnTo>
                    <a:lnTo>
                      <a:pt x="2335" y="1215"/>
                    </a:lnTo>
                    <a:lnTo>
                      <a:pt x="2333" y="1215"/>
                    </a:lnTo>
                    <a:lnTo>
                      <a:pt x="2328" y="1218"/>
                    </a:lnTo>
                    <a:lnTo>
                      <a:pt x="2327" y="1219"/>
                    </a:lnTo>
                    <a:lnTo>
                      <a:pt x="2325" y="1221"/>
                    </a:lnTo>
                    <a:lnTo>
                      <a:pt x="2321" y="1221"/>
                    </a:lnTo>
                    <a:lnTo>
                      <a:pt x="2319" y="1221"/>
                    </a:lnTo>
                    <a:lnTo>
                      <a:pt x="2313" y="1220"/>
                    </a:lnTo>
                    <a:lnTo>
                      <a:pt x="2310" y="1220"/>
                    </a:lnTo>
                    <a:lnTo>
                      <a:pt x="2308" y="1222"/>
                    </a:lnTo>
                    <a:lnTo>
                      <a:pt x="2304" y="1223"/>
                    </a:lnTo>
                    <a:lnTo>
                      <a:pt x="2302" y="1224"/>
                    </a:lnTo>
                    <a:lnTo>
                      <a:pt x="2301" y="1225"/>
                    </a:lnTo>
                    <a:lnTo>
                      <a:pt x="2299" y="1225"/>
                    </a:lnTo>
                    <a:lnTo>
                      <a:pt x="2295" y="1225"/>
                    </a:lnTo>
                    <a:lnTo>
                      <a:pt x="2292" y="1225"/>
                    </a:lnTo>
                    <a:lnTo>
                      <a:pt x="2291" y="1224"/>
                    </a:lnTo>
                    <a:lnTo>
                      <a:pt x="2289" y="1224"/>
                    </a:lnTo>
                    <a:lnTo>
                      <a:pt x="2288" y="1223"/>
                    </a:lnTo>
                    <a:lnTo>
                      <a:pt x="2283" y="1219"/>
                    </a:lnTo>
                    <a:lnTo>
                      <a:pt x="2279" y="1213"/>
                    </a:lnTo>
                    <a:lnTo>
                      <a:pt x="2275" y="1210"/>
                    </a:lnTo>
                    <a:lnTo>
                      <a:pt x="2271" y="1210"/>
                    </a:lnTo>
                    <a:lnTo>
                      <a:pt x="2270" y="1210"/>
                    </a:lnTo>
                    <a:lnTo>
                      <a:pt x="2268" y="1210"/>
                    </a:lnTo>
                    <a:lnTo>
                      <a:pt x="2270" y="1207"/>
                    </a:lnTo>
                    <a:lnTo>
                      <a:pt x="2274" y="1206"/>
                    </a:lnTo>
                    <a:lnTo>
                      <a:pt x="2275" y="1206"/>
                    </a:lnTo>
                    <a:lnTo>
                      <a:pt x="2276" y="1205"/>
                    </a:lnTo>
                    <a:lnTo>
                      <a:pt x="2279" y="1204"/>
                    </a:lnTo>
                    <a:lnTo>
                      <a:pt x="2279" y="1202"/>
                    </a:lnTo>
                    <a:lnTo>
                      <a:pt x="2278" y="1199"/>
                    </a:lnTo>
                    <a:lnTo>
                      <a:pt x="2277" y="1196"/>
                    </a:lnTo>
                    <a:lnTo>
                      <a:pt x="2275" y="1194"/>
                    </a:lnTo>
                    <a:lnTo>
                      <a:pt x="2271" y="1191"/>
                    </a:lnTo>
                    <a:lnTo>
                      <a:pt x="2270" y="1189"/>
                    </a:lnTo>
                    <a:lnTo>
                      <a:pt x="2265" y="1184"/>
                    </a:lnTo>
                    <a:lnTo>
                      <a:pt x="2263" y="1181"/>
                    </a:lnTo>
                    <a:lnTo>
                      <a:pt x="2262" y="1180"/>
                    </a:lnTo>
                    <a:lnTo>
                      <a:pt x="2260" y="1179"/>
                    </a:lnTo>
                    <a:lnTo>
                      <a:pt x="2258" y="1178"/>
                    </a:lnTo>
                    <a:lnTo>
                      <a:pt x="2254" y="1176"/>
                    </a:lnTo>
                    <a:lnTo>
                      <a:pt x="2251" y="1170"/>
                    </a:lnTo>
                    <a:lnTo>
                      <a:pt x="2250" y="1169"/>
                    </a:lnTo>
                    <a:lnTo>
                      <a:pt x="2250" y="1168"/>
                    </a:lnTo>
                    <a:lnTo>
                      <a:pt x="2246" y="1167"/>
                    </a:lnTo>
                    <a:lnTo>
                      <a:pt x="2244" y="1165"/>
                    </a:lnTo>
                    <a:lnTo>
                      <a:pt x="2242" y="1163"/>
                    </a:lnTo>
                    <a:lnTo>
                      <a:pt x="2240" y="1162"/>
                    </a:lnTo>
                    <a:lnTo>
                      <a:pt x="2238" y="1162"/>
                    </a:lnTo>
                    <a:lnTo>
                      <a:pt x="2236" y="1162"/>
                    </a:lnTo>
                    <a:lnTo>
                      <a:pt x="2234" y="1162"/>
                    </a:lnTo>
                    <a:lnTo>
                      <a:pt x="2233" y="1159"/>
                    </a:lnTo>
                    <a:lnTo>
                      <a:pt x="2233" y="1156"/>
                    </a:lnTo>
                    <a:lnTo>
                      <a:pt x="2229" y="1155"/>
                    </a:lnTo>
                    <a:lnTo>
                      <a:pt x="2229" y="1159"/>
                    </a:lnTo>
                    <a:lnTo>
                      <a:pt x="2229" y="1161"/>
                    </a:lnTo>
                    <a:lnTo>
                      <a:pt x="2228" y="1159"/>
                    </a:lnTo>
                    <a:lnTo>
                      <a:pt x="2227" y="1155"/>
                    </a:lnTo>
                    <a:lnTo>
                      <a:pt x="2225" y="1154"/>
                    </a:lnTo>
                    <a:lnTo>
                      <a:pt x="2225" y="1153"/>
                    </a:lnTo>
                    <a:lnTo>
                      <a:pt x="2225" y="1152"/>
                    </a:lnTo>
                    <a:lnTo>
                      <a:pt x="2224" y="1150"/>
                    </a:lnTo>
                    <a:lnTo>
                      <a:pt x="2223" y="1147"/>
                    </a:lnTo>
                    <a:lnTo>
                      <a:pt x="2221" y="1143"/>
                    </a:lnTo>
                    <a:lnTo>
                      <a:pt x="2221" y="1142"/>
                    </a:lnTo>
                    <a:lnTo>
                      <a:pt x="2220" y="1139"/>
                    </a:lnTo>
                    <a:lnTo>
                      <a:pt x="2220" y="1137"/>
                    </a:lnTo>
                    <a:lnTo>
                      <a:pt x="2218" y="1129"/>
                    </a:lnTo>
                    <a:lnTo>
                      <a:pt x="2217" y="1127"/>
                    </a:lnTo>
                    <a:lnTo>
                      <a:pt x="2216" y="1125"/>
                    </a:lnTo>
                    <a:lnTo>
                      <a:pt x="2215" y="1122"/>
                    </a:lnTo>
                    <a:lnTo>
                      <a:pt x="2214" y="1119"/>
                    </a:lnTo>
                    <a:lnTo>
                      <a:pt x="2212" y="1119"/>
                    </a:lnTo>
                    <a:lnTo>
                      <a:pt x="2209" y="1117"/>
                    </a:lnTo>
                    <a:lnTo>
                      <a:pt x="2207" y="1114"/>
                    </a:lnTo>
                    <a:lnTo>
                      <a:pt x="2203" y="1111"/>
                    </a:lnTo>
                    <a:lnTo>
                      <a:pt x="2201" y="1110"/>
                    </a:lnTo>
                    <a:lnTo>
                      <a:pt x="2199" y="1109"/>
                    </a:lnTo>
                    <a:lnTo>
                      <a:pt x="2198" y="1107"/>
                    </a:lnTo>
                    <a:lnTo>
                      <a:pt x="2195" y="1099"/>
                    </a:lnTo>
                    <a:lnTo>
                      <a:pt x="2195" y="1095"/>
                    </a:lnTo>
                    <a:lnTo>
                      <a:pt x="2193" y="1088"/>
                    </a:lnTo>
                    <a:lnTo>
                      <a:pt x="2193" y="1086"/>
                    </a:lnTo>
                    <a:lnTo>
                      <a:pt x="2194" y="1083"/>
                    </a:lnTo>
                    <a:lnTo>
                      <a:pt x="2193" y="1075"/>
                    </a:lnTo>
                    <a:lnTo>
                      <a:pt x="2195" y="1076"/>
                    </a:lnTo>
                    <a:lnTo>
                      <a:pt x="2193" y="1074"/>
                    </a:lnTo>
                    <a:lnTo>
                      <a:pt x="2191" y="1071"/>
                    </a:lnTo>
                    <a:lnTo>
                      <a:pt x="2190" y="1068"/>
                    </a:lnTo>
                    <a:lnTo>
                      <a:pt x="2190" y="1062"/>
                    </a:lnTo>
                    <a:lnTo>
                      <a:pt x="2189" y="1060"/>
                    </a:lnTo>
                    <a:lnTo>
                      <a:pt x="2183" y="1057"/>
                    </a:lnTo>
                    <a:lnTo>
                      <a:pt x="2181" y="1053"/>
                    </a:lnTo>
                    <a:lnTo>
                      <a:pt x="2178" y="1053"/>
                    </a:lnTo>
                    <a:lnTo>
                      <a:pt x="2175" y="1052"/>
                    </a:lnTo>
                    <a:lnTo>
                      <a:pt x="2174" y="1049"/>
                    </a:lnTo>
                    <a:lnTo>
                      <a:pt x="2173" y="1047"/>
                    </a:lnTo>
                    <a:lnTo>
                      <a:pt x="2172" y="1045"/>
                    </a:lnTo>
                    <a:lnTo>
                      <a:pt x="2172" y="1042"/>
                    </a:lnTo>
                    <a:lnTo>
                      <a:pt x="2172" y="1041"/>
                    </a:lnTo>
                    <a:lnTo>
                      <a:pt x="2171" y="1036"/>
                    </a:lnTo>
                    <a:lnTo>
                      <a:pt x="2172" y="1034"/>
                    </a:lnTo>
                    <a:lnTo>
                      <a:pt x="2174" y="1034"/>
                    </a:lnTo>
                    <a:lnTo>
                      <a:pt x="2172" y="1033"/>
                    </a:lnTo>
                    <a:lnTo>
                      <a:pt x="2169" y="1030"/>
                    </a:lnTo>
                    <a:lnTo>
                      <a:pt x="2167" y="1027"/>
                    </a:lnTo>
                    <a:lnTo>
                      <a:pt x="2166" y="1025"/>
                    </a:lnTo>
                    <a:lnTo>
                      <a:pt x="2164" y="1022"/>
                    </a:lnTo>
                    <a:lnTo>
                      <a:pt x="2163" y="1019"/>
                    </a:lnTo>
                    <a:lnTo>
                      <a:pt x="2161" y="1016"/>
                    </a:lnTo>
                    <a:lnTo>
                      <a:pt x="2160" y="1015"/>
                    </a:lnTo>
                    <a:lnTo>
                      <a:pt x="2159" y="1011"/>
                    </a:lnTo>
                    <a:lnTo>
                      <a:pt x="2158" y="1009"/>
                    </a:lnTo>
                    <a:lnTo>
                      <a:pt x="2156" y="1007"/>
                    </a:lnTo>
                    <a:lnTo>
                      <a:pt x="2155" y="1004"/>
                    </a:lnTo>
                    <a:lnTo>
                      <a:pt x="2154" y="1001"/>
                    </a:lnTo>
                    <a:lnTo>
                      <a:pt x="2150" y="996"/>
                    </a:lnTo>
                    <a:lnTo>
                      <a:pt x="2149" y="993"/>
                    </a:lnTo>
                    <a:lnTo>
                      <a:pt x="2149" y="990"/>
                    </a:lnTo>
                    <a:lnTo>
                      <a:pt x="2148" y="988"/>
                    </a:lnTo>
                    <a:lnTo>
                      <a:pt x="2144" y="982"/>
                    </a:lnTo>
                    <a:lnTo>
                      <a:pt x="2144" y="980"/>
                    </a:lnTo>
                    <a:lnTo>
                      <a:pt x="2144" y="976"/>
                    </a:lnTo>
                    <a:lnTo>
                      <a:pt x="2141" y="973"/>
                    </a:lnTo>
                    <a:lnTo>
                      <a:pt x="2141" y="973"/>
                    </a:lnTo>
                    <a:lnTo>
                      <a:pt x="2140" y="973"/>
                    </a:lnTo>
                    <a:lnTo>
                      <a:pt x="2140" y="973"/>
                    </a:lnTo>
                    <a:lnTo>
                      <a:pt x="2138" y="970"/>
                    </a:lnTo>
                    <a:lnTo>
                      <a:pt x="2138" y="970"/>
                    </a:lnTo>
                    <a:lnTo>
                      <a:pt x="2137" y="968"/>
                    </a:lnTo>
                    <a:lnTo>
                      <a:pt x="2137" y="968"/>
                    </a:lnTo>
                    <a:lnTo>
                      <a:pt x="2137" y="968"/>
                    </a:lnTo>
                    <a:lnTo>
                      <a:pt x="2137" y="968"/>
                    </a:lnTo>
                    <a:lnTo>
                      <a:pt x="2137" y="967"/>
                    </a:lnTo>
                    <a:lnTo>
                      <a:pt x="2135" y="966"/>
                    </a:lnTo>
                    <a:lnTo>
                      <a:pt x="2131" y="960"/>
                    </a:lnTo>
                    <a:lnTo>
                      <a:pt x="2132" y="958"/>
                    </a:lnTo>
                    <a:lnTo>
                      <a:pt x="2131" y="956"/>
                    </a:lnTo>
                    <a:lnTo>
                      <a:pt x="2129" y="954"/>
                    </a:lnTo>
                    <a:lnTo>
                      <a:pt x="2129" y="953"/>
                    </a:lnTo>
                    <a:lnTo>
                      <a:pt x="2127" y="950"/>
                    </a:lnTo>
                    <a:lnTo>
                      <a:pt x="2130" y="947"/>
                    </a:lnTo>
                    <a:lnTo>
                      <a:pt x="2131" y="946"/>
                    </a:lnTo>
                    <a:lnTo>
                      <a:pt x="2131" y="946"/>
                    </a:lnTo>
                    <a:lnTo>
                      <a:pt x="2131" y="947"/>
                    </a:lnTo>
                    <a:lnTo>
                      <a:pt x="2132" y="948"/>
                    </a:lnTo>
                    <a:lnTo>
                      <a:pt x="2132" y="948"/>
                    </a:lnTo>
                    <a:lnTo>
                      <a:pt x="2132" y="949"/>
                    </a:lnTo>
                    <a:lnTo>
                      <a:pt x="2132" y="949"/>
                    </a:lnTo>
                    <a:lnTo>
                      <a:pt x="2132" y="951"/>
                    </a:lnTo>
                    <a:lnTo>
                      <a:pt x="2134" y="956"/>
                    </a:lnTo>
                    <a:lnTo>
                      <a:pt x="2135" y="957"/>
                    </a:lnTo>
                    <a:lnTo>
                      <a:pt x="2138" y="959"/>
                    </a:lnTo>
                    <a:lnTo>
                      <a:pt x="2139" y="960"/>
                    </a:lnTo>
                    <a:lnTo>
                      <a:pt x="2139" y="963"/>
                    </a:lnTo>
                    <a:lnTo>
                      <a:pt x="2140" y="965"/>
                    </a:lnTo>
                    <a:lnTo>
                      <a:pt x="2140" y="966"/>
                    </a:lnTo>
                    <a:lnTo>
                      <a:pt x="2140" y="967"/>
                    </a:lnTo>
                    <a:lnTo>
                      <a:pt x="2143" y="970"/>
                    </a:lnTo>
                    <a:lnTo>
                      <a:pt x="2144" y="971"/>
                    </a:lnTo>
                    <a:lnTo>
                      <a:pt x="2146" y="973"/>
                    </a:lnTo>
                    <a:lnTo>
                      <a:pt x="2149" y="976"/>
                    </a:lnTo>
                    <a:lnTo>
                      <a:pt x="2151" y="979"/>
                    </a:lnTo>
                    <a:lnTo>
                      <a:pt x="2154" y="979"/>
                    </a:lnTo>
                    <a:lnTo>
                      <a:pt x="2154" y="980"/>
                    </a:lnTo>
                    <a:lnTo>
                      <a:pt x="2154" y="979"/>
                    </a:lnTo>
                    <a:lnTo>
                      <a:pt x="2155" y="977"/>
                    </a:lnTo>
                    <a:lnTo>
                      <a:pt x="2155" y="977"/>
                    </a:lnTo>
                    <a:lnTo>
                      <a:pt x="2156" y="974"/>
                    </a:lnTo>
                    <a:lnTo>
                      <a:pt x="2156" y="974"/>
                    </a:lnTo>
                    <a:lnTo>
                      <a:pt x="2156" y="972"/>
                    </a:lnTo>
                    <a:lnTo>
                      <a:pt x="2157" y="970"/>
                    </a:lnTo>
                    <a:lnTo>
                      <a:pt x="2158" y="964"/>
                    </a:lnTo>
                    <a:lnTo>
                      <a:pt x="2159" y="962"/>
                    </a:lnTo>
                    <a:lnTo>
                      <a:pt x="2159" y="959"/>
                    </a:lnTo>
                    <a:lnTo>
                      <a:pt x="2160" y="956"/>
                    </a:lnTo>
                    <a:lnTo>
                      <a:pt x="2160" y="956"/>
                    </a:lnTo>
                    <a:lnTo>
                      <a:pt x="2163" y="954"/>
                    </a:lnTo>
                    <a:lnTo>
                      <a:pt x="2163" y="953"/>
                    </a:lnTo>
                    <a:lnTo>
                      <a:pt x="2164" y="953"/>
                    </a:lnTo>
                    <a:lnTo>
                      <a:pt x="2164" y="953"/>
                    </a:lnTo>
                    <a:lnTo>
                      <a:pt x="2164" y="955"/>
                    </a:lnTo>
                    <a:lnTo>
                      <a:pt x="2163" y="958"/>
                    </a:lnTo>
                    <a:lnTo>
                      <a:pt x="2163" y="960"/>
                    </a:lnTo>
                    <a:lnTo>
                      <a:pt x="2163" y="960"/>
                    </a:lnTo>
                    <a:lnTo>
                      <a:pt x="2161" y="965"/>
                    </a:lnTo>
                    <a:lnTo>
                      <a:pt x="2161" y="966"/>
                    </a:lnTo>
                    <a:lnTo>
                      <a:pt x="2159" y="972"/>
                    </a:lnTo>
                    <a:lnTo>
                      <a:pt x="2158" y="974"/>
                    </a:lnTo>
                    <a:lnTo>
                      <a:pt x="2159" y="975"/>
                    </a:lnTo>
                    <a:lnTo>
                      <a:pt x="2164" y="974"/>
                    </a:lnTo>
                    <a:lnTo>
                      <a:pt x="2167" y="974"/>
                    </a:lnTo>
                    <a:lnTo>
                      <a:pt x="2167" y="975"/>
                    </a:lnTo>
                    <a:lnTo>
                      <a:pt x="2169" y="979"/>
                    </a:lnTo>
                    <a:lnTo>
                      <a:pt x="2172" y="984"/>
                    </a:lnTo>
                    <a:lnTo>
                      <a:pt x="2175" y="987"/>
                    </a:lnTo>
                    <a:lnTo>
                      <a:pt x="2176" y="990"/>
                    </a:lnTo>
                    <a:lnTo>
                      <a:pt x="2181" y="996"/>
                    </a:lnTo>
                    <a:lnTo>
                      <a:pt x="2183" y="999"/>
                    </a:lnTo>
                    <a:lnTo>
                      <a:pt x="2183" y="1000"/>
                    </a:lnTo>
                    <a:lnTo>
                      <a:pt x="2185" y="1004"/>
                    </a:lnTo>
                    <a:lnTo>
                      <a:pt x="2188" y="1006"/>
                    </a:lnTo>
                    <a:lnTo>
                      <a:pt x="2186" y="1006"/>
                    </a:lnTo>
                    <a:lnTo>
                      <a:pt x="2190" y="1009"/>
                    </a:lnTo>
                    <a:lnTo>
                      <a:pt x="2191" y="1011"/>
                    </a:lnTo>
                    <a:lnTo>
                      <a:pt x="2193" y="1015"/>
                    </a:lnTo>
                    <a:lnTo>
                      <a:pt x="2194" y="1017"/>
                    </a:lnTo>
                    <a:lnTo>
                      <a:pt x="2195" y="1019"/>
                    </a:lnTo>
                    <a:lnTo>
                      <a:pt x="2193" y="1022"/>
                    </a:lnTo>
                    <a:lnTo>
                      <a:pt x="2195" y="1025"/>
                    </a:lnTo>
                    <a:lnTo>
                      <a:pt x="2198" y="1028"/>
                    </a:lnTo>
                    <a:lnTo>
                      <a:pt x="2201" y="1030"/>
                    </a:lnTo>
                    <a:lnTo>
                      <a:pt x="2203" y="1032"/>
                    </a:lnTo>
                    <a:lnTo>
                      <a:pt x="2207" y="1034"/>
                    </a:lnTo>
                    <a:lnTo>
                      <a:pt x="2211" y="1036"/>
                    </a:lnTo>
                    <a:lnTo>
                      <a:pt x="2212" y="1040"/>
                    </a:lnTo>
                    <a:lnTo>
                      <a:pt x="2215" y="1042"/>
                    </a:lnTo>
                    <a:lnTo>
                      <a:pt x="2215" y="1045"/>
                    </a:lnTo>
                    <a:lnTo>
                      <a:pt x="2216" y="1048"/>
                    </a:lnTo>
                    <a:lnTo>
                      <a:pt x="2218" y="1050"/>
                    </a:lnTo>
                    <a:lnTo>
                      <a:pt x="2219" y="1053"/>
                    </a:lnTo>
                    <a:lnTo>
                      <a:pt x="2219" y="1054"/>
                    </a:lnTo>
                    <a:lnTo>
                      <a:pt x="2220" y="1058"/>
                    </a:lnTo>
                    <a:lnTo>
                      <a:pt x="2219" y="1060"/>
                    </a:lnTo>
                    <a:lnTo>
                      <a:pt x="2219" y="1062"/>
                    </a:lnTo>
                    <a:lnTo>
                      <a:pt x="2219" y="1066"/>
                    </a:lnTo>
                    <a:lnTo>
                      <a:pt x="2220" y="1068"/>
                    </a:lnTo>
                    <a:lnTo>
                      <a:pt x="2221" y="1071"/>
                    </a:lnTo>
                    <a:lnTo>
                      <a:pt x="2220" y="1074"/>
                    </a:lnTo>
                    <a:lnTo>
                      <a:pt x="2221" y="1076"/>
                    </a:lnTo>
                    <a:lnTo>
                      <a:pt x="2224" y="1079"/>
                    </a:lnTo>
                    <a:lnTo>
                      <a:pt x="2227" y="1084"/>
                    </a:lnTo>
                    <a:lnTo>
                      <a:pt x="2231" y="1086"/>
                    </a:lnTo>
                    <a:lnTo>
                      <a:pt x="2235" y="1088"/>
                    </a:lnTo>
                    <a:lnTo>
                      <a:pt x="2237" y="1091"/>
                    </a:lnTo>
                    <a:lnTo>
                      <a:pt x="2243" y="1096"/>
                    </a:lnTo>
                    <a:lnTo>
                      <a:pt x="2249" y="1104"/>
                    </a:lnTo>
                    <a:lnTo>
                      <a:pt x="2250" y="1110"/>
                    </a:lnTo>
                    <a:lnTo>
                      <a:pt x="2250" y="1111"/>
                    </a:lnTo>
                    <a:lnTo>
                      <a:pt x="2252" y="1113"/>
                    </a:lnTo>
                    <a:lnTo>
                      <a:pt x="2253" y="1117"/>
                    </a:lnTo>
                    <a:lnTo>
                      <a:pt x="2254" y="1118"/>
                    </a:lnTo>
                    <a:lnTo>
                      <a:pt x="2255" y="1120"/>
                    </a:lnTo>
                    <a:lnTo>
                      <a:pt x="2259" y="1122"/>
                    </a:lnTo>
                    <a:lnTo>
                      <a:pt x="2261" y="1125"/>
                    </a:lnTo>
                    <a:lnTo>
                      <a:pt x="2263" y="1127"/>
                    </a:lnTo>
                    <a:lnTo>
                      <a:pt x="2265" y="1133"/>
                    </a:lnTo>
                    <a:lnTo>
                      <a:pt x="2266" y="1133"/>
                    </a:lnTo>
                    <a:lnTo>
                      <a:pt x="2267" y="1136"/>
                    </a:lnTo>
                    <a:lnTo>
                      <a:pt x="2270" y="1138"/>
                    </a:lnTo>
                    <a:lnTo>
                      <a:pt x="2271" y="1147"/>
                    </a:lnTo>
                    <a:lnTo>
                      <a:pt x="2270" y="1150"/>
                    </a:lnTo>
                    <a:lnTo>
                      <a:pt x="2269" y="1153"/>
                    </a:lnTo>
                    <a:lnTo>
                      <a:pt x="2270" y="1155"/>
                    </a:lnTo>
                    <a:lnTo>
                      <a:pt x="2271" y="1159"/>
                    </a:lnTo>
                    <a:lnTo>
                      <a:pt x="2268" y="1159"/>
                    </a:lnTo>
                    <a:lnTo>
                      <a:pt x="2268" y="1159"/>
                    </a:lnTo>
                    <a:lnTo>
                      <a:pt x="2271" y="1160"/>
                    </a:lnTo>
                    <a:lnTo>
                      <a:pt x="2272" y="1162"/>
                    </a:lnTo>
                    <a:lnTo>
                      <a:pt x="2272" y="1164"/>
                    </a:lnTo>
                    <a:lnTo>
                      <a:pt x="2274" y="1167"/>
                    </a:lnTo>
                    <a:lnTo>
                      <a:pt x="2274" y="1170"/>
                    </a:lnTo>
                    <a:lnTo>
                      <a:pt x="2275" y="1172"/>
                    </a:lnTo>
                    <a:lnTo>
                      <a:pt x="2275" y="1176"/>
                    </a:lnTo>
                    <a:lnTo>
                      <a:pt x="2277" y="1178"/>
                    </a:lnTo>
                    <a:lnTo>
                      <a:pt x="2277" y="1180"/>
                    </a:lnTo>
                    <a:lnTo>
                      <a:pt x="2277" y="1181"/>
                    </a:lnTo>
                    <a:lnTo>
                      <a:pt x="2277" y="1184"/>
                    </a:lnTo>
                    <a:lnTo>
                      <a:pt x="2277" y="1187"/>
                    </a:lnTo>
                    <a:lnTo>
                      <a:pt x="2280" y="1193"/>
                    </a:lnTo>
                    <a:lnTo>
                      <a:pt x="2280" y="1194"/>
                    </a:lnTo>
                    <a:lnTo>
                      <a:pt x="2284" y="1194"/>
                    </a:lnTo>
                    <a:lnTo>
                      <a:pt x="2286" y="1195"/>
                    </a:lnTo>
                    <a:lnTo>
                      <a:pt x="2292" y="1195"/>
                    </a:lnTo>
                    <a:lnTo>
                      <a:pt x="2294" y="1193"/>
                    </a:lnTo>
                    <a:lnTo>
                      <a:pt x="2297" y="1193"/>
                    </a:lnTo>
                    <a:lnTo>
                      <a:pt x="2300" y="1194"/>
                    </a:lnTo>
                    <a:lnTo>
                      <a:pt x="2300" y="1193"/>
                    </a:lnTo>
                    <a:lnTo>
                      <a:pt x="2301" y="1193"/>
                    </a:lnTo>
                    <a:lnTo>
                      <a:pt x="2301" y="1191"/>
                    </a:lnTo>
                    <a:lnTo>
                      <a:pt x="2301" y="1193"/>
                    </a:lnTo>
                    <a:lnTo>
                      <a:pt x="2301" y="1193"/>
                    </a:lnTo>
                    <a:lnTo>
                      <a:pt x="2301" y="1193"/>
                    </a:lnTo>
                    <a:lnTo>
                      <a:pt x="2302" y="1190"/>
                    </a:lnTo>
                    <a:lnTo>
                      <a:pt x="2305" y="1189"/>
                    </a:lnTo>
                    <a:lnTo>
                      <a:pt x="2309" y="1187"/>
                    </a:lnTo>
                    <a:lnTo>
                      <a:pt x="2311" y="1185"/>
                    </a:lnTo>
                    <a:lnTo>
                      <a:pt x="2313" y="1185"/>
                    </a:lnTo>
                    <a:lnTo>
                      <a:pt x="2317" y="1185"/>
                    </a:lnTo>
                    <a:lnTo>
                      <a:pt x="2319" y="1184"/>
                    </a:lnTo>
                    <a:lnTo>
                      <a:pt x="2321" y="1184"/>
                    </a:lnTo>
                    <a:lnTo>
                      <a:pt x="2325" y="1184"/>
                    </a:lnTo>
                    <a:lnTo>
                      <a:pt x="2327" y="1182"/>
                    </a:lnTo>
                    <a:lnTo>
                      <a:pt x="2330" y="1181"/>
                    </a:lnTo>
                    <a:lnTo>
                      <a:pt x="2333" y="1181"/>
                    </a:lnTo>
                    <a:lnTo>
                      <a:pt x="2335" y="1180"/>
                    </a:lnTo>
                    <a:lnTo>
                      <a:pt x="2337" y="1178"/>
                    </a:lnTo>
                    <a:lnTo>
                      <a:pt x="2340" y="1177"/>
                    </a:lnTo>
                    <a:lnTo>
                      <a:pt x="2343" y="1176"/>
                    </a:lnTo>
                    <a:lnTo>
                      <a:pt x="2345" y="1176"/>
                    </a:lnTo>
                    <a:lnTo>
                      <a:pt x="2348" y="1176"/>
                    </a:lnTo>
                    <a:lnTo>
                      <a:pt x="2349" y="1176"/>
                    </a:lnTo>
                    <a:lnTo>
                      <a:pt x="2351" y="1176"/>
                    </a:lnTo>
                    <a:lnTo>
                      <a:pt x="2354" y="1173"/>
                    </a:lnTo>
                    <a:lnTo>
                      <a:pt x="2356" y="1170"/>
                    </a:lnTo>
                    <a:lnTo>
                      <a:pt x="2359" y="1168"/>
                    </a:lnTo>
                    <a:lnTo>
                      <a:pt x="2364" y="1165"/>
                    </a:lnTo>
                    <a:lnTo>
                      <a:pt x="2366" y="1164"/>
                    </a:lnTo>
                    <a:lnTo>
                      <a:pt x="2369" y="1164"/>
                    </a:lnTo>
                    <a:lnTo>
                      <a:pt x="2372" y="1164"/>
                    </a:lnTo>
                    <a:lnTo>
                      <a:pt x="2378" y="1161"/>
                    </a:lnTo>
                    <a:lnTo>
                      <a:pt x="2379" y="1161"/>
                    </a:lnTo>
                    <a:lnTo>
                      <a:pt x="2382" y="1160"/>
                    </a:lnTo>
                    <a:lnTo>
                      <a:pt x="2385" y="1160"/>
                    </a:lnTo>
                    <a:lnTo>
                      <a:pt x="2385" y="1160"/>
                    </a:lnTo>
                    <a:lnTo>
                      <a:pt x="2388" y="1159"/>
                    </a:lnTo>
                    <a:lnTo>
                      <a:pt x="2390" y="1158"/>
                    </a:lnTo>
                    <a:lnTo>
                      <a:pt x="2391" y="1156"/>
                    </a:lnTo>
                    <a:lnTo>
                      <a:pt x="2396" y="1154"/>
                    </a:lnTo>
                    <a:lnTo>
                      <a:pt x="2398" y="1154"/>
                    </a:lnTo>
                    <a:lnTo>
                      <a:pt x="2399" y="1152"/>
                    </a:lnTo>
                    <a:lnTo>
                      <a:pt x="2399" y="1148"/>
                    </a:lnTo>
                    <a:lnTo>
                      <a:pt x="2399" y="1146"/>
                    </a:lnTo>
                    <a:lnTo>
                      <a:pt x="2400" y="1145"/>
                    </a:lnTo>
                    <a:lnTo>
                      <a:pt x="2403" y="1142"/>
                    </a:lnTo>
                    <a:lnTo>
                      <a:pt x="2404" y="1142"/>
                    </a:lnTo>
                    <a:lnTo>
                      <a:pt x="2410" y="1139"/>
                    </a:lnTo>
                    <a:lnTo>
                      <a:pt x="2411" y="1139"/>
                    </a:lnTo>
                    <a:lnTo>
                      <a:pt x="2412" y="1139"/>
                    </a:lnTo>
                    <a:lnTo>
                      <a:pt x="2412" y="1138"/>
                    </a:lnTo>
                    <a:lnTo>
                      <a:pt x="2415" y="1137"/>
                    </a:lnTo>
                    <a:lnTo>
                      <a:pt x="2417" y="1137"/>
                    </a:lnTo>
                    <a:lnTo>
                      <a:pt x="2420" y="1136"/>
                    </a:lnTo>
                    <a:lnTo>
                      <a:pt x="2423" y="1135"/>
                    </a:lnTo>
                    <a:lnTo>
                      <a:pt x="2425" y="1134"/>
                    </a:lnTo>
                    <a:lnTo>
                      <a:pt x="2425" y="1134"/>
                    </a:lnTo>
                    <a:lnTo>
                      <a:pt x="2431" y="1133"/>
                    </a:lnTo>
                    <a:lnTo>
                      <a:pt x="2434" y="1134"/>
                    </a:lnTo>
                    <a:lnTo>
                      <a:pt x="2437" y="1134"/>
                    </a:lnTo>
                    <a:lnTo>
                      <a:pt x="2439" y="1133"/>
                    </a:lnTo>
                    <a:lnTo>
                      <a:pt x="2441" y="1131"/>
                    </a:lnTo>
                    <a:lnTo>
                      <a:pt x="2442" y="1128"/>
                    </a:lnTo>
                    <a:lnTo>
                      <a:pt x="2441" y="1126"/>
                    </a:lnTo>
                    <a:lnTo>
                      <a:pt x="2444" y="1124"/>
                    </a:lnTo>
                    <a:lnTo>
                      <a:pt x="2446" y="1121"/>
                    </a:lnTo>
                    <a:lnTo>
                      <a:pt x="2456" y="1120"/>
                    </a:lnTo>
                    <a:lnTo>
                      <a:pt x="2458" y="1118"/>
                    </a:lnTo>
                    <a:lnTo>
                      <a:pt x="2459" y="1116"/>
                    </a:lnTo>
                    <a:lnTo>
                      <a:pt x="2461" y="1112"/>
                    </a:lnTo>
                    <a:lnTo>
                      <a:pt x="2462" y="1110"/>
                    </a:lnTo>
                    <a:lnTo>
                      <a:pt x="2463" y="1109"/>
                    </a:lnTo>
                    <a:lnTo>
                      <a:pt x="2468" y="1107"/>
                    </a:lnTo>
                    <a:lnTo>
                      <a:pt x="2472" y="1107"/>
                    </a:lnTo>
                    <a:lnTo>
                      <a:pt x="2473" y="1107"/>
                    </a:lnTo>
                    <a:lnTo>
                      <a:pt x="2476" y="1105"/>
                    </a:lnTo>
                    <a:lnTo>
                      <a:pt x="2476" y="1103"/>
                    </a:lnTo>
                    <a:lnTo>
                      <a:pt x="2476" y="1101"/>
                    </a:lnTo>
                    <a:lnTo>
                      <a:pt x="2475" y="1097"/>
                    </a:lnTo>
                    <a:lnTo>
                      <a:pt x="2475" y="1096"/>
                    </a:lnTo>
                    <a:lnTo>
                      <a:pt x="2476" y="1093"/>
                    </a:lnTo>
                    <a:lnTo>
                      <a:pt x="2476" y="1091"/>
                    </a:lnTo>
                    <a:lnTo>
                      <a:pt x="2476" y="1088"/>
                    </a:lnTo>
                    <a:lnTo>
                      <a:pt x="2480" y="1083"/>
                    </a:lnTo>
                    <a:lnTo>
                      <a:pt x="2482" y="1086"/>
                    </a:lnTo>
                    <a:lnTo>
                      <a:pt x="2485" y="1086"/>
                    </a:lnTo>
                    <a:lnTo>
                      <a:pt x="2487" y="1083"/>
                    </a:lnTo>
                    <a:lnTo>
                      <a:pt x="2489" y="1081"/>
                    </a:lnTo>
                    <a:lnTo>
                      <a:pt x="2491" y="1075"/>
                    </a:lnTo>
                    <a:lnTo>
                      <a:pt x="2494" y="1073"/>
                    </a:lnTo>
                    <a:lnTo>
                      <a:pt x="2497" y="1071"/>
                    </a:lnTo>
                    <a:lnTo>
                      <a:pt x="2499" y="1068"/>
                    </a:lnTo>
                    <a:lnTo>
                      <a:pt x="2500" y="1066"/>
                    </a:lnTo>
                    <a:lnTo>
                      <a:pt x="2501" y="1062"/>
                    </a:lnTo>
                    <a:lnTo>
                      <a:pt x="2504" y="1060"/>
                    </a:lnTo>
                    <a:lnTo>
                      <a:pt x="2504" y="1059"/>
                    </a:lnTo>
                    <a:lnTo>
                      <a:pt x="2505" y="1057"/>
                    </a:lnTo>
                    <a:lnTo>
                      <a:pt x="2504" y="1054"/>
                    </a:lnTo>
                    <a:lnTo>
                      <a:pt x="2501" y="1054"/>
                    </a:lnTo>
                    <a:lnTo>
                      <a:pt x="2498" y="1053"/>
                    </a:lnTo>
                    <a:lnTo>
                      <a:pt x="2497" y="1050"/>
                    </a:lnTo>
                    <a:lnTo>
                      <a:pt x="2493" y="1048"/>
                    </a:lnTo>
                    <a:lnTo>
                      <a:pt x="2492" y="1045"/>
                    </a:lnTo>
                    <a:lnTo>
                      <a:pt x="2490" y="1042"/>
                    </a:lnTo>
                    <a:lnTo>
                      <a:pt x="2488" y="1040"/>
                    </a:lnTo>
                    <a:lnTo>
                      <a:pt x="2482" y="1039"/>
                    </a:lnTo>
                    <a:lnTo>
                      <a:pt x="2480" y="1037"/>
                    </a:lnTo>
                    <a:lnTo>
                      <a:pt x="2476" y="1037"/>
                    </a:lnTo>
                    <a:lnTo>
                      <a:pt x="2473" y="1036"/>
                    </a:lnTo>
                    <a:lnTo>
                      <a:pt x="2472" y="1036"/>
                    </a:lnTo>
                    <a:lnTo>
                      <a:pt x="2468" y="1035"/>
                    </a:lnTo>
                    <a:lnTo>
                      <a:pt x="2466" y="1034"/>
                    </a:lnTo>
                    <a:lnTo>
                      <a:pt x="2464" y="1031"/>
                    </a:lnTo>
                    <a:lnTo>
                      <a:pt x="2462" y="1028"/>
                    </a:lnTo>
                    <a:lnTo>
                      <a:pt x="2459" y="1026"/>
                    </a:lnTo>
                    <a:lnTo>
                      <a:pt x="2458" y="1023"/>
                    </a:lnTo>
                    <a:lnTo>
                      <a:pt x="2457" y="1020"/>
                    </a:lnTo>
                    <a:lnTo>
                      <a:pt x="2457" y="1019"/>
                    </a:lnTo>
                    <a:lnTo>
                      <a:pt x="2457" y="1019"/>
                    </a:lnTo>
                    <a:lnTo>
                      <a:pt x="2456" y="1018"/>
                    </a:lnTo>
                    <a:lnTo>
                      <a:pt x="2457" y="1015"/>
                    </a:lnTo>
                    <a:lnTo>
                      <a:pt x="2457" y="1015"/>
                    </a:lnTo>
                    <a:lnTo>
                      <a:pt x="2456" y="1010"/>
                    </a:lnTo>
                    <a:lnTo>
                      <a:pt x="2455" y="1010"/>
                    </a:lnTo>
                    <a:lnTo>
                      <a:pt x="2457" y="1005"/>
                    </a:lnTo>
                    <a:lnTo>
                      <a:pt x="2456" y="1001"/>
                    </a:lnTo>
                    <a:lnTo>
                      <a:pt x="2457" y="999"/>
                    </a:lnTo>
                    <a:lnTo>
                      <a:pt x="2456" y="999"/>
                    </a:lnTo>
                    <a:lnTo>
                      <a:pt x="2455" y="1001"/>
                    </a:lnTo>
                    <a:lnTo>
                      <a:pt x="2453" y="1004"/>
                    </a:lnTo>
                    <a:lnTo>
                      <a:pt x="2451" y="1006"/>
                    </a:lnTo>
                    <a:lnTo>
                      <a:pt x="2446" y="1011"/>
                    </a:lnTo>
                    <a:lnTo>
                      <a:pt x="2446" y="1010"/>
                    </a:lnTo>
                    <a:lnTo>
                      <a:pt x="2445" y="1011"/>
                    </a:lnTo>
                    <a:lnTo>
                      <a:pt x="2445" y="1011"/>
                    </a:lnTo>
                    <a:lnTo>
                      <a:pt x="2445" y="1013"/>
                    </a:lnTo>
                    <a:lnTo>
                      <a:pt x="2442" y="1015"/>
                    </a:lnTo>
                    <a:lnTo>
                      <a:pt x="2442" y="1015"/>
                    </a:lnTo>
                    <a:lnTo>
                      <a:pt x="2442" y="1016"/>
                    </a:lnTo>
                    <a:lnTo>
                      <a:pt x="2442" y="1016"/>
                    </a:lnTo>
                    <a:lnTo>
                      <a:pt x="2439" y="1018"/>
                    </a:lnTo>
                    <a:lnTo>
                      <a:pt x="2438" y="1019"/>
                    </a:lnTo>
                    <a:lnTo>
                      <a:pt x="2438" y="1019"/>
                    </a:lnTo>
                    <a:lnTo>
                      <a:pt x="2438" y="1019"/>
                    </a:lnTo>
                    <a:lnTo>
                      <a:pt x="2438" y="1019"/>
                    </a:lnTo>
                    <a:lnTo>
                      <a:pt x="2436" y="1022"/>
                    </a:lnTo>
                    <a:lnTo>
                      <a:pt x="2433" y="1024"/>
                    </a:lnTo>
                    <a:lnTo>
                      <a:pt x="2432" y="1026"/>
                    </a:lnTo>
                    <a:lnTo>
                      <a:pt x="2428" y="1031"/>
                    </a:lnTo>
                    <a:lnTo>
                      <a:pt x="2425" y="1030"/>
                    </a:lnTo>
                    <a:lnTo>
                      <a:pt x="2425" y="1030"/>
                    </a:lnTo>
                    <a:lnTo>
                      <a:pt x="2425" y="1030"/>
                    </a:lnTo>
                    <a:lnTo>
                      <a:pt x="2423" y="1033"/>
                    </a:lnTo>
                    <a:lnTo>
                      <a:pt x="2420" y="1033"/>
                    </a:lnTo>
                    <a:lnTo>
                      <a:pt x="2417" y="1032"/>
                    </a:lnTo>
                    <a:lnTo>
                      <a:pt x="2416" y="1032"/>
                    </a:lnTo>
                    <a:lnTo>
                      <a:pt x="2412" y="1032"/>
                    </a:lnTo>
                    <a:lnTo>
                      <a:pt x="2411" y="1032"/>
                    </a:lnTo>
                    <a:lnTo>
                      <a:pt x="2408" y="1032"/>
                    </a:lnTo>
                    <a:lnTo>
                      <a:pt x="2407" y="1032"/>
                    </a:lnTo>
                    <a:lnTo>
                      <a:pt x="2405" y="1031"/>
                    </a:lnTo>
                    <a:lnTo>
                      <a:pt x="2403" y="1033"/>
                    </a:lnTo>
                    <a:lnTo>
                      <a:pt x="2396" y="1034"/>
                    </a:lnTo>
                    <a:lnTo>
                      <a:pt x="2394" y="1033"/>
                    </a:lnTo>
                    <a:lnTo>
                      <a:pt x="2394" y="1031"/>
                    </a:lnTo>
                    <a:lnTo>
                      <a:pt x="2391" y="1028"/>
                    </a:lnTo>
                    <a:lnTo>
                      <a:pt x="2391" y="1030"/>
                    </a:lnTo>
                    <a:lnTo>
                      <a:pt x="2388" y="1030"/>
                    </a:lnTo>
                    <a:lnTo>
                      <a:pt x="2388" y="1030"/>
                    </a:lnTo>
                    <a:lnTo>
                      <a:pt x="2388" y="1027"/>
                    </a:lnTo>
                    <a:lnTo>
                      <a:pt x="2387" y="1026"/>
                    </a:lnTo>
                    <a:lnTo>
                      <a:pt x="2386" y="1025"/>
                    </a:lnTo>
                    <a:lnTo>
                      <a:pt x="2389" y="1024"/>
                    </a:lnTo>
                    <a:lnTo>
                      <a:pt x="2389" y="1023"/>
                    </a:lnTo>
                    <a:lnTo>
                      <a:pt x="2389" y="1023"/>
                    </a:lnTo>
                    <a:lnTo>
                      <a:pt x="2391" y="1019"/>
                    </a:lnTo>
                    <a:lnTo>
                      <a:pt x="2391" y="1018"/>
                    </a:lnTo>
                    <a:lnTo>
                      <a:pt x="2391" y="1018"/>
                    </a:lnTo>
                    <a:lnTo>
                      <a:pt x="2391" y="1017"/>
                    </a:lnTo>
                    <a:lnTo>
                      <a:pt x="2391" y="1016"/>
                    </a:lnTo>
                    <a:lnTo>
                      <a:pt x="2390" y="1014"/>
                    </a:lnTo>
                    <a:lnTo>
                      <a:pt x="2389" y="1011"/>
                    </a:lnTo>
                    <a:lnTo>
                      <a:pt x="2391" y="1009"/>
                    </a:lnTo>
                    <a:lnTo>
                      <a:pt x="2391" y="1006"/>
                    </a:lnTo>
                    <a:lnTo>
                      <a:pt x="2390" y="1006"/>
                    </a:lnTo>
                    <a:lnTo>
                      <a:pt x="2389" y="1006"/>
                    </a:lnTo>
                    <a:lnTo>
                      <a:pt x="2388" y="1004"/>
                    </a:lnTo>
                    <a:lnTo>
                      <a:pt x="2385" y="1004"/>
                    </a:lnTo>
                    <a:lnTo>
                      <a:pt x="2382" y="1006"/>
                    </a:lnTo>
                    <a:lnTo>
                      <a:pt x="2382" y="1007"/>
                    </a:lnTo>
                    <a:lnTo>
                      <a:pt x="2381" y="1009"/>
                    </a:lnTo>
                    <a:lnTo>
                      <a:pt x="2381" y="1011"/>
                    </a:lnTo>
                    <a:lnTo>
                      <a:pt x="2380" y="1011"/>
                    </a:lnTo>
                    <a:lnTo>
                      <a:pt x="2380" y="1011"/>
                    </a:lnTo>
                    <a:lnTo>
                      <a:pt x="2380" y="1017"/>
                    </a:lnTo>
                    <a:lnTo>
                      <a:pt x="2381" y="1022"/>
                    </a:lnTo>
                    <a:lnTo>
                      <a:pt x="2381" y="1023"/>
                    </a:lnTo>
                    <a:lnTo>
                      <a:pt x="2380" y="1023"/>
                    </a:lnTo>
                    <a:lnTo>
                      <a:pt x="2380" y="1023"/>
                    </a:lnTo>
                    <a:lnTo>
                      <a:pt x="2379" y="1019"/>
                    </a:lnTo>
                    <a:lnTo>
                      <a:pt x="2378" y="1019"/>
                    </a:lnTo>
                    <a:lnTo>
                      <a:pt x="2378" y="1019"/>
                    </a:lnTo>
                    <a:lnTo>
                      <a:pt x="2376" y="1014"/>
                    </a:lnTo>
                    <a:lnTo>
                      <a:pt x="2371" y="1008"/>
                    </a:lnTo>
                    <a:lnTo>
                      <a:pt x="2371" y="1006"/>
                    </a:lnTo>
                    <a:lnTo>
                      <a:pt x="2370" y="1005"/>
                    </a:lnTo>
                    <a:lnTo>
                      <a:pt x="2369" y="1005"/>
                    </a:lnTo>
                    <a:lnTo>
                      <a:pt x="2369" y="1005"/>
                    </a:lnTo>
                    <a:lnTo>
                      <a:pt x="2370" y="1004"/>
                    </a:lnTo>
                    <a:lnTo>
                      <a:pt x="2370" y="1002"/>
                    </a:lnTo>
                    <a:lnTo>
                      <a:pt x="2372" y="1002"/>
                    </a:lnTo>
                    <a:lnTo>
                      <a:pt x="2372" y="1001"/>
                    </a:lnTo>
                    <a:lnTo>
                      <a:pt x="2372" y="1001"/>
                    </a:lnTo>
                    <a:lnTo>
                      <a:pt x="2371" y="998"/>
                    </a:lnTo>
                    <a:lnTo>
                      <a:pt x="2370" y="997"/>
                    </a:lnTo>
                    <a:lnTo>
                      <a:pt x="2370" y="994"/>
                    </a:lnTo>
                    <a:lnTo>
                      <a:pt x="2369" y="994"/>
                    </a:lnTo>
                    <a:lnTo>
                      <a:pt x="2370" y="993"/>
                    </a:lnTo>
                    <a:lnTo>
                      <a:pt x="2370" y="994"/>
                    </a:lnTo>
                    <a:lnTo>
                      <a:pt x="2370" y="994"/>
                    </a:lnTo>
                    <a:lnTo>
                      <a:pt x="2370" y="994"/>
                    </a:lnTo>
                    <a:lnTo>
                      <a:pt x="2371" y="996"/>
                    </a:lnTo>
                    <a:lnTo>
                      <a:pt x="2370" y="993"/>
                    </a:lnTo>
                    <a:lnTo>
                      <a:pt x="2370" y="993"/>
                    </a:lnTo>
                    <a:lnTo>
                      <a:pt x="2370" y="993"/>
                    </a:lnTo>
                    <a:lnTo>
                      <a:pt x="2369" y="992"/>
                    </a:lnTo>
                    <a:lnTo>
                      <a:pt x="2369" y="992"/>
                    </a:lnTo>
                    <a:lnTo>
                      <a:pt x="2369" y="992"/>
                    </a:lnTo>
                    <a:lnTo>
                      <a:pt x="2369" y="992"/>
                    </a:lnTo>
                    <a:lnTo>
                      <a:pt x="2368" y="992"/>
                    </a:lnTo>
                    <a:lnTo>
                      <a:pt x="2364" y="990"/>
                    </a:lnTo>
                    <a:lnTo>
                      <a:pt x="2364" y="990"/>
                    </a:lnTo>
                    <a:lnTo>
                      <a:pt x="2364" y="990"/>
                    </a:lnTo>
                    <a:lnTo>
                      <a:pt x="2363" y="988"/>
                    </a:lnTo>
                    <a:lnTo>
                      <a:pt x="2363" y="988"/>
                    </a:lnTo>
                    <a:lnTo>
                      <a:pt x="2361" y="988"/>
                    </a:lnTo>
                    <a:lnTo>
                      <a:pt x="2361" y="987"/>
                    </a:lnTo>
                    <a:lnTo>
                      <a:pt x="2360" y="987"/>
                    </a:lnTo>
                    <a:lnTo>
                      <a:pt x="2357" y="983"/>
                    </a:lnTo>
                    <a:lnTo>
                      <a:pt x="2357" y="982"/>
                    </a:lnTo>
                    <a:lnTo>
                      <a:pt x="2356" y="982"/>
                    </a:lnTo>
                    <a:lnTo>
                      <a:pt x="2356" y="982"/>
                    </a:lnTo>
                    <a:lnTo>
                      <a:pt x="2356" y="981"/>
                    </a:lnTo>
                    <a:lnTo>
                      <a:pt x="2355" y="981"/>
                    </a:lnTo>
                    <a:lnTo>
                      <a:pt x="2354" y="981"/>
                    </a:lnTo>
                    <a:lnTo>
                      <a:pt x="2354" y="981"/>
                    </a:lnTo>
                    <a:lnTo>
                      <a:pt x="2353" y="981"/>
                    </a:lnTo>
                    <a:lnTo>
                      <a:pt x="2353" y="979"/>
                    </a:lnTo>
                    <a:lnTo>
                      <a:pt x="2354" y="979"/>
                    </a:lnTo>
                    <a:lnTo>
                      <a:pt x="2354" y="979"/>
                    </a:lnTo>
                    <a:lnTo>
                      <a:pt x="2354" y="979"/>
                    </a:lnTo>
                    <a:lnTo>
                      <a:pt x="2354" y="977"/>
                    </a:lnTo>
                    <a:lnTo>
                      <a:pt x="2353" y="976"/>
                    </a:lnTo>
                    <a:lnTo>
                      <a:pt x="2353" y="975"/>
                    </a:lnTo>
                    <a:lnTo>
                      <a:pt x="2352" y="975"/>
                    </a:lnTo>
                    <a:lnTo>
                      <a:pt x="2349" y="970"/>
                    </a:lnTo>
                    <a:lnTo>
                      <a:pt x="2347" y="967"/>
                    </a:lnTo>
                    <a:lnTo>
                      <a:pt x="2347" y="964"/>
                    </a:lnTo>
                    <a:lnTo>
                      <a:pt x="2344" y="959"/>
                    </a:lnTo>
                    <a:lnTo>
                      <a:pt x="2344" y="959"/>
                    </a:lnTo>
                    <a:lnTo>
                      <a:pt x="2344" y="958"/>
                    </a:lnTo>
                    <a:lnTo>
                      <a:pt x="2343" y="956"/>
                    </a:lnTo>
                    <a:lnTo>
                      <a:pt x="2340" y="955"/>
                    </a:lnTo>
                    <a:lnTo>
                      <a:pt x="2339" y="953"/>
                    </a:lnTo>
                    <a:lnTo>
                      <a:pt x="2343" y="951"/>
                    </a:lnTo>
                    <a:lnTo>
                      <a:pt x="2344" y="951"/>
                    </a:lnTo>
                    <a:lnTo>
                      <a:pt x="2342" y="948"/>
                    </a:lnTo>
                    <a:lnTo>
                      <a:pt x="2342" y="947"/>
                    </a:lnTo>
                    <a:lnTo>
                      <a:pt x="2342" y="946"/>
                    </a:lnTo>
                    <a:lnTo>
                      <a:pt x="2342" y="943"/>
                    </a:lnTo>
                    <a:lnTo>
                      <a:pt x="2348" y="947"/>
                    </a:lnTo>
                    <a:lnTo>
                      <a:pt x="2349" y="946"/>
                    </a:lnTo>
                    <a:lnTo>
                      <a:pt x="2349" y="946"/>
                    </a:lnTo>
                    <a:lnTo>
                      <a:pt x="2351" y="946"/>
                    </a:lnTo>
                    <a:lnTo>
                      <a:pt x="2351" y="946"/>
                    </a:lnTo>
                    <a:lnTo>
                      <a:pt x="2351" y="945"/>
                    </a:lnTo>
                    <a:lnTo>
                      <a:pt x="2352" y="945"/>
                    </a:lnTo>
                    <a:lnTo>
                      <a:pt x="2354" y="945"/>
                    </a:lnTo>
                    <a:lnTo>
                      <a:pt x="2355" y="942"/>
                    </a:lnTo>
                    <a:lnTo>
                      <a:pt x="2354" y="940"/>
                    </a:lnTo>
                    <a:lnTo>
                      <a:pt x="2355" y="938"/>
                    </a:lnTo>
                    <a:lnTo>
                      <a:pt x="2356" y="938"/>
                    </a:lnTo>
                    <a:lnTo>
                      <a:pt x="2357" y="938"/>
                    </a:lnTo>
                    <a:lnTo>
                      <a:pt x="2355" y="940"/>
                    </a:lnTo>
                    <a:lnTo>
                      <a:pt x="2359" y="941"/>
                    </a:lnTo>
                    <a:lnTo>
                      <a:pt x="2361" y="943"/>
                    </a:lnTo>
                    <a:lnTo>
                      <a:pt x="2363" y="943"/>
                    </a:lnTo>
                    <a:lnTo>
                      <a:pt x="2363" y="945"/>
                    </a:lnTo>
                    <a:lnTo>
                      <a:pt x="2365" y="945"/>
                    </a:lnTo>
                    <a:lnTo>
                      <a:pt x="2368" y="942"/>
                    </a:lnTo>
                    <a:lnTo>
                      <a:pt x="2370" y="942"/>
                    </a:lnTo>
                    <a:lnTo>
                      <a:pt x="2370" y="942"/>
                    </a:lnTo>
                    <a:lnTo>
                      <a:pt x="2371" y="945"/>
                    </a:lnTo>
                    <a:lnTo>
                      <a:pt x="2371" y="946"/>
                    </a:lnTo>
                    <a:lnTo>
                      <a:pt x="2373" y="948"/>
                    </a:lnTo>
                    <a:lnTo>
                      <a:pt x="2373" y="948"/>
                    </a:lnTo>
                    <a:lnTo>
                      <a:pt x="2376" y="950"/>
                    </a:lnTo>
                    <a:lnTo>
                      <a:pt x="2376" y="951"/>
                    </a:lnTo>
                    <a:lnTo>
                      <a:pt x="2376" y="951"/>
                    </a:lnTo>
                    <a:lnTo>
                      <a:pt x="2379" y="954"/>
                    </a:lnTo>
                    <a:lnTo>
                      <a:pt x="2379" y="957"/>
                    </a:lnTo>
                    <a:lnTo>
                      <a:pt x="2378" y="958"/>
                    </a:lnTo>
                    <a:lnTo>
                      <a:pt x="2380" y="958"/>
                    </a:lnTo>
                    <a:lnTo>
                      <a:pt x="2381" y="960"/>
                    </a:lnTo>
                    <a:lnTo>
                      <a:pt x="2383" y="964"/>
                    </a:lnTo>
                    <a:lnTo>
                      <a:pt x="2385" y="966"/>
                    </a:lnTo>
                    <a:lnTo>
                      <a:pt x="2385" y="967"/>
                    </a:lnTo>
                    <a:lnTo>
                      <a:pt x="2386" y="971"/>
                    </a:lnTo>
                    <a:lnTo>
                      <a:pt x="2387" y="973"/>
                    </a:lnTo>
                    <a:lnTo>
                      <a:pt x="2388" y="975"/>
                    </a:lnTo>
                    <a:lnTo>
                      <a:pt x="2391" y="977"/>
                    </a:lnTo>
                    <a:lnTo>
                      <a:pt x="2394" y="977"/>
                    </a:lnTo>
                    <a:lnTo>
                      <a:pt x="2397" y="977"/>
                    </a:lnTo>
                    <a:lnTo>
                      <a:pt x="2399" y="980"/>
                    </a:lnTo>
                    <a:lnTo>
                      <a:pt x="2402" y="981"/>
                    </a:lnTo>
                    <a:lnTo>
                      <a:pt x="2405" y="982"/>
                    </a:lnTo>
                    <a:lnTo>
                      <a:pt x="2406" y="985"/>
                    </a:lnTo>
                    <a:lnTo>
                      <a:pt x="2408" y="987"/>
                    </a:lnTo>
                    <a:lnTo>
                      <a:pt x="2411" y="989"/>
                    </a:lnTo>
                    <a:lnTo>
                      <a:pt x="2414" y="989"/>
                    </a:lnTo>
                    <a:lnTo>
                      <a:pt x="2416" y="990"/>
                    </a:lnTo>
                    <a:lnTo>
                      <a:pt x="2416" y="991"/>
                    </a:lnTo>
                    <a:lnTo>
                      <a:pt x="2419" y="993"/>
                    </a:lnTo>
                    <a:lnTo>
                      <a:pt x="2422" y="994"/>
                    </a:lnTo>
                    <a:lnTo>
                      <a:pt x="2424" y="993"/>
                    </a:lnTo>
                    <a:lnTo>
                      <a:pt x="2427" y="994"/>
                    </a:lnTo>
                    <a:lnTo>
                      <a:pt x="2430" y="996"/>
                    </a:lnTo>
                    <a:lnTo>
                      <a:pt x="2432" y="997"/>
                    </a:lnTo>
                    <a:lnTo>
                      <a:pt x="2436" y="997"/>
                    </a:lnTo>
                    <a:lnTo>
                      <a:pt x="2438" y="996"/>
                    </a:lnTo>
                    <a:lnTo>
                      <a:pt x="2439" y="996"/>
                    </a:lnTo>
                    <a:lnTo>
                      <a:pt x="2441" y="993"/>
                    </a:lnTo>
                    <a:lnTo>
                      <a:pt x="2444" y="993"/>
                    </a:lnTo>
                    <a:lnTo>
                      <a:pt x="2446" y="991"/>
                    </a:lnTo>
                    <a:lnTo>
                      <a:pt x="2446" y="991"/>
                    </a:lnTo>
                    <a:lnTo>
                      <a:pt x="2448" y="990"/>
                    </a:lnTo>
                    <a:lnTo>
                      <a:pt x="2449" y="990"/>
                    </a:lnTo>
                    <a:lnTo>
                      <a:pt x="2451" y="989"/>
                    </a:lnTo>
                    <a:lnTo>
                      <a:pt x="2454" y="988"/>
                    </a:lnTo>
                    <a:lnTo>
                      <a:pt x="2457" y="988"/>
                    </a:lnTo>
                    <a:lnTo>
                      <a:pt x="2459" y="988"/>
                    </a:lnTo>
                    <a:lnTo>
                      <a:pt x="2463" y="988"/>
                    </a:lnTo>
                    <a:lnTo>
                      <a:pt x="2463" y="989"/>
                    </a:lnTo>
                    <a:lnTo>
                      <a:pt x="2465" y="992"/>
                    </a:lnTo>
                    <a:lnTo>
                      <a:pt x="2466" y="994"/>
                    </a:lnTo>
                    <a:lnTo>
                      <a:pt x="2466" y="997"/>
                    </a:lnTo>
                    <a:lnTo>
                      <a:pt x="2467" y="1000"/>
                    </a:lnTo>
                    <a:lnTo>
                      <a:pt x="2467" y="1002"/>
                    </a:lnTo>
                    <a:lnTo>
                      <a:pt x="2468" y="1006"/>
                    </a:lnTo>
                    <a:lnTo>
                      <a:pt x="2471" y="1008"/>
                    </a:lnTo>
                    <a:lnTo>
                      <a:pt x="2473" y="1008"/>
                    </a:lnTo>
                    <a:lnTo>
                      <a:pt x="2476" y="1010"/>
                    </a:lnTo>
                    <a:lnTo>
                      <a:pt x="2477" y="1009"/>
                    </a:lnTo>
                    <a:lnTo>
                      <a:pt x="2480" y="1011"/>
                    </a:lnTo>
                    <a:lnTo>
                      <a:pt x="2483" y="1011"/>
                    </a:lnTo>
                    <a:lnTo>
                      <a:pt x="2485" y="1010"/>
                    </a:lnTo>
                    <a:lnTo>
                      <a:pt x="2488" y="1011"/>
                    </a:lnTo>
                    <a:lnTo>
                      <a:pt x="2491" y="1011"/>
                    </a:lnTo>
                    <a:lnTo>
                      <a:pt x="2493" y="1014"/>
                    </a:lnTo>
                    <a:lnTo>
                      <a:pt x="2496" y="1013"/>
                    </a:lnTo>
                    <a:lnTo>
                      <a:pt x="2498" y="1013"/>
                    </a:lnTo>
                    <a:lnTo>
                      <a:pt x="2501" y="1014"/>
                    </a:lnTo>
                    <a:lnTo>
                      <a:pt x="2504" y="1014"/>
                    </a:lnTo>
                    <a:lnTo>
                      <a:pt x="2506" y="1014"/>
                    </a:lnTo>
                    <a:lnTo>
                      <a:pt x="2509" y="1014"/>
                    </a:lnTo>
                    <a:lnTo>
                      <a:pt x="2513" y="1015"/>
                    </a:lnTo>
                    <a:lnTo>
                      <a:pt x="2514" y="1013"/>
                    </a:lnTo>
                    <a:lnTo>
                      <a:pt x="2516" y="1015"/>
                    </a:lnTo>
                    <a:lnTo>
                      <a:pt x="2518" y="1016"/>
                    </a:lnTo>
                    <a:lnTo>
                      <a:pt x="2522" y="1016"/>
                    </a:lnTo>
                    <a:lnTo>
                      <a:pt x="2524" y="1018"/>
                    </a:lnTo>
                    <a:lnTo>
                      <a:pt x="2527" y="1016"/>
                    </a:lnTo>
                    <a:lnTo>
                      <a:pt x="2528" y="1016"/>
                    </a:lnTo>
                    <a:lnTo>
                      <a:pt x="2530" y="1016"/>
                    </a:lnTo>
                    <a:lnTo>
                      <a:pt x="2530" y="1018"/>
                    </a:lnTo>
                    <a:lnTo>
                      <a:pt x="2533" y="1017"/>
                    </a:lnTo>
                    <a:lnTo>
                      <a:pt x="2535" y="1016"/>
                    </a:lnTo>
                    <a:lnTo>
                      <a:pt x="2538" y="1017"/>
                    </a:lnTo>
                    <a:lnTo>
                      <a:pt x="2541" y="1016"/>
                    </a:lnTo>
                    <a:lnTo>
                      <a:pt x="2543" y="1015"/>
                    </a:lnTo>
                    <a:lnTo>
                      <a:pt x="2545" y="1016"/>
                    </a:lnTo>
                    <a:lnTo>
                      <a:pt x="2549" y="1016"/>
                    </a:lnTo>
                    <a:lnTo>
                      <a:pt x="2555" y="1016"/>
                    </a:lnTo>
                    <a:lnTo>
                      <a:pt x="2555" y="1014"/>
                    </a:lnTo>
                    <a:lnTo>
                      <a:pt x="2558" y="1014"/>
                    </a:lnTo>
                    <a:lnTo>
                      <a:pt x="2560" y="1015"/>
                    </a:lnTo>
                    <a:lnTo>
                      <a:pt x="2562" y="1013"/>
                    </a:lnTo>
                    <a:lnTo>
                      <a:pt x="2566" y="1015"/>
                    </a:lnTo>
                    <a:lnTo>
                      <a:pt x="2568" y="1015"/>
                    </a:lnTo>
                    <a:lnTo>
                      <a:pt x="2572" y="1015"/>
                    </a:lnTo>
                    <a:lnTo>
                      <a:pt x="2577" y="1015"/>
                    </a:lnTo>
                    <a:lnTo>
                      <a:pt x="2581" y="1014"/>
                    </a:lnTo>
                    <a:lnTo>
                      <a:pt x="2584" y="1015"/>
                    </a:lnTo>
                    <a:lnTo>
                      <a:pt x="2590" y="1013"/>
                    </a:lnTo>
                    <a:lnTo>
                      <a:pt x="2592" y="1013"/>
                    </a:lnTo>
                    <a:lnTo>
                      <a:pt x="2594" y="1013"/>
                    </a:lnTo>
                    <a:lnTo>
                      <a:pt x="2592" y="1011"/>
                    </a:lnTo>
                    <a:lnTo>
                      <a:pt x="2594" y="1010"/>
                    </a:lnTo>
                    <a:lnTo>
                      <a:pt x="2599" y="1016"/>
                    </a:lnTo>
                    <a:lnTo>
                      <a:pt x="2598" y="1019"/>
                    </a:lnTo>
                    <a:lnTo>
                      <a:pt x="2598" y="1020"/>
                    </a:lnTo>
                    <a:lnTo>
                      <a:pt x="2601" y="1022"/>
                    </a:lnTo>
                    <a:lnTo>
                      <a:pt x="2603" y="1023"/>
                    </a:lnTo>
                    <a:lnTo>
                      <a:pt x="2604" y="1025"/>
                    </a:lnTo>
                    <a:lnTo>
                      <a:pt x="2605" y="1027"/>
                    </a:lnTo>
                    <a:lnTo>
                      <a:pt x="2607" y="1032"/>
                    </a:lnTo>
                    <a:lnTo>
                      <a:pt x="2610" y="1033"/>
                    </a:lnTo>
                    <a:lnTo>
                      <a:pt x="2609" y="1034"/>
                    </a:lnTo>
                    <a:lnTo>
                      <a:pt x="2610" y="1035"/>
                    </a:lnTo>
                    <a:lnTo>
                      <a:pt x="2611" y="1035"/>
                    </a:lnTo>
                    <a:lnTo>
                      <a:pt x="2611" y="1036"/>
                    </a:lnTo>
                    <a:lnTo>
                      <a:pt x="2613" y="1035"/>
                    </a:lnTo>
                    <a:lnTo>
                      <a:pt x="2615" y="1035"/>
                    </a:lnTo>
                    <a:lnTo>
                      <a:pt x="2615" y="1035"/>
                    </a:lnTo>
                    <a:lnTo>
                      <a:pt x="2616" y="1035"/>
                    </a:lnTo>
                    <a:lnTo>
                      <a:pt x="2619" y="1037"/>
                    </a:lnTo>
                    <a:lnTo>
                      <a:pt x="2619" y="1040"/>
                    </a:lnTo>
                    <a:lnTo>
                      <a:pt x="2622" y="1037"/>
                    </a:lnTo>
                    <a:lnTo>
                      <a:pt x="2625" y="1036"/>
                    </a:lnTo>
                    <a:lnTo>
                      <a:pt x="2627" y="1036"/>
                    </a:lnTo>
                    <a:lnTo>
                      <a:pt x="2624" y="1037"/>
                    </a:lnTo>
                    <a:lnTo>
                      <a:pt x="2621" y="1040"/>
                    </a:lnTo>
                    <a:lnTo>
                      <a:pt x="2622" y="1042"/>
                    </a:lnTo>
                    <a:lnTo>
                      <a:pt x="2624" y="1044"/>
                    </a:lnTo>
                    <a:lnTo>
                      <a:pt x="2625" y="1045"/>
                    </a:lnTo>
                    <a:lnTo>
                      <a:pt x="2627" y="1048"/>
                    </a:lnTo>
                    <a:lnTo>
                      <a:pt x="2629" y="1049"/>
                    </a:lnTo>
                    <a:lnTo>
                      <a:pt x="2633" y="1050"/>
                    </a:lnTo>
                    <a:lnTo>
                      <a:pt x="2635" y="1051"/>
                    </a:lnTo>
                    <a:lnTo>
                      <a:pt x="2637" y="1052"/>
                    </a:lnTo>
                    <a:lnTo>
                      <a:pt x="2641" y="1050"/>
                    </a:lnTo>
                    <a:lnTo>
                      <a:pt x="2643" y="1050"/>
                    </a:lnTo>
                    <a:lnTo>
                      <a:pt x="2646" y="1049"/>
                    </a:lnTo>
                    <a:lnTo>
                      <a:pt x="2649" y="1049"/>
                    </a:lnTo>
                    <a:lnTo>
                      <a:pt x="2650" y="1047"/>
                    </a:lnTo>
                    <a:lnTo>
                      <a:pt x="2650" y="1049"/>
                    </a:lnTo>
                    <a:lnTo>
                      <a:pt x="2650" y="1049"/>
                    </a:lnTo>
                    <a:lnTo>
                      <a:pt x="2647" y="1051"/>
                    </a:lnTo>
                    <a:lnTo>
                      <a:pt x="2646" y="1054"/>
                    </a:lnTo>
                    <a:lnTo>
                      <a:pt x="2643" y="1054"/>
                    </a:lnTo>
                    <a:lnTo>
                      <a:pt x="2641" y="1057"/>
                    </a:lnTo>
                    <a:lnTo>
                      <a:pt x="2638" y="1058"/>
                    </a:lnTo>
                    <a:lnTo>
                      <a:pt x="2635" y="1058"/>
                    </a:lnTo>
                    <a:lnTo>
                      <a:pt x="2633" y="1059"/>
                    </a:lnTo>
                    <a:lnTo>
                      <a:pt x="2630" y="1056"/>
                    </a:lnTo>
                    <a:lnTo>
                      <a:pt x="2629" y="1058"/>
                    </a:lnTo>
                    <a:lnTo>
                      <a:pt x="2630" y="1060"/>
                    </a:lnTo>
                    <a:lnTo>
                      <a:pt x="2633" y="1062"/>
                    </a:lnTo>
                    <a:lnTo>
                      <a:pt x="2635" y="1066"/>
                    </a:lnTo>
                    <a:lnTo>
                      <a:pt x="2637" y="1068"/>
                    </a:lnTo>
                    <a:lnTo>
                      <a:pt x="2638" y="1068"/>
                    </a:lnTo>
                    <a:lnTo>
                      <a:pt x="2641" y="1070"/>
                    </a:lnTo>
                    <a:lnTo>
                      <a:pt x="2641" y="1071"/>
                    </a:lnTo>
                    <a:lnTo>
                      <a:pt x="2643" y="1074"/>
                    </a:lnTo>
                    <a:lnTo>
                      <a:pt x="2646" y="1076"/>
                    </a:lnTo>
                    <a:lnTo>
                      <a:pt x="2649" y="1078"/>
                    </a:lnTo>
                    <a:lnTo>
                      <a:pt x="2651" y="1079"/>
                    </a:lnTo>
                    <a:lnTo>
                      <a:pt x="2653" y="1081"/>
                    </a:lnTo>
                    <a:lnTo>
                      <a:pt x="2656" y="1081"/>
                    </a:lnTo>
                    <a:lnTo>
                      <a:pt x="2659" y="1081"/>
                    </a:lnTo>
                    <a:lnTo>
                      <a:pt x="2662" y="1079"/>
                    </a:lnTo>
                    <a:lnTo>
                      <a:pt x="2664" y="1077"/>
                    </a:lnTo>
                    <a:lnTo>
                      <a:pt x="2667" y="1076"/>
                    </a:lnTo>
                    <a:lnTo>
                      <a:pt x="2670" y="1075"/>
                    </a:lnTo>
                    <a:lnTo>
                      <a:pt x="2670" y="1075"/>
                    </a:lnTo>
                    <a:lnTo>
                      <a:pt x="2672" y="1073"/>
                    </a:lnTo>
                    <a:lnTo>
                      <a:pt x="2672" y="1071"/>
                    </a:lnTo>
                    <a:lnTo>
                      <a:pt x="2675" y="1069"/>
                    </a:lnTo>
                    <a:lnTo>
                      <a:pt x="2673" y="1066"/>
                    </a:lnTo>
                    <a:lnTo>
                      <a:pt x="2671" y="1065"/>
                    </a:lnTo>
                    <a:lnTo>
                      <a:pt x="2672" y="1062"/>
                    </a:lnTo>
                    <a:lnTo>
                      <a:pt x="2675" y="1061"/>
                    </a:lnTo>
                    <a:lnTo>
                      <a:pt x="2673" y="1059"/>
                    </a:lnTo>
                    <a:lnTo>
                      <a:pt x="2673" y="1059"/>
                    </a:lnTo>
                    <a:lnTo>
                      <a:pt x="2676" y="1058"/>
                    </a:lnTo>
                    <a:lnTo>
                      <a:pt x="2678" y="1059"/>
                    </a:lnTo>
                    <a:lnTo>
                      <a:pt x="2680" y="1059"/>
                    </a:lnTo>
                    <a:lnTo>
                      <a:pt x="2684" y="1059"/>
                    </a:lnTo>
                    <a:lnTo>
                      <a:pt x="2684" y="1059"/>
                    </a:lnTo>
                    <a:lnTo>
                      <a:pt x="2680" y="1060"/>
                    </a:lnTo>
                    <a:lnTo>
                      <a:pt x="2678" y="1061"/>
                    </a:lnTo>
                    <a:lnTo>
                      <a:pt x="2678" y="1064"/>
                    </a:lnTo>
                    <a:lnTo>
                      <a:pt x="2680" y="1062"/>
                    </a:lnTo>
                    <a:lnTo>
                      <a:pt x="2678" y="1066"/>
                    </a:lnTo>
                    <a:lnTo>
                      <a:pt x="2679" y="1067"/>
                    </a:lnTo>
                    <a:lnTo>
                      <a:pt x="2681" y="1067"/>
                    </a:lnTo>
                    <a:lnTo>
                      <a:pt x="2685" y="1067"/>
                    </a:lnTo>
                    <a:lnTo>
                      <a:pt x="2685" y="1067"/>
                    </a:lnTo>
                    <a:lnTo>
                      <a:pt x="2683" y="1068"/>
                    </a:lnTo>
                    <a:lnTo>
                      <a:pt x="2680" y="1069"/>
                    </a:lnTo>
                    <a:lnTo>
                      <a:pt x="2679" y="1073"/>
                    </a:lnTo>
                    <a:lnTo>
                      <a:pt x="2680" y="1075"/>
                    </a:lnTo>
                    <a:lnTo>
                      <a:pt x="2680" y="1076"/>
                    </a:lnTo>
                    <a:lnTo>
                      <a:pt x="2681" y="1075"/>
                    </a:lnTo>
                    <a:lnTo>
                      <a:pt x="2683" y="1078"/>
                    </a:lnTo>
                    <a:lnTo>
                      <a:pt x="2684" y="1081"/>
                    </a:lnTo>
                    <a:lnTo>
                      <a:pt x="2683" y="1083"/>
                    </a:lnTo>
                    <a:lnTo>
                      <a:pt x="2681" y="1086"/>
                    </a:lnTo>
                    <a:lnTo>
                      <a:pt x="2681" y="1087"/>
                    </a:lnTo>
                    <a:lnTo>
                      <a:pt x="2680" y="1087"/>
                    </a:lnTo>
                    <a:lnTo>
                      <a:pt x="2680" y="1090"/>
                    </a:lnTo>
                    <a:lnTo>
                      <a:pt x="2680" y="1091"/>
                    </a:lnTo>
                    <a:lnTo>
                      <a:pt x="2680" y="1093"/>
                    </a:lnTo>
                    <a:lnTo>
                      <a:pt x="2680" y="1095"/>
                    </a:lnTo>
                    <a:lnTo>
                      <a:pt x="2683" y="1097"/>
                    </a:lnTo>
                    <a:lnTo>
                      <a:pt x="2681" y="1097"/>
                    </a:lnTo>
                    <a:lnTo>
                      <a:pt x="2683" y="1101"/>
                    </a:lnTo>
                    <a:lnTo>
                      <a:pt x="2683" y="1101"/>
                    </a:lnTo>
                    <a:lnTo>
                      <a:pt x="2685" y="1102"/>
                    </a:lnTo>
                    <a:lnTo>
                      <a:pt x="2685" y="1102"/>
                    </a:lnTo>
                    <a:lnTo>
                      <a:pt x="2685" y="1102"/>
                    </a:lnTo>
                    <a:lnTo>
                      <a:pt x="2683" y="1101"/>
                    </a:lnTo>
                    <a:lnTo>
                      <a:pt x="2683" y="1101"/>
                    </a:lnTo>
                    <a:lnTo>
                      <a:pt x="2681" y="1103"/>
                    </a:lnTo>
                    <a:lnTo>
                      <a:pt x="2683" y="1105"/>
                    </a:lnTo>
                    <a:lnTo>
                      <a:pt x="2684" y="1104"/>
                    </a:lnTo>
                    <a:lnTo>
                      <a:pt x="2685" y="1104"/>
                    </a:lnTo>
                    <a:lnTo>
                      <a:pt x="2685" y="1105"/>
                    </a:lnTo>
                    <a:lnTo>
                      <a:pt x="2683" y="1108"/>
                    </a:lnTo>
                    <a:lnTo>
                      <a:pt x="2683" y="1109"/>
                    </a:lnTo>
                    <a:lnTo>
                      <a:pt x="2684" y="1112"/>
                    </a:lnTo>
                    <a:lnTo>
                      <a:pt x="2684" y="1114"/>
                    </a:lnTo>
                    <a:lnTo>
                      <a:pt x="2684" y="1118"/>
                    </a:lnTo>
                    <a:lnTo>
                      <a:pt x="2685" y="1120"/>
                    </a:lnTo>
                    <a:lnTo>
                      <a:pt x="2686" y="1122"/>
                    </a:lnTo>
                    <a:lnTo>
                      <a:pt x="2687" y="1126"/>
                    </a:lnTo>
                    <a:lnTo>
                      <a:pt x="2687" y="1128"/>
                    </a:lnTo>
                    <a:lnTo>
                      <a:pt x="2687" y="1129"/>
                    </a:lnTo>
                    <a:lnTo>
                      <a:pt x="2688" y="1133"/>
                    </a:lnTo>
                    <a:lnTo>
                      <a:pt x="2688" y="1135"/>
                    </a:lnTo>
                    <a:lnTo>
                      <a:pt x="2688" y="1137"/>
                    </a:lnTo>
                    <a:lnTo>
                      <a:pt x="2689" y="1139"/>
                    </a:lnTo>
                    <a:lnTo>
                      <a:pt x="2689" y="1142"/>
                    </a:lnTo>
                    <a:lnTo>
                      <a:pt x="2690" y="1145"/>
                    </a:lnTo>
                    <a:lnTo>
                      <a:pt x="2690" y="1147"/>
                    </a:lnTo>
                    <a:lnTo>
                      <a:pt x="2693" y="1151"/>
                    </a:lnTo>
                    <a:lnTo>
                      <a:pt x="2694" y="1152"/>
                    </a:lnTo>
                    <a:lnTo>
                      <a:pt x="2694" y="1152"/>
                    </a:lnTo>
                    <a:lnTo>
                      <a:pt x="2696" y="1154"/>
                    </a:lnTo>
                    <a:lnTo>
                      <a:pt x="2695" y="1155"/>
                    </a:lnTo>
                    <a:lnTo>
                      <a:pt x="2697" y="1159"/>
                    </a:lnTo>
                    <a:lnTo>
                      <a:pt x="2697" y="1161"/>
                    </a:lnTo>
                    <a:lnTo>
                      <a:pt x="2700" y="1163"/>
                    </a:lnTo>
                    <a:lnTo>
                      <a:pt x="2700" y="1164"/>
                    </a:lnTo>
                    <a:lnTo>
                      <a:pt x="2700" y="1164"/>
                    </a:lnTo>
                    <a:lnTo>
                      <a:pt x="2701" y="1165"/>
                    </a:lnTo>
                    <a:lnTo>
                      <a:pt x="2702" y="1167"/>
                    </a:lnTo>
                    <a:lnTo>
                      <a:pt x="2703" y="1169"/>
                    </a:lnTo>
                    <a:lnTo>
                      <a:pt x="2704" y="1172"/>
                    </a:lnTo>
                    <a:lnTo>
                      <a:pt x="2705" y="1172"/>
                    </a:lnTo>
                    <a:lnTo>
                      <a:pt x="2704" y="1172"/>
                    </a:lnTo>
                    <a:lnTo>
                      <a:pt x="2704" y="1172"/>
                    </a:lnTo>
                    <a:lnTo>
                      <a:pt x="2705" y="1176"/>
                    </a:lnTo>
                    <a:lnTo>
                      <a:pt x="2706" y="1178"/>
                    </a:lnTo>
                    <a:lnTo>
                      <a:pt x="2707" y="1180"/>
                    </a:lnTo>
                    <a:lnTo>
                      <a:pt x="2707" y="1180"/>
                    </a:lnTo>
                    <a:lnTo>
                      <a:pt x="2707" y="1181"/>
                    </a:lnTo>
                    <a:lnTo>
                      <a:pt x="2707" y="1184"/>
                    </a:lnTo>
                    <a:lnTo>
                      <a:pt x="2709" y="1187"/>
                    </a:lnTo>
                    <a:lnTo>
                      <a:pt x="2709" y="1189"/>
                    </a:lnTo>
                    <a:lnTo>
                      <a:pt x="2710" y="1191"/>
                    </a:lnTo>
                    <a:lnTo>
                      <a:pt x="2710" y="1193"/>
                    </a:lnTo>
                    <a:lnTo>
                      <a:pt x="2710" y="1193"/>
                    </a:lnTo>
                    <a:lnTo>
                      <a:pt x="2710" y="1193"/>
                    </a:lnTo>
                    <a:lnTo>
                      <a:pt x="2711" y="1195"/>
                    </a:lnTo>
                    <a:lnTo>
                      <a:pt x="2712" y="1197"/>
                    </a:lnTo>
                    <a:lnTo>
                      <a:pt x="2712" y="1198"/>
                    </a:lnTo>
                    <a:lnTo>
                      <a:pt x="2713" y="1201"/>
                    </a:lnTo>
                    <a:lnTo>
                      <a:pt x="2715" y="1203"/>
                    </a:lnTo>
                    <a:lnTo>
                      <a:pt x="2715" y="1204"/>
                    </a:lnTo>
                    <a:lnTo>
                      <a:pt x="2717" y="1204"/>
                    </a:lnTo>
                    <a:lnTo>
                      <a:pt x="2717" y="1204"/>
                    </a:lnTo>
                    <a:lnTo>
                      <a:pt x="2717" y="1205"/>
                    </a:lnTo>
                    <a:lnTo>
                      <a:pt x="2718" y="1206"/>
                    </a:lnTo>
                    <a:lnTo>
                      <a:pt x="2720" y="1208"/>
                    </a:lnTo>
                    <a:lnTo>
                      <a:pt x="2720" y="1210"/>
                    </a:lnTo>
                    <a:lnTo>
                      <a:pt x="2720" y="1210"/>
                    </a:lnTo>
                    <a:lnTo>
                      <a:pt x="2722" y="1213"/>
                    </a:lnTo>
                    <a:lnTo>
                      <a:pt x="2722" y="1215"/>
                    </a:lnTo>
                    <a:lnTo>
                      <a:pt x="2723" y="1218"/>
                    </a:lnTo>
                    <a:lnTo>
                      <a:pt x="2724" y="1221"/>
                    </a:lnTo>
                    <a:lnTo>
                      <a:pt x="2726" y="1223"/>
                    </a:lnTo>
                    <a:lnTo>
                      <a:pt x="2727" y="1225"/>
                    </a:lnTo>
                    <a:lnTo>
                      <a:pt x="2728" y="1229"/>
                    </a:lnTo>
                    <a:lnTo>
                      <a:pt x="2728" y="1231"/>
                    </a:lnTo>
                    <a:lnTo>
                      <a:pt x="2729" y="1231"/>
                    </a:lnTo>
                    <a:lnTo>
                      <a:pt x="2729" y="1232"/>
                    </a:lnTo>
                    <a:lnTo>
                      <a:pt x="2730" y="1233"/>
                    </a:lnTo>
                    <a:lnTo>
                      <a:pt x="2730" y="1236"/>
                    </a:lnTo>
                    <a:lnTo>
                      <a:pt x="2729" y="1233"/>
                    </a:lnTo>
                    <a:lnTo>
                      <a:pt x="2729" y="1232"/>
                    </a:lnTo>
                    <a:lnTo>
                      <a:pt x="2729" y="1232"/>
                    </a:lnTo>
                    <a:lnTo>
                      <a:pt x="2729" y="1233"/>
                    </a:lnTo>
                    <a:lnTo>
                      <a:pt x="2729" y="1236"/>
                    </a:lnTo>
                    <a:lnTo>
                      <a:pt x="2729" y="1238"/>
                    </a:lnTo>
                    <a:lnTo>
                      <a:pt x="2730" y="1240"/>
                    </a:lnTo>
                    <a:lnTo>
                      <a:pt x="2731" y="1244"/>
                    </a:lnTo>
                    <a:lnTo>
                      <a:pt x="2732" y="1246"/>
                    </a:lnTo>
                    <a:lnTo>
                      <a:pt x="2732" y="1246"/>
                    </a:lnTo>
                    <a:lnTo>
                      <a:pt x="2733" y="1247"/>
                    </a:lnTo>
                    <a:lnTo>
                      <a:pt x="2733" y="1247"/>
                    </a:lnTo>
                    <a:lnTo>
                      <a:pt x="2736" y="1249"/>
                    </a:lnTo>
                    <a:lnTo>
                      <a:pt x="2738" y="1253"/>
                    </a:lnTo>
                    <a:lnTo>
                      <a:pt x="2740" y="1255"/>
                    </a:lnTo>
                    <a:lnTo>
                      <a:pt x="2741" y="1255"/>
                    </a:lnTo>
                    <a:lnTo>
                      <a:pt x="2744" y="1257"/>
                    </a:lnTo>
                    <a:lnTo>
                      <a:pt x="2746" y="1258"/>
                    </a:lnTo>
                    <a:lnTo>
                      <a:pt x="2749" y="1256"/>
                    </a:lnTo>
                    <a:lnTo>
                      <a:pt x="2752" y="1255"/>
                    </a:lnTo>
                    <a:lnTo>
                      <a:pt x="2754" y="1253"/>
                    </a:lnTo>
                    <a:lnTo>
                      <a:pt x="2754" y="1249"/>
                    </a:lnTo>
                    <a:lnTo>
                      <a:pt x="2755" y="1248"/>
                    </a:lnTo>
                    <a:lnTo>
                      <a:pt x="2756" y="1245"/>
                    </a:lnTo>
                    <a:lnTo>
                      <a:pt x="2760" y="1244"/>
                    </a:lnTo>
                    <a:lnTo>
                      <a:pt x="2764" y="1241"/>
                    </a:lnTo>
                    <a:lnTo>
                      <a:pt x="2767" y="1241"/>
                    </a:lnTo>
                    <a:lnTo>
                      <a:pt x="2770" y="1241"/>
                    </a:lnTo>
                    <a:lnTo>
                      <a:pt x="2772" y="1244"/>
                    </a:lnTo>
                    <a:lnTo>
                      <a:pt x="2773" y="1244"/>
                    </a:lnTo>
                    <a:lnTo>
                      <a:pt x="2771" y="1241"/>
                    </a:lnTo>
                    <a:lnTo>
                      <a:pt x="2769" y="1241"/>
                    </a:lnTo>
                    <a:lnTo>
                      <a:pt x="2765" y="1239"/>
                    </a:lnTo>
                    <a:lnTo>
                      <a:pt x="2766" y="1237"/>
                    </a:lnTo>
                    <a:lnTo>
                      <a:pt x="2767" y="1233"/>
                    </a:lnTo>
                    <a:lnTo>
                      <a:pt x="2770" y="1231"/>
                    </a:lnTo>
                    <a:lnTo>
                      <a:pt x="2770" y="1230"/>
                    </a:lnTo>
                    <a:lnTo>
                      <a:pt x="2771" y="1228"/>
                    </a:lnTo>
                    <a:lnTo>
                      <a:pt x="2773" y="1227"/>
                    </a:lnTo>
                    <a:lnTo>
                      <a:pt x="2775" y="1227"/>
                    </a:lnTo>
                    <a:lnTo>
                      <a:pt x="2779" y="1225"/>
                    </a:lnTo>
                    <a:lnTo>
                      <a:pt x="2778" y="1223"/>
                    </a:lnTo>
                    <a:lnTo>
                      <a:pt x="2778" y="1215"/>
                    </a:lnTo>
                    <a:lnTo>
                      <a:pt x="2775" y="1213"/>
                    </a:lnTo>
                    <a:lnTo>
                      <a:pt x="2777" y="1213"/>
                    </a:lnTo>
                    <a:lnTo>
                      <a:pt x="2777" y="1211"/>
                    </a:lnTo>
                    <a:lnTo>
                      <a:pt x="2777" y="1207"/>
                    </a:lnTo>
                    <a:lnTo>
                      <a:pt x="2778" y="1207"/>
                    </a:lnTo>
                    <a:lnTo>
                      <a:pt x="2778" y="1206"/>
                    </a:lnTo>
                    <a:lnTo>
                      <a:pt x="2778" y="1206"/>
                    </a:lnTo>
                    <a:lnTo>
                      <a:pt x="2778" y="1206"/>
                    </a:lnTo>
                    <a:lnTo>
                      <a:pt x="2778" y="1204"/>
                    </a:lnTo>
                    <a:lnTo>
                      <a:pt x="2779" y="1204"/>
                    </a:lnTo>
                    <a:lnTo>
                      <a:pt x="2779" y="1203"/>
                    </a:lnTo>
                    <a:lnTo>
                      <a:pt x="2780" y="1201"/>
                    </a:lnTo>
                    <a:lnTo>
                      <a:pt x="2780" y="1201"/>
                    </a:lnTo>
                    <a:lnTo>
                      <a:pt x="2782" y="1197"/>
                    </a:lnTo>
                    <a:lnTo>
                      <a:pt x="2782" y="1197"/>
                    </a:lnTo>
                    <a:lnTo>
                      <a:pt x="2783" y="1195"/>
                    </a:lnTo>
                    <a:lnTo>
                      <a:pt x="2783" y="1191"/>
                    </a:lnTo>
                    <a:lnTo>
                      <a:pt x="2784" y="1189"/>
                    </a:lnTo>
                    <a:lnTo>
                      <a:pt x="2784" y="1186"/>
                    </a:lnTo>
                    <a:lnTo>
                      <a:pt x="2784" y="1184"/>
                    </a:lnTo>
                    <a:lnTo>
                      <a:pt x="2783" y="1184"/>
                    </a:lnTo>
                    <a:lnTo>
                      <a:pt x="2782" y="1182"/>
                    </a:lnTo>
                    <a:lnTo>
                      <a:pt x="2781" y="1182"/>
                    </a:lnTo>
                    <a:lnTo>
                      <a:pt x="2782" y="1181"/>
                    </a:lnTo>
                    <a:lnTo>
                      <a:pt x="2784" y="1182"/>
                    </a:lnTo>
                    <a:lnTo>
                      <a:pt x="2784" y="1182"/>
                    </a:lnTo>
                    <a:lnTo>
                      <a:pt x="2783" y="1180"/>
                    </a:lnTo>
                    <a:lnTo>
                      <a:pt x="2783" y="1177"/>
                    </a:lnTo>
                    <a:lnTo>
                      <a:pt x="2782" y="1174"/>
                    </a:lnTo>
                    <a:lnTo>
                      <a:pt x="2782" y="1171"/>
                    </a:lnTo>
                    <a:lnTo>
                      <a:pt x="2782" y="1169"/>
                    </a:lnTo>
                    <a:lnTo>
                      <a:pt x="2782" y="1168"/>
                    </a:lnTo>
                    <a:lnTo>
                      <a:pt x="2782" y="1167"/>
                    </a:lnTo>
                    <a:lnTo>
                      <a:pt x="2781" y="1164"/>
                    </a:lnTo>
                    <a:lnTo>
                      <a:pt x="2781" y="1162"/>
                    </a:lnTo>
                    <a:lnTo>
                      <a:pt x="2781" y="1159"/>
                    </a:lnTo>
                    <a:lnTo>
                      <a:pt x="2782" y="1156"/>
                    </a:lnTo>
                    <a:lnTo>
                      <a:pt x="2783" y="1154"/>
                    </a:lnTo>
                    <a:lnTo>
                      <a:pt x="2786" y="1151"/>
                    </a:lnTo>
                    <a:lnTo>
                      <a:pt x="2788" y="1150"/>
                    </a:lnTo>
                    <a:lnTo>
                      <a:pt x="2791" y="1150"/>
                    </a:lnTo>
                    <a:lnTo>
                      <a:pt x="2792" y="1147"/>
                    </a:lnTo>
                    <a:lnTo>
                      <a:pt x="2794" y="1150"/>
                    </a:lnTo>
                    <a:lnTo>
                      <a:pt x="2794" y="1151"/>
                    </a:lnTo>
                    <a:lnTo>
                      <a:pt x="2796" y="1148"/>
                    </a:lnTo>
                    <a:lnTo>
                      <a:pt x="2797" y="1145"/>
                    </a:lnTo>
                    <a:lnTo>
                      <a:pt x="2798" y="1143"/>
                    </a:lnTo>
                    <a:lnTo>
                      <a:pt x="2800" y="1143"/>
                    </a:lnTo>
                    <a:lnTo>
                      <a:pt x="2804" y="1143"/>
                    </a:lnTo>
                    <a:lnTo>
                      <a:pt x="2804" y="1143"/>
                    </a:lnTo>
                    <a:lnTo>
                      <a:pt x="2806" y="1143"/>
                    </a:lnTo>
                    <a:lnTo>
                      <a:pt x="2807" y="1142"/>
                    </a:lnTo>
                    <a:lnTo>
                      <a:pt x="2809" y="1141"/>
                    </a:lnTo>
                    <a:lnTo>
                      <a:pt x="2812" y="1139"/>
                    </a:lnTo>
                    <a:lnTo>
                      <a:pt x="2813" y="1136"/>
                    </a:lnTo>
                    <a:lnTo>
                      <a:pt x="2813" y="1133"/>
                    </a:lnTo>
                    <a:lnTo>
                      <a:pt x="2814" y="1131"/>
                    </a:lnTo>
                    <a:lnTo>
                      <a:pt x="2816" y="1129"/>
                    </a:lnTo>
                    <a:lnTo>
                      <a:pt x="2820" y="1128"/>
                    </a:lnTo>
                    <a:lnTo>
                      <a:pt x="2822" y="1127"/>
                    </a:lnTo>
                    <a:lnTo>
                      <a:pt x="2825" y="1125"/>
                    </a:lnTo>
                    <a:lnTo>
                      <a:pt x="2824" y="1124"/>
                    </a:lnTo>
                    <a:lnTo>
                      <a:pt x="2825" y="1124"/>
                    </a:lnTo>
                    <a:lnTo>
                      <a:pt x="2828" y="1121"/>
                    </a:lnTo>
                    <a:lnTo>
                      <a:pt x="2830" y="1119"/>
                    </a:lnTo>
                    <a:lnTo>
                      <a:pt x="2832" y="1118"/>
                    </a:lnTo>
                    <a:lnTo>
                      <a:pt x="2834" y="1117"/>
                    </a:lnTo>
                    <a:lnTo>
                      <a:pt x="2837" y="1114"/>
                    </a:lnTo>
                    <a:lnTo>
                      <a:pt x="2839" y="1112"/>
                    </a:lnTo>
                    <a:lnTo>
                      <a:pt x="2841" y="1110"/>
                    </a:lnTo>
                    <a:lnTo>
                      <a:pt x="2843" y="1107"/>
                    </a:lnTo>
                    <a:lnTo>
                      <a:pt x="2846" y="1104"/>
                    </a:lnTo>
                    <a:lnTo>
                      <a:pt x="2846" y="1104"/>
                    </a:lnTo>
                    <a:lnTo>
                      <a:pt x="2848" y="1101"/>
                    </a:lnTo>
                    <a:lnTo>
                      <a:pt x="2851" y="1099"/>
                    </a:lnTo>
                    <a:lnTo>
                      <a:pt x="2854" y="1097"/>
                    </a:lnTo>
                    <a:lnTo>
                      <a:pt x="2854" y="1096"/>
                    </a:lnTo>
                    <a:lnTo>
                      <a:pt x="2854" y="1096"/>
                    </a:lnTo>
                    <a:lnTo>
                      <a:pt x="2854" y="1096"/>
                    </a:lnTo>
                    <a:lnTo>
                      <a:pt x="2852" y="1096"/>
                    </a:lnTo>
                    <a:lnTo>
                      <a:pt x="2850" y="1099"/>
                    </a:lnTo>
                    <a:lnTo>
                      <a:pt x="2851" y="1095"/>
                    </a:lnTo>
                    <a:lnTo>
                      <a:pt x="2855" y="1093"/>
                    </a:lnTo>
                    <a:lnTo>
                      <a:pt x="2856" y="1095"/>
                    </a:lnTo>
                    <a:lnTo>
                      <a:pt x="2855" y="1095"/>
                    </a:lnTo>
                    <a:lnTo>
                      <a:pt x="2858" y="1095"/>
                    </a:lnTo>
                    <a:lnTo>
                      <a:pt x="2866" y="1093"/>
                    </a:lnTo>
                    <a:lnTo>
                      <a:pt x="2866" y="1091"/>
                    </a:lnTo>
                    <a:lnTo>
                      <a:pt x="2865" y="1090"/>
                    </a:lnTo>
                    <a:lnTo>
                      <a:pt x="2867" y="1091"/>
                    </a:lnTo>
                    <a:lnTo>
                      <a:pt x="2867" y="1091"/>
                    </a:lnTo>
                    <a:lnTo>
                      <a:pt x="2869" y="1088"/>
                    </a:lnTo>
                    <a:lnTo>
                      <a:pt x="2872" y="1087"/>
                    </a:lnTo>
                    <a:lnTo>
                      <a:pt x="2872" y="1087"/>
                    </a:lnTo>
                    <a:lnTo>
                      <a:pt x="2873" y="1084"/>
                    </a:lnTo>
                    <a:lnTo>
                      <a:pt x="2875" y="1083"/>
                    </a:lnTo>
                    <a:lnTo>
                      <a:pt x="2876" y="1082"/>
                    </a:lnTo>
                    <a:lnTo>
                      <a:pt x="2875" y="1082"/>
                    </a:lnTo>
                    <a:lnTo>
                      <a:pt x="2874" y="1081"/>
                    </a:lnTo>
                    <a:lnTo>
                      <a:pt x="2875" y="1077"/>
                    </a:lnTo>
                    <a:lnTo>
                      <a:pt x="2874" y="1075"/>
                    </a:lnTo>
                    <a:lnTo>
                      <a:pt x="2875" y="1073"/>
                    </a:lnTo>
                    <a:lnTo>
                      <a:pt x="2877" y="1069"/>
                    </a:lnTo>
                    <a:lnTo>
                      <a:pt x="2881" y="1069"/>
                    </a:lnTo>
                    <a:lnTo>
                      <a:pt x="2881" y="1069"/>
                    </a:lnTo>
                    <a:lnTo>
                      <a:pt x="2883" y="1068"/>
                    </a:lnTo>
                    <a:lnTo>
                      <a:pt x="2885" y="1068"/>
                    </a:lnTo>
                    <a:lnTo>
                      <a:pt x="2888" y="1066"/>
                    </a:lnTo>
                    <a:lnTo>
                      <a:pt x="2890" y="1064"/>
                    </a:lnTo>
                    <a:lnTo>
                      <a:pt x="2892" y="1061"/>
                    </a:lnTo>
                    <a:lnTo>
                      <a:pt x="2893" y="1062"/>
                    </a:lnTo>
                    <a:lnTo>
                      <a:pt x="2892" y="1065"/>
                    </a:lnTo>
                    <a:lnTo>
                      <a:pt x="2892" y="1067"/>
                    </a:lnTo>
                    <a:lnTo>
                      <a:pt x="2893" y="1068"/>
                    </a:lnTo>
                    <a:lnTo>
                      <a:pt x="2893" y="1068"/>
                    </a:lnTo>
                    <a:lnTo>
                      <a:pt x="2893" y="1069"/>
                    </a:lnTo>
                    <a:lnTo>
                      <a:pt x="2893" y="1068"/>
                    </a:lnTo>
                    <a:lnTo>
                      <a:pt x="2894" y="1067"/>
                    </a:lnTo>
                    <a:lnTo>
                      <a:pt x="2895" y="1067"/>
                    </a:lnTo>
                    <a:lnTo>
                      <a:pt x="2895" y="1068"/>
                    </a:lnTo>
                    <a:lnTo>
                      <a:pt x="2897" y="1066"/>
                    </a:lnTo>
                    <a:lnTo>
                      <a:pt x="2897" y="1065"/>
                    </a:lnTo>
                    <a:lnTo>
                      <a:pt x="2897" y="1067"/>
                    </a:lnTo>
                    <a:lnTo>
                      <a:pt x="2897" y="1068"/>
                    </a:lnTo>
                    <a:lnTo>
                      <a:pt x="2897" y="1068"/>
                    </a:lnTo>
                    <a:lnTo>
                      <a:pt x="2898" y="1069"/>
                    </a:lnTo>
                    <a:lnTo>
                      <a:pt x="2898" y="1069"/>
                    </a:lnTo>
                    <a:lnTo>
                      <a:pt x="2898" y="1068"/>
                    </a:lnTo>
                    <a:lnTo>
                      <a:pt x="2898" y="1066"/>
                    </a:lnTo>
                    <a:lnTo>
                      <a:pt x="2898" y="1064"/>
                    </a:lnTo>
                    <a:lnTo>
                      <a:pt x="2898" y="1061"/>
                    </a:lnTo>
                    <a:lnTo>
                      <a:pt x="2899" y="1060"/>
                    </a:lnTo>
                    <a:lnTo>
                      <a:pt x="2899" y="1060"/>
                    </a:lnTo>
                    <a:lnTo>
                      <a:pt x="2899" y="1062"/>
                    </a:lnTo>
                    <a:lnTo>
                      <a:pt x="2900" y="1061"/>
                    </a:lnTo>
                    <a:lnTo>
                      <a:pt x="2900" y="1062"/>
                    </a:lnTo>
                    <a:lnTo>
                      <a:pt x="2899" y="1065"/>
                    </a:lnTo>
                    <a:lnTo>
                      <a:pt x="2899" y="1067"/>
                    </a:lnTo>
                    <a:lnTo>
                      <a:pt x="2900" y="1068"/>
                    </a:lnTo>
                    <a:lnTo>
                      <a:pt x="2901" y="1067"/>
                    </a:lnTo>
                    <a:lnTo>
                      <a:pt x="2901" y="1067"/>
                    </a:lnTo>
                    <a:lnTo>
                      <a:pt x="2901" y="1066"/>
                    </a:lnTo>
                    <a:lnTo>
                      <a:pt x="2902" y="1068"/>
                    </a:lnTo>
                    <a:lnTo>
                      <a:pt x="2903" y="1065"/>
                    </a:lnTo>
                    <a:lnTo>
                      <a:pt x="2903" y="1065"/>
                    </a:lnTo>
                    <a:lnTo>
                      <a:pt x="2902" y="1064"/>
                    </a:lnTo>
                    <a:lnTo>
                      <a:pt x="2902" y="1062"/>
                    </a:lnTo>
                    <a:lnTo>
                      <a:pt x="2902" y="1062"/>
                    </a:lnTo>
                    <a:lnTo>
                      <a:pt x="2905" y="1060"/>
                    </a:lnTo>
                    <a:lnTo>
                      <a:pt x="2905" y="1061"/>
                    </a:lnTo>
                    <a:lnTo>
                      <a:pt x="2905" y="1064"/>
                    </a:lnTo>
                    <a:lnTo>
                      <a:pt x="2906" y="1066"/>
                    </a:lnTo>
                    <a:lnTo>
                      <a:pt x="2907" y="1066"/>
                    </a:lnTo>
                    <a:lnTo>
                      <a:pt x="2908" y="1064"/>
                    </a:lnTo>
                    <a:lnTo>
                      <a:pt x="2908" y="1062"/>
                    </a:lnTo>
                    <a:lnTo>
                      <a:pt x="2908" y="1066"/>
                    </a:lnTo>
                    <a:lnTo>
                      <a:pt x="2910" y="1065"/>
                    </a:lnTo>
                    <a:lnTo>
                      <a:pt x="2910" y="1061"/>
                    </a:lnTo>
                    <a:lnTo>
                      <a:pt x="2910" y="1059"/>
                    </a:lnTo>
                    <a:lnTo>
                      <a:pt x="2910" y="1058"/>
                    </a:lnTo>
                    <a:lnTo>
                      <a:pt x="2910" y="1061"/>
                    </a:lnTo>
                    <a:lnTo>
                      <a:pt x="2911" y="1062"/>
                    </a:lnTo>
                    <a:lnTo>
                      <a:pt x="2911" y="1060"/>
                    </a:lnTo>
                    <a:lnTo>
                      <a:pt x="2911" y="1058"/>
                    </a:lnTo>
                    <a:lnTo>
                      <a:pt x="2911" y="1060"/>
                    </a:lnTo>
                    <a:lnTo>
                      <a:pt x="2911" y="1064"/>
                    </a:lnTo>
                    <a:lnTo>
                      <a:pt x="2911" y="1064"/>
                    </a:lnTo>
                    <a:lnTo>
                      <a:pt x="2911" y="1065"/>
                    </a:lnTo>
                    <a:lnTo>
                      <a:pt x="2911" y="1066"/>
                    </a:lnTo>
                    <a:lnTo>
                      <a:pt x="2912" y="1064"/>
                    </a:lnTo>
                    <a:lnTo>
                      <a:pt x="2912" y="1064"/>
                    </a:lnTo>
                    <a:lnTo>
                      <a:pt x="2915" y="1065"/>
                    </a:lnTo>
                    <a:lnTo>
                      <a:pt x="2915" y="1061"/>
                    </a:lnTo>
                    <a:lnTo>
                      <a:pt x="2915" y="1059"/>
                    </a:lnTo>
                    <a:lnTo>
                      <a:pt x="2915" y="1057"/>
                    </a:lnTo>
                    <a:lnTo>
                      <a:pt x="2917" y="1056"/>
                    </a:lnTo>
                    <a:lnTo>
                      <a:pt x="2917" y="1056"/>
                    </a:lnTo>
                    <a:lnTo>
                      <a:pt x="2916" y="1058"/>
                    </a:lnTo>
                    <a:lnTo>
                      <a:pt x="2916" y="1060"/>
                    </a:lnTo>
                    <a:lnTo>
                      <a:pt x="2916" y="1062"/>
                    </a:lnTo>
                    <a:lnTo>
                      <a:pt x="2917" y="1062"/>
                    </a:lnTo>
                    <a:lnTo>
                      <a:pt x="2918" y="1060"/>
                    </a:lnTo>
                    <a:lnTo>
                      <a:pt x="2917" y="1062"/>
                    </a:lnTo>
                    <a:lnTo>
                      <a:pt x="2917" y="1062"/>
                    </a:lnTo>
                    <a:lnTo>
                      <a:pt x="2919" y="1061"/>
                    </a:lnTo>
                    <a:lnTo>
                      <a:pt x="2918" y="1062"/>
                    </a:lnTo>
                    <a:lnTo>
                      <a:pt x="2919" y="1064"/>
                    </a:lnTo>
                    <a:lnTo>
                      <a:pt x="2920" y="1065"/>
                    </a:lnTo>
                    <a:lnTo>
                      <a:pt x="2922" y="1062"/>
                    </a:lnTo>
                    <a:lnTo>
                      <a:pt x="2922" y="1062"/>
                    </a:lnTo>
                    <a:lnTo>
                      <a:pt x="2923" y="1061"/>
                    </a:lnTo>
                    <a:lnTo>
                      <a:pt x="2923" y="1059"/>
                    </a:lnTo>
                    <a:lnTo>
                      <a:pt x="2923" y="1061"/>
                    </a:lnTo>
                    <a:lnTo>
                      <a:pt x="2925" y="1059"/>
                    </a:lnTo>
                    <a:lnTo>
                      <a:pt x="2925" y="1057"/>
                    </a:lnTo>
                    <a:lnTo>
                      <a:pt x="2924" y="1056"/>
                    </a:lnTo>
                    <a:lnTo>
                      <a:pt x="2924" y="1053"/>
                    </a:lnTo>
                    <a:lnTo>
                      <a:pt x="2923" y="1052"/>
                    </a:lnTo>
                    <a:lnTo>
                      <a:pt x="2923" y="1052"/>
                    </a:lnTo>
                    <a:lnTo>
                      <a:pt x="2923" y="1051"/>
                    </a:lnTo>
                    <a:lnTo>
                      <a:pt x="2924" y="1049"/>
                    </a:lnTo>
                    <a:lnTo>
                      <a:pt x="2924" y="1048"/>
                    </a:lnTo>
                    <a:lnTo>
                      <a:pt x="2924" y="1048"/>
                    </a:lnTo>
                    <a:lnTo>
                      <a:pt x="2924" y="1048"/>
                    </a:lnTo>
                    <a:lnTo>
                      <a:pt x="2925" y="1044"/>
                    </a:lnTo>
                    <a:lnTo>
                      <a:pt x="2924" y="1044"/>
                    </a:lnTo>
                    <a:lnTo>
                      <a:pt x="2922" y="1042"/>
                    </a:lnTo>
                    <a:lnTo>
                      <a:pt x="2920" y="1042"/>
                    </a:lnTo>
                    <a:lnTo>
                      <a:pt x="2920" y="1042"/>
                    </a:lnTo>
                    <a:lnTo>
                      <a:pt x="2920" y="1042"/>
                    </a:lnTo>
                    <a:lnTo>
                      <a:pt x="2924" y="1042"/>
                    </a:lnTo>
                    <a:lnTo>
                      <a:pt x="2924" y="1040"/>
                    </a:lnTo>
                    <a:lnTo>
                      <a:pt x="2924" y="1040"/>
                    </a:lnTo>
                    <a:lnTo>
                      <a:pt x="2926" y="1040"/>
                    </a:lnTo>
                    <a:lnTo>
                      <a:pt x="2926" y="1041"/>
                    </a:lnTo>
                    <a:lnTo>
                      <a:pt x="2927" y="1041"/>
                    </a:lnTo>
                    <a:lnTo>
                      <a:pt x="2927" y="1041"/>
                    </a:lnTo>
                    <a:lnTo>
                      <a:pt x="2926" y="1043"/>
                    </a:lnTo>
                    <a:lnTo>
                      <a:pt x="2926" y="1045"/>
                    </a:lnTo>
                    <a:lnTo>
                      <a:pt x="2926" y="1048"/>
                    </a:lnTo>
                    <a:lnTo>
                      <a:pt x="2926" y="1048"/>
                    </a:lnTo>
                    <a:lnTo>
                      <a:pt x="2927" y="1049"/>
                    </a:lnTo>
                    <a:lnTo>
                      <a:pt x="2928" y="1051"/>
                    </a:lnTo>
                    <a:lnTo>
                      <a:pt x="2929" y="1054"/>
                    </a:lnTo>
                    <a:lnTo>
                      <a:pt x="2931" y="1054"/>
                    </a:lnTo>
                    <a:lnTo>
                      <a:pt x="2933" y="1051"/>
                    </a:lnTo>
                    <a:lnTo>
                      <a:pt x="2936" y="1051"/>
                    </a:lnTo>
                    <a:lnTo>
                      <a:pt x="2937" y="1050"/>
                    </a:lnTo>
                    <a:lnTo>
                      <a:pt x="2937" y="1052"/>
                    </a:lnTo>
                    <a:lnTo>
                      <a:pt x="2940" y="1054"/>
                    </a:lnTo>
                    <a:lnTo>
                      <a:pt x="2941" y="1058"/>
                    </a:lnTo>
                    <a:lnTo>
                      <a:pt x="2942" y="1058"/>
                    </a:lnTo>
                    <a:lnTo>
                      <a:pt x="2943" y="1058"/>
                    </a:lnTo>
                    <a:lnTo>
                      <a:pt x="2943" y="1058"/>
                    </a:lnTo>
                    <a:lnTo>
                      <a:pt x="2942" y="1058"/>
                    </a:lnTo>
                    <a:lnTo>
                      <a:pt x="2942" y="1061"/>
                    </a:lnTo>
                    <a:lnTo>
                      <a:pt x="2943" y="1062"/>
                    </a:lnTo>
                    <a:lnTo>
                      <a:pt x="2943" y="1064"/>
                    </a:lnTo>
                    <a:lnTo>
                      <a:pt x="2944" y="1067"/>
                    </a:lnTo>
                    <a:lnTo>
                      <a:pt x="2944" y="1069"/>
                    </a:lnTo>
                    <a:lnTo>
                      <a:pt x="2945" y="1071"/>
                    </a:lnTo>
                    <a:lnTo>
                      <a:pt x="2945" y="1075"/>
                    </a:lnTo>
                    <a:lnTo>
                      <a:pt x="2948" y="1077"/>
                    </a:lnTo>
                    <a:lnTo>
                      <a:pt x="2948" y="1078"/>
                    </a:lnTo>
                    <a:lnTo>
                      <a:pt x="2948" y="1076"/>
                    </a:lnTo>
                    <a:lnTo>
                      <a:pt x="2949" y="1079"/>
                    </a:lnTo>
                    <a:lnTo>
                      <a:pt x="2950" y="1082"/>
                    </a:lnTo>
                    <a:lnTo>
                      <a:pt x="2952" y="1084"/>
                    </a:lnTo>
                    <a:lnTo>
                      <a:pt x="2954" y="1087"/>
                    </a:lnTo>
                    <a:lnTo>
                      <a:pt x="2954" y="1084"/>
                    </a:lnTo>
                    <a:lnTo>
                      <a:pt x="2954" y="1083"/>
                    </a:lnTo>
                    <a:lnTo>
                      <a:pt x="2956" y="1085"/>
                    </a:lnTo>
                    <a:lnTo>
                      <a:pt x="2957" y="1086"/>
                    </a:lnTo>
                    <a:lnTo>
                      <a:pt x="2956" y="1087"/>
                    </a:lnTo>
                    <a:lnTo>
                      <a:pt x="2957" y="1088"/>
                    </a:lnTo>
                    <a:lnTo>
                      <a:pt x="2959" y="1086"/>
                    </a:lnTo>
                    <a:lnTo>
                      <a:pt x="2959" y="1084"/>
                    </a:lnTo>
                    <a:lnTo>
                      <a:pt x="2959" y="1084"/>
                    </a:lnTo>
                    <a:lnTo>
                      <a:pt x="2959" y="1084"/>
                    </a:lnTo>
                    <a:lnTo>
                      <a:pt x="2959" y="1084"/>
                    </a:lnTo>
                    <a:lnTo>
                      <a:pt x="2959" y="1086"/>
                    </a:lnTo>
                    <a:lnTo>
                      <a:pt x="2959" y="1086"/>
                    </a:lnTo>
                    <a:lnTo>
                      <a:pt x="2960" y="1086"/>
                    </a:lnTo>
                    <a:lnTo>
                      <a:pt x="2958" y="1088"/>
                    </a:lnTo>
                    <a:lnTo>
                      <a:pt x="2960" y="1088"/>
                    </a:lnTo>
                    <a:lnTo>
                      <a:pt x="2960" y="1088"/>
                    </a:lnTo>
                    <a:lnTo>
                      <a:pt x="2959" y="1091"/>
                    </a:lnTo>
                    <a:lnTo>
                      <a:pt x="2960" y="1094"/>
                    </a:lnTo>
                    <a:lnTo>
                      <a:pt x="2960" y="1091"/>
                    </a:lnTo>
                    <a:lnTo>
                      <a:pt x="2960" y="1091"/>
                    </a:lnTo>
                    <a:lnTo>
                      <a:pt x="2961" y="1091"/>
                    </a:lnTo>
                    <a:lnTo>
                      <a:pt x="2962" y="1091"/>
                    </a:lnTo>
                    <a:lnTo>
                      <a:pt x="2962" y="1090"/>
                    </a:lnTo>
                    <a:lnTo>
                      <a:pt x="2961" y="1087"/>
                    </a:lnTo>
                    <a:lnTo>
                      <a:pt x="2963" y="1090"/>
                    </a:lnTo>
                    <a:lnTo>
                      <a:pt x="2963" y="1090"/>
                    </a:lnTo>
                    <a:lnTo>
                      <a:pt x="2962" y="1090"/>
                    </a:lnTo>
                    <a:lnTo>
                      <a:pt x="2970" y="1102"/>
                    </a:lnTo>
                    <a:lnTo>
                      <a:pt x="2970" y="1102"/>
                    </a:lnTo>
                    <a:lnTo>
                      <a:pt x="2970" y="1102"/>
                    </a:lnTo>
                    <a:lnTo>
                      <a:pt x="2972" y="1101"/>
                    </a:lnTo>
                    <a:lnTo>
                      <a:pt x="2972" y="1101"/>
                    </a:lnTo>
                    <a:lnTo>
                      <a:pt x="2972" y="1103"/>
                    </a:lnTo>
                    <a:lnTo>
                      <a:pt x="2972" y="1105"/>
                    </a:lnTo>
                    <a:lnTo>
                      <a:pt x="2975" y="1109"/>
                    </a:lnTo>
                    <a:lnTo>
                      <a:pt x="2975" y="1110"/>
                    </a:lnTo>
                    <a:lnTo>
                      <a:pt x="2976" y="1113"/>
                    </a:lnTo>
                    <a:lnTo>
                      <a:pt x="2977" y="1116"/>
                    </a:lnTo>
                    <a:lnTo>
                      <a:pt x="2978" y="1117"/>
                    </a:lnTo>
                    <a:lnTo>
                      <a:pt x="2978" y="1119"/>
                    </a:lnTo>
                    <a:lnTo>
                      <a:pt x="2978" y="1122"/>
                    </a:lnTo>
                    <a:lnTo>
                      <a:pt x="2980" y="1125"/>
                    </a:lnTo>
                    <a:lnTo>
                      <a:pt x="2979" y="1127"/>
                    </a:lnTo>
                    <a:lnTo>
                      <a:pt x="2979" y="1130"/>
                    </a:lnTo>
                    <a:lnTo>
                      <a:pt x="2978" y="1131"/>
                    </a:lnTo>
                    <a:lnTo>
                      <a:pt x="2978" y="1134"/>
                    </a:lnTo>
                    <a:lnTo>
                      <a:pt x="2977" y="1136"/>
                    </a:lnTo>
                    <a:lnTo>
                      <a:pt x="2976" y="1139"/>
                    </a:lnTo>
                    <a:lnTo>
                      <a:pt x="2976" y="1142"/>
                    </a:lnTo>
                    <a:lnTo>
                      <a:pt x="2975" y="1145"/>
                    </a:lnTo>
                    <a:lnTo>
                      <a:pt x="2975" y="1147"/>
                    </a:lnTo>
                    <a:lnTo>
                      <a:pt x="2977" y="1147"/>
                    </a:lnTo>
                    <a:lnTo>
                      <a:pt x="2979" y="1144"/>
                    </a:lnTo>
                    <a:lnTo>
                      <a:pt x="2982" y="1142"/>
                    </a:lnTo>
                    <a:lnTo>
                      <a:pt x="2982" y="1141"/>
                    </a:lnTo>
                    <a:lnTo>
                      <a:pt x="2982" y="1141"/>
                    </a:lnTo>
                    <a:lnTo>
                      <a:pt x="2982" y="1141"/>
                    </a:lnTo>
                    <a:lnTo>
                      <a:pt x="2982" y="1143"/>
                    </a:lnTo>
                    <a:lnTo>
                      <a:pt x="2982" y="1145"/>
                    </a:lnTo>
                    <a:lnTo>
                      <a:pt x="2980" y="1147"/>
                    </a:lnTo>
                    <a:lnTo>
                      <a:pt x="2983" y="1145"/>
                    </a:lnTo>
                    <a:lnTo>
                      <a:pt x="2982" y="1148"/>
                    </a:lnTo>
                    <a:lnTo>
                      <a:pt x="2984" y="1145"/>
                    </a:lnTo>
                    <a:lnTo>
                      <a:pt x="2985" y="1144"/>
                    </a:lnTo>
                    <a:lnTo>
                      <a:pt x="2984" y="1147"/>
                    </a:lnTo>
                    <a:lnTo>
                      <a:pt x="2985" y="1147"/>
                    </a:lnTo>
                    <a:lnTo>
                      <a:pt x="2984" y="1150"/>
                    </a:lnTo>
                    <a:lnTo>
                      <a:pt x="2985" y="1151"/>
                    </a:lnTo>
                    <a:lnTo>
                      <a:pt x="2986" y="1148"/>
                    </a:lnTo>
                    <a:lnTo>
                      <a:pt x="2987" y="1145"/>
                    </a:lnTo>
                    <a:lnTo>
                      <a:pt x="2988" y="1146"/>
                    </a:lnTo>
                    <a:lnTo>
                      <a:pt x="2988" y="1146"/>
                    </a:lnTo>
                    <a:lnTo>
                      <a:pt x="2987" y="1147"/>
                    </a:lnTo>
                    <a:lnTo>
                      <a:pt x="2987" y="1150"/>
                    </a:lnTo>
                    <a:lnTo>
                      <a:pt x="2989" y="1147"/>
                    </a:lnTo>
                    <a:lnTo>
                      <a:pt x="2989" y="1146"/>
                    </a:lnTo>
                    <a:lnTo>
                      <a:pt x="2989" y="1146"/>
                    </a:lnTo>
                    <a:lnTo>
                      <a:pt x="2991" y="1145"/>
                    </a:lnTo>
                    <a:lnTo>
                      <a:pt x="2991" y="1148"/>
                    </a:lnTo>
                    <a:lnTo>
                      <a:pt x="2989" y="1151"/>
                    </a:lnTo>
                    <a:lnTo>
                      <a:pt x="2992" y="1151"/>
                    </a:lnTo>
                    <a:lnTo>
                      <a:pt x="2994" y="1148"/>
                    </a:lnTo>
                    <a:lnTo>
                      <a:pt x="2995" y="1146"/>
                    </a:lnTo>
                    <a:lnTo>
                      <a:pt x="2995" y="1145"/>
                    </a:lnTo>
                    <a:lnTo>
                      <a:pt x="2997" y="1144"/>
                    </a:lnTo>
                    <a:lnTo>
                      <a:pt x="3000" y="1143"/>
                    </a:lnTo>
                    <a:lnTo>
                      <a:pt x="3002" y="1143"/>
                    </a:lnTo>
                    <a:lnTo>
                      <a:pt x="3003" y="1141"/>
                    </a:lnTo>
                    <a:lnTo>
                      <a:pt x="3003" y="1139"/>
                    </a:lnTo>
                    <a:lnTo>
                      <a:pt x="3002" y="1137"/>
                    </a:lnTo>
                    <a:lnTo>
                      <a:pt x="3002" y="1137"/>
                    </a:lnTo>
                    <a:lnTo>
                      <a:pt x="3002" y="1137"/>
                    </a:lnTo>
                    <a:lnTo>
                      <a:pt x="3003" y="1136"/>
                    </a:lnTo>
                    <a:lnTo>
                      <a:pt x="3003" y="1136"/>
                    </a:lnTo>
                    <a:lnTo>
                      <a:pt x="3003" y="1138"/>
                    </a:lnTo>
                    <a:lnTo>
                      <a:pt x="3005" y="1141"/>
                    </a:lnTo>
                    <a:lnTo>
                      <a:pt x="3008" y="1139"/>
                    </a:lnTo>
                    <a:lnTo>
                      <a:pt x="3011" y="1137"/>
                    </a:lnTo>
                    <a:lnTo>
                      <a:pt x="3011" y="1135"/>
                    </a:lnTo>
                    <a:lnTo>
                      <a:pt x="3011" y="1133"/>
                    </a:lnTo>
                    <a:lnTo>
                      <a:pt x="3011" y="1131"/>
                    </a:lnTo>
                    <a:lnTo>
                      <a:pt x="3012" y="1129"/>
                    </a:lnTo>
                    <a:lnTo>
                      <a:pt x="3011" y="1127"/>
                    </a:lnTo>
                    <a:lnTo>
                      <a:pt x="3013" y="1130"/>
                    </a:lnTo>
                    <a:lnTo>
                      <a:pt x="3016" y="1131"/>
                    </a:lnTo>
                    <a:lnTo>
                      <a:pt x="3016" y="1135"/>
                    </a:lnTo>
                    <a:lnTo>
                      <a:pt x="3017" y="1136"/>
                    </a:lnTo>
                    <a:lnTo>
                      <a:pt x="3018" y="1139"/>
                    </a:lnTo>
                    <a:lnTo>
                      <a:pt x="3020" y="1141"/>
                    </a:lnTo>
                    <a:lnTo>
                      <a:pt x="3021" y="1141"/>
                    </a:lnTo>
                    <a:lnTo>
                      <a:pt x="3022" y="1139"/>
                    </a:lnTo>
                    <a:lnTo>
                      <a:pt x="3023" y="1139"/>
                    </a:lnTo>
                    <a:lnTo>
                      <a:pt x="3022" y="1141"/>
                    </a:lnTo>
                    <a:lnTo>
                      <a:pt x="3021" y="1142"/>
                    </a:lnTo>
                    <a:lnTo>
                      <a:pt x="3021" y="1145"/>
                    </a:lnTo>
                    <a:lnTo>
                      <a:pt x="3021" y="1146"/>
                    </a:lnTo>
                    <a:lnTo>
                      <a:pt x="3022" y="1150"/>
                    </a:lnTo>
                    <a:lnTo>
                      <a:pt x="3023" y="1152"/>
                    </a:lnTo>
                    <a:lnTo>
                      <a:pt x="3023" y="1153"/>
                    </a:lnTo>
                    <a:lnTo>
                      <a:pt x="3023" y="1155"/>
                    </a:lnTo>
                    <a:lnTo>
                      <a:pt x="3023" y="1159"/>
                    </a:lnTo>
                    <a:lnTo>
                      <a:pt x="3023" y="1161"/>
                    </a:lnTo>
                    <a:lnTo>
                      <a:pt x="3025" y="1162"/>
                    </a:lnTo>
                    <a:lnTo>
                      <a:pt x="3023" y="1163"/>
                    </a:lnTo>
                    <a:lnTo>
                      <a:pt x="3027" y="1165"/>
                    </a:lnTo>
                    <a:lnTo>
                      <a:pt x="3026" y="1168"/>
                    </a:lnTo>
                    <a:lnTo>
                      <a:pt x="3027" y="1171"/>
                    </a:lnTo>
                    <a:lnTo>
                      <a:pt x="3027" y="1172"/>
                    </a:lnTo>
                    <a:lnTo>
                      <a:pt x="3028" y="1176"/>
                    </a:lnTo>
                    <a:lnTo>
                      <a:pt x="3028" y="1178"/>
                    </a:lnTo>
                    <a:lnTo>
                      <a:pt x="3029" y="1180"/>
                    </a:lnTo>
                    <a:lnTo>
                      <a:pt x="3029" y="1178"/>
                    </a:lnTo>
                    <a:lnTo>
                      <a:pt x="3029" y="1176"/>
                    </a:lnTo>
                    <a:lnTo>
                      <a:pt x="3029" y="1174"/>
                    </a:lnTo>
                    <a:lnTo>
                      <a:pt x="3029" y="1176"/>
                    </a:lnTo>
                    <a:lnTo>
                      <a:pt x="3030" y="1178"/>
                    </a:lnTo>
                    <a:lnTo>
                      <a:pt x="3031" y="1180"/>
                    </a:lnTo>
                    <a:lnTo>
                      <a:pt x="3033" y="1184"/>
                    </a:lnTo>
                    <a:lnTo>
                      <a:pt x="3034" y="1186"/>
                    </a:lnTo>
                    <a:lnTo>
                      <a:pt x="3035" y="1188"/>
                    </a:lnTo>
                    <a:lnTo>
                      <a:pt x="3035" y="1191"/>
                    </a:lnTo>
                    <a:lnTo>
                      <a:pt x="3036" y="1194"/>
                    </a:lnTo>
                    <a:lnTo>
                      <a:pt x="3036" y="1194"/>
                    </a:lnTo>
                    <a:lnTo>
                      <a:pt x="3036" y="1195"/>
                    </a:lnTo>
                    <a:lnTo>
                      <a:pt x="3035" y="1197"/>
                    </a:lnTo>
                    <a:lnTo>
                      <a:pt x="3036" y="1198"/>
                    </a:lnTo>
                    <a:lnTo>
                      <a:pt x="3036" y="1199"/>
                    </a:lnTo>
                    <a:lnTo>
                      <a:pt x="3037" y="1201"/>
                    </a:lnTo>
                    <a:lnTo>
                      <a:pt x="3036" y="1202"/>
                    </a:lnTo>
                    <a:lnTo>
                      <a:pt x="3036" y="1205"/>
                    </a:lnTo>
                    <a:lnTo>
                      <a:pt x="3035" y="1207"/>
                    </a:lnTo>
                    <a:lnTo>
                      <a:pt x="3038" y="1206"/>
                    </a:lnTo>
                    <a:lnTo>
                      <a:pt x="3037" y="1208"/>
                    </a:lnTo>
                    <a:lnTo>
                      <a:pt x="3037" y="1211"/>
                    </a:lnTo>
                    <a:lnTo>
                      <a:pt x="3037" y="1214"/>
                    </a:lnTo>
                    <a:lnTo>
                      <a:pt x="3037" y="1216"/>
                    </a:lnTo>
                    <a:lnTo>
                      <a:pt x="3035" y="1219"/>
                    </a:lnTo>
                    <a:lnTo>
                      <a:pt x="3033" y="1221"/>
                    </a:lnTo>
                    <a:lnTo>
                      <a:pt x="3034" y="1224"/>
                    </a:lnTo>
                    <a:lnTo>
                      <a:pt x="3034" y="1225"/>
                    </a:lnTo>
                    <a:lnTo>
                      <a:pt x="3034" y="1229"/>
                    </a:lnTo>
                    <a:lnTo>
                      <a:pt x="3034" y="1231"/>
                    </a:lnTo>
                    <a:lnTo>
                      <a:pt x="3034" y="1231"/>
                    </a:lnTo>
                    <a:lnTo>
                      <a:pt x="3035" y="1231"/>
                    </a:lnTo>
                    <a:lnTo>
                      <a:pt x="3036" y="1229"/>
                    </a:lnTo>
                    <a:lnTo>
                      <a:pt x="3037" y="1227"/>
                    </a:lnTo>
                    <a:lnTo>
                      <a:pt x="3037" y="1227"/>
                    </a:lnTo>
                    <a:lnTo>
                      <a:pt x="3037" y="1227"/>
                    </a:lnTo>
                    <a:lnTo>
                      <a:pt x="3036" y="1229"/>
                    </a:lnTo>
                    <a:lnTo>
                      <a:pt x="3036" y="1230"/>
                    </a:lnTo>
                    <a:lnTo>
                      <a:pt x="3035" y="1231"/>
                    </a:lnTo>
                    <a:lnTo>
                      <a:pt x="3035" y="1231"/>
                    </a:lnTo>
                    <a:lnTo>
                      <a:pt x="3035" y="1231"/>
                    </a:lnTo>
                    <a:lnTo>
                      <a:pt x="3035" y="1231"/>
                    </a:lnTo>
                    <a:lnTo>
                      <a:pt x="3035" y="1232"/>
                    </a:lnTo>
                    <a:lnTo>
                      <a:pt x="3035" y="1233"/>
                    </a:lnTo>
                    <a:lnTo>
                      <a:pt x="3035" y="1235"/>
                    </a:lnTo>
                    <a:lnTo>
                      <a:pt x="3033" y="1238"/>
                    </a:lnTo>
                    <a:lnTo>
                      <a:pt x="3033" y="1238"/>
                    </a:lnTo>
                    <a:lnTo>
                      <a:pt x="3033" y="1238"/>
                    </a:lnTo>
                    <a:lnTo>
                      <a:pt x="3031" y="1241"/>
                    </a:lnTo>
                    <a:lnTo>
                      <a:pt x="3031" y="1244"/>
                    </a:lnTo>
                    <a:lnTo>
                      <a:pt x="3031" y="1244"/>
                    </a:lnTo>
                    <a:lnTo>
                      <a:pt x="3030" y="1247"/>
                    </a:lnTo>
                    <a:lnTo>
                      <a:pt x="3030" y="1248"/>
                    </a:lnTo>
                    <a:lnTo>
                      <a:pt x="3030" y="1249"/>
                    </a:lnTo>
                    <a:lnTo>
                      <a:pt x="3029" y="1250"/>
                    </a:lnTo>
                    <a:lnTo>
                      <a:pt x="3029" y="1253"/>
                    </a:lnTo>
                    <a:lnTo>
                      <a:pt x="3030" y="1255"/>
                    </a:lnTo>
                    <a:lnTo>
                      <a:pt x="3036" y="1254"/>
                    </a:lnTo>
                    <a:lnTo>
                      <a:pt x="3036" y="1256"/>
                    </a:lnTo>
                    <a:lnTo>
                      <a:pt x="3042" y="1261"/>
                    </a:lnTo>
                    <a:lnTo>
                      <a:pt x="3042" y="1263"/>
                    </a:lnTo>
                    <a:lnTo>
                      <a:pt x="3044" y="1264"/>
                    </a:lnTo>
                    <a:lnTo>
                      <a:pt x="3045" y="1266"/>
                    </a:lnTo>
                    <a:lnTo>
                      <a:pt x="3048" y="1268"/>
                    </a:lnTo>
                    <a:lnTo>
                      <a:pt x="3050" y="1271"/>
                    </a:lnTo>
                    <a:lnTo>
                      <a:pt x="3051" y="1271"/>
                    </a:lnTo>
                    <a:lnTo>
                      <a:pt x="3050" y="1273"/>
                    </a:lnTo>
                    <a:lnTo>
                      <a:pt x="3055" y="1281"/>
                    </a:lnTo>
                    <a:lnTo>
                      <a:pt x="3055" y="1281"/>
                    </a:lnTo>
                    <a:lnTo>
                      <a:pt x="3055" y="1281"/>
                    </a:lnTo>
                    <a:lnTo>
                      <a:pt x="3055" y="1281"/>
                    </a:lnTo>
                    <a:lnTo>
                      <a:pt x="3056" y="1283"/>
                    </a:lnTo>
                    <a:lnTo>
                      <a:pt x="3057" y="1284"/>
                    </a:lnTo>
                    <a:lnTo>
                      <a:pt x="3059" y="1287"/>
                    </a:lnTo>
                    <a:lnTo>
                      <a:pt x="3060" y="1290"/>
                    </a:lnTo>
                    <a:lnTo>
                      <a:pt x="3059" y="1292"/>
                    </a:lnTo>
                    <a:lnTo>
                      <a:pt x="3060" y="1293"/>
                    </a:lnTo>
                    <a:lnTo>
                      <a:pt x="3060" y="1296"/>
                    </a:lnTo>
                    <a:lnTo>
                      <a:pt x="3060" y="1298"/>
                    </a:lnTo>
                    <a:lnTo>
                      <a:pt x="3060" y="1301"/>
                    </a:lnTo>
                    <a:lnTo>
                      <a:pt x="3062" y="1304"/>
                    </a:lnTo>
                    <a:lnTo>
                      <a:pt x="3063" y="1306"/>
                    </a:lnTo>
                    <a:lnTo>
                      <a:pt x="3062" y="1309"/>
                    </a:lnTo>
                    <a:lnTo>
                      <a:pt x="3063" y="1312"/>
                    </a:lnTo>
                    <a:lnTo>
                      <a:pt x="3067" y="1314"/>
                    </a:lnTo>
                    <a:lnTo>
                      <a:pt x="3065" y="1316"/>
                    </a:lnTo>
                    <a:lnTo>
                      <a:pt x="3065" y="1317"/>
                    </a:lnTo>
                    <a:lnTo>
                      <a:pt x="3068" y="1319"/>
                    </a:lnTo>
                    <a:lnTo>
                      <a:pt x="3070" y="1322"/>
                    </a:lnTo>
                    <a:lnTo>
                      <a:pt x="3072" y="1324"/>
                    </a:lnTo>
                    <a:lnTo>
                      <a:pt x="3073" y="1327"/>
                    </a:lnTo>
                    <a:lnTo>
                      <a:pt x="3072" y="1330"/>
                    </a:lnTo>
                    <a:lnTo>
                      <a:pt x="3074" y="1332"/>
                    </a:lnTo>
                    <a:lnTo>
                      <a:pt x="3077" y="1333"/>
                    </a:lnTo>
                    <a:lnTo>
                      <a:pt x="3078" y="1333"/>
                    </a:lnTo>
                    <a:lnTo>
                      <a:pt x="3079" y="1333"/>
                    </a:lnTo>
                    <a:lnTo>
                      <a:pt x="3081" y="1336"/>
                    </a:lnTo>
                    <a:lnTo>
                      <a:pt x="3084" y="1339"/>
                    </a:lnTo>
                    <a:lnTo>
                      <a:pt x="3087" y="1340"/>
                    </a:lnTo>
                    <a:lnTo>
                      <a:pt x="3088" y="1340"/>
                    </a:lnTo>
                    <a:lnTo>
                      <a:pt x="3089" y="1341"/>
                    </a:lnTo>
                    <a:lnTo>
                      <a:pt x="3091" y="1343"/>
                    </a:lnTo>
                    <a:lnTo>
                      <a:pt x="3094" y="1344"/>
                    </a:lnTo>
                    <a:lnTo>
                      <a:pt x="3096" y="1345"/>
                    </a:lnTo>
                    <a:lnTo>
                      <a:pt x="3099" y="1347"/>
                    </a:lnTo>
                    <a:lnTo>
                      <a:pt x="3102" y="1350"/>
                    </a:lnTo>
                    <a:lnTo>
                      <a:pt x="3104" y="1350"/>
                    </a:lnTo>
                    <a:lnTo>
                      <a:pt x="3105" y="1349"/>
                    </a:lnTo>
                    <a:lnTo>
                      <a:pt x="3108" y="1349"/>
                    </a:lnTo>
                    <a:lnTo>
                      <a:pt x="3108" y="1347"/>
                    </a:lnTo>
                    <a:lnTo>
                      <a:pt x="3108" y="1345"/>
                    </a:lnTo>
                    <a:lnTo>
                      <a:pt x="3110" y="1349"/>
                    </a:lnTo>
                    <a:lnTo>
                      <a:pt x="3113" y="1350"/>
                    </a:lnTo>
                    <a:lnTo>
                      <a:pt x="3112" y="1347"/>
                    </a:lnTo>
                    <a:lnTo>
                      <a:pt x="3112" y="1344"/>
                    </a:lnTo>
                    <a:lnTo>
                      <a:pt x="3111" y="1341"/>
                    </a:lnTo>
                    <a:lnTo>
                      <a:pt x="3108" y="1339"/>
                    </a:lnTo>
                    <a:lnTo>
                      <a:pt x="3107" y="1336"/>
                    </a:lnTo>
                    <a:lnTo>
                      <a:pt x="3107" y="1335"/>
                    </a:lnTo>
                    <a:lnTo>
                      <a:pt x="3106" y="1333"/>
                    </a:lnTo>
                    <a:lnTo>
                      <a:pt x="3104" y="1332"/>
                    </a:lnTo>
                    <a:lnTo>
                      <a:pt x="3103" y="1332"/>
                    </a:lnTo>
                    <a:lnTo>
                      <a:pt x="3102" y="1329"/>
                    </a:lnTo>
                    <a:lnTo>
                      <a:pt x="3102" y="1324"/>
                    </a:lnTo>
                    <a:lnTo>
                      <a:pt x="3102" y="1321"/>
                    </a:lnTo>
                    <a:lnTo>
                      <a:pt x="3100" y="1319"/>
                    </a:lnTo>
                    <a:lnTo>
                      <a:pt x="3100" y="1317"/>
                    </a:lnTo>
                    <a:lnTo>
                      <a:pt x="3102" y="1314"/>
                    </a:lnTo>
                    <a:lnTo>
                      <a:pt x="3102" y="1312"/>
                    </a:lnTo>
                    <a:lnTo>
                      <a:pt x="3102" y="1312"/>
                    </a:lnTo>
                    <a:lnTo>
                      <a:pt x="3102" y="1309"/>
                    </a:lnTo>
                    <a:lnTo>
                      <a:pt x="3102" y="1306"/>
                    </a:lnTo>
                    <a:lnTo>
                      <a:pt x="3102" y="1304"/>
                    </a:lnTo>
                    <a:lnTo>
                      <a:pt x="3099" y="1300"/>
                    </a:lnTo>
                    <a:lnTo>
                      <a:pt x="3098" y="1298"/>
                    </a:lnTo>
                    <a:lnTo>
                      <a:pt x="3097" y="1296"/>
                    </a:lnTo>
                    <a:lnTo>
                      <a:pt x="3097" y="1296"/>
                    </a:lnTo>
                    <a:lnTo>
                      <a:pt x="3094" y="1292"/>
                    </a:lnTo>
                    <a:lnTo>
                      <a:pt x="3091" y="1291"/>
                    </a:lnTo>
                    <a:lnTo>
                      <a:pt x="3089" y="1289"/>
                    </a:lnTo>
                    <a:lnTo>
                      <a:pt x="3087" y="1285"/>
                    </a:lnTo>
                    <a:lnTo>
                      <a:pt x="3085" y="1283"/>
                    </a:lnTo>
                    <a:lnTo>
                      <a:pt x="3082" y="1283"/>
                    </a:lnTo>
                    <a:lnTo>
                      <a:pt x="3080" y="1281"/>
                    </a:lnTo>
                    <a:lnTo>
                      <a:pt x="3078" y="1279"/>
                    </a:lnTo>
                    <a:lnTo>
                      <a:pt x="3076" y="1275"/>
                    </a:lnTo>
                    <a:lnTo>
                      <a:pt x="3073" y="1274"/>
                    </a:lnTo>
                    <a:lnTo>
                      <a:pt x="3072" y="1274"/>
                    </a:lnTo>
                    <a:lnTo>
                      <a:pt x="3069" y="1274"/>
                    </a:lnTo>
                    <a:lnTo>
                      <a:pt x="3067" y="1273"/>
                    </a:lnTo>
                    <a:lnTo>
                      <a:pt x="3063" y="1272"/>
                    </a:lnTo>
                    <a:lnTo>
                      <a:pt x="3061" y="1271"/>
                    </a:lnTo>
                    <a:lnTo>
                      <a:pt x="3060" y="1268"/>
                    </a:lnTo>
                    <a:lnTo>
                      <a:pt x="3056" y="1266"/>
                    </a:lnTo>
                    <a:lnTo>
                      <a:pt x="3056" y="1263"/>
                    </a:lnTo>
                    <a:lnTo>
                      <a:pt x="3056" y="1262"/>
                    </a:lnTo>
                    <a:lnTo>
                      <a:pt x="3057" y="1265"/>
                    </a:lnTo>
                    <a:lnTo>
                      <a:pt x="3060" y="1267"/>
                    </a:lnTo>
                    <a:lnTo>
                      <a:pt x="3060" y="1267"/>
                    </a:lnTo>
                    <a:lnTo>
                      <a:pt x="3060" y="1267"/>
                    </a:lnTo>
                    <a:lnTo>
                      <a:pt x="3060" y="1265"/>
                    </a:lnTo>
                    <a:lnTo>
                      <a:pt x="3060" y="1262"/>
                    </a:lnTo>
                    <a:lnTo>
                      <a:pt x="3059" y="1261"/>
                    </a:lnTo>
                    <a:lnTo>
                      <a:pt x="3057" y="1256"/>
                    </a:lnTo>
                    <a:lnTo>
                      <a:pt x="3057" y="1254"/>
                    </a:lnTo>
                    <a:lnTo>
                      <a:pt x="3056" y="1252"/>
                    </a:lnTo>
                    <a:lnTo>
                      <a:pt x="3056" y="1253"/>
                    </a:lnTo>
                    <a:lnTo>
                      <a:pt x="3056" y="1252"/>
                    </a:lnTo>
                    <a:lnTo>
                      <a:pt x="3056" y="1254"/>
                    </a:lnTo>
                    <a:lnTo>
                      <a:pt x="3054" y="1252"/>
                    </a:lnTo>
                    <a:lnTo>
                      <a:pt x="3054" y="1250"/>
                    </a:lnTo>
                    <a:lnTo>
                      <a:pt x="3053" y="1247"/>
                    </a:lnTo>
                    <a:lnTo>
                      <a:pt x="3053" y="1246"/>
                    </a:lnTo>
                    <a:lnTo>
                      <a:pt x="3053" y="1244"/>
                    </a:lnTo>
                    <a:lnTo>
                      <a:pt x="3051" y="1241"/>
                    </a:lnTo>
                    <a:lnTo>
                      <a:pt x="3048" y="1241"/>
                    </a:lnTo>
                    <a:lnTo>
                      <a:pt x="3046" y="1242"/>
                    </a:lnTo>
                    <a:lnTo>
                      <a:pt x="3045" y="1240"/>
                    </a:lnTo>
                    <a:lnTo>
                      <a:pt x="3044" y="1239"/>
                    </a:lnTo>
                    <a:lnTo>
                      <a:pt x="3044" y="1237"/>
                    </a:lnTo>
                    <a:lnTo>
                      <a:pt x="3043" y="1235"/>
                    </a:lnTo>
                    <a:lnTo>
                      <a:pt x="3043" y="1231"/>
                    </a:lnTo>
                    <a:lnTo>
                      <a:pt x="3043" y="1231"/>
                    </a:lnTo>
                    <a:lnTo>
                      <a:pt x="3043" y="1229"/>
                    </a:lnTo>
                    <a:lnTo>
                      <a:pt x="3044" y="1227"/>
                    </a:lnTo>
                    <a:lnTo>
                      <a:pt x="3044" y="1225"/>
                    </a:lnTo>
                    <a:lnTo>
                      <a:pt x="3044" y="1223"/>
                    </a:lnTo>
                    <a:lnTo>
                      <a:pt x="3046" y="1221"/>
                    </a:lnTo>
                    <a:lnTo>
                      <a:pt x="3046" y="1221"/>
                    </a:lnTo>
                    <a:lnTo>
                      <a:pt x="3046" y="1221"/>
                    </a:lnTo>
                    <a:lnTo>
                      <a:pt x="3047" y="1218"/>
                    </a:lnTo>
                    <a:lnTo>
                      <a:pt x="3047" y="1218"/>
                    </a:lnTo>
                    <a:lnTo>
                      <a:pt x="3047" y="1216"/>
                    </a:lnTo>
                    <a:lnTo>
                      <a:pt x="3048" y="1213"/>
                    </a:lnTo>
                    <a:lnTo>
                      <a:pt x="3048" y="1212"/>
                    </a:lnTo>
                    <a:lnTo>
                      <a:pt x="3050" y="1210"/>
                    </a:lnTo>
                    <a:lnTo>
                      <a:pt x="3052" y="1207"/>
                    </a:lnTo>
                    <a:lnTo>
                      <a:pt x="3052" y="1206"/>
                    </a:lnTo>
                    <a:lnTo>
                      <a:pt x="3052" y="1206"/>
                    </a:lnTo>
                    <a:lnTo>
                      <a:pt x="3052" y="1204"/>
                    </a:lnTo>
                    <a:lnTo>
                      <a:pt x="3054" y="1202"/>
                    </a:lnTo>
                    <a:lnTo>
                      <a:pt x="3054" y="1202"/>
                    </a:lnTo>
                    <a:lnTo>
                      <a:pt x="3054" y="1202"/>
                    </a:lnTo>
                    <a:lnTo>
                      <a:pt x="3054" y="1198"/>
                    </a:lnTo>
                    <a:lnTo>
                      <a:pt x="3054" y="1195"/>
                    </a:lnTo>
                    <a:lnTo>
                      <a:pt x="3054" y="1195"/>
                    </a:lnTo>
                    <a:lnTo>
                      <a:pt x="3054" y="1194"/>
                    </a:lnTo>
                    <a:lnTo>
                      <a:pt x="3055" y="1189"/>
                    </a:lnTo>
                    <a:lnTo>
                      <a:pt x="3055" y="1189"/>
                    </a:lnTo>
                    <a:lnTo>
                      <a:pt x="3055" y="1189"/>
                    </a:lnTo>
                    <a:lnTo>
                      <a:pt x="3054" y="1187"/>
                    </a:lnTo>
                    <a:lnTo>
                      <a:pt x="3054" y="1186"/>
                    </a:lnTo>
                    <a:lnTo>
                      <a:pt x="3055" y="1184"/>
                    </a:lnTo>
                    <a:lnTo>
                      <a:pt x="3057" y="1182"/>
                    </a:lnTo>
                    <a:lnTo>
                      <a:pt x="3061" y="1184"/>
                    </a:lnTo>
                    <a:lnTo>
                      <a:pt x="3062" y="1181"/>
                    </a:lnTo>
                    <a:lnTo>
                      <a:pt x="3065" y="1184"/>
                    </a:lnTo>
                    <a:lnTo>
                      <a:pt x="3068" y="1184"/>
                    </a:lnTo>
                    <a:lnTo>
                      <a:pt x="3068" y="1184"/>
                    </a:lnTo>
                    <a:lnTo>
                      <a:pt x="3067" y="1185"/>
                    </a:lnTo>
                    <a:lnTo>
                      <a:pt x="3067" y="1186"/>
                    </a:lnTo>
                    <a:lnTo>
                      <a:pt x="3067" y="1189"/>
                    </a:lnTo>
                    <a:lnTo>
                      <a:pt x="3067" y="1190"/>
                    </a:lnTo>
                    <a:lnTo>
                      <a:pt x="3067" y="1191"/>
                    </a:lnTo>
                    <a:lnTo>
                      <a:pt x="3067" y="1193"/>
                    </a:lnTo>
                    <a:lnTo>
                      <a:pt x="3068" y="1195"/>
                    </a:lnTo>
                    <a:lnTo>
                      <a:pt x="3070" y="1195"/>
                    </a:lnTo>
                    <a:lnTo>
                      <a:pt x="3071" y="1195"/>
                    </a:lnTo>
                    <a:lnTo>
                      <a:pt x="3073" y="1195"/>
                    </a:lnTo>
                    <a:lnTo>
                      <a:pt x="3079" y="1194"/>
                    </a:lnTo>
                    <a:lnTo>
                      <a:pt x="3081" y="1196"/>
                    </a:lnTo>
                    <a:lnTo>
                      <a:pt x="3082" y="1197"/>
                    </a:lnTo>
                    <a:lnTo>
                      <a:pt x="3082" y="1197"/>
                    </a:lnTo>
                    <a:lnTo>
                      <a:pt x="3085" y="1199"/>
                    </a:lnTo>
                    <a:lnTo>
                      <a:pt x="3086" y="1198"/>
                    </a:lnTo>
                    <a:lnTo>
                      <a:pt x="3087" y="1202"/>
                    </a:lnTo>
                    <a:lnTo>
                      <a:pt x="3089" y="1201"/>
                    </a:lnTo>
                    <a:lnTo>
                      <a:pt x="3091" y="1203"/>
                    </a:lnTo>
                    <a:lnTo>
                      <a:pt x="3091" y="1203"/>
                    </a:lnTo>
                    <a:lnTo>
                      <a:pt x="3091" y="1204"/>
                    </a:lnTo>
                    <a:lnTo>
                      <a:pt x="3094" y="1206"/>
                    </a:lnTo>
                    <a:lnTo>
                      <a:pt x="3094" y="1206"/>
                    </a:lnTo>
                    <a:lnTo>
                      <a:pt x="3094" y="1207"/>
                    </a:lnTo>
                    <a:lnTo>
                      <a:pt x="3094" y="1208"/>
                    </a:lnTo>
                    <a:lnTo>
                      <a:pt x="3094" y="1206"/>
                    </a:lnTo>
                    <a:lnTo>
                      <a:pt x="3094" y="1206"/>
                    </a:lnTo>
                    <a:lnTo>
                      <a:pt x="3094" y="1208"/>
                    </a:lnTo>
                    <a:lnTo>
                      <a:pt x="3094" y="1206"/>
                    </a:lnTo>
                    <a:lnTo>
                      <a:pt x="3095" y="1208"/>
                    </a:lnTo>
                    <a:lnTo>
                      <a:pt x="3096" y="1208"/>
                    </a:lnTo>
                    <a:lnTo>
                      <a:pt x="3095" y="1210"/>
                    </a:lnTo>
                    <a:lnTo>
                      <a:pt x="3095" y="1210"/>
                    </a:lnTo>
                    <a:lnTo>
                      <a:pt x="3095" y="1210"/>
                    </a:lnTo>
                    <a:lnTo>
                      <a:pt x="3096" y="1210"/>
                    </a:lnTo>
                    <a:lnTo>
                      <a:pt x="3097" y="1211"/>
                    </a:lnTo>
                    <a:lnTo>
                      <a:pt x="3097" y="1215"/>
                    </a:lnTo>
                    <a:lnTo>
                      <a:pt x="3097" y="1216"/>
                    </a:lnTo>
                    <a:lnTo>
                      <a:pt x="3097" y="1218"/>
                    </a:lnTo>
                    <a:lnTo>
                      <a:pt x="3097" y="1219"/>
                    </a:lnTo>
                    <a:lnTo>
                      <a:pt x="3097" y="1220"/>
                    </a:lnTo>
                    <a:lnTo>
                      <a:pt x="3100" y="1220"/>
                    </a:lnTo>
                    <a:lnTo>
                      <a:pt x="3100" y="1219"/>
                    </a:lnTo>
                    <a:lnTo>
                      <a:pt x="3100" y="1219"/>
                    </a:lnTo>
                    <a:lnTo>
                      <a:pt x="3102" y="1216"/>
                    </a:lnTo>
                    <a:lnTo>
                      <a:pt x="3103" y="1215"/>
                    </a:lnTo>
                    <a:lnTo>
                      <a:pt x="3105" y="1218"/>
                    </a:lnTo>
                    <a:lnTo>
                      <a:pt x="3105" y="1219"/>
                    </a:lnTo>
                    <a:lnTo>
                      <a:pt x="3104" y="1221"/>
                    </a:lnTo>
                    <a:lnTo>
                      <a:pt x="3105" y="1221"/>
                    </a:lnTo>
                    <a:lnTo>
                      <a:pt x="3105" y="1221"/>
                    </a:lnTo>
                    <a:lnTo>
                      <a:pt x="3103" y="1222"/>
                    </a:lnTo>
                    <a:lnTo>
                      <a:pt x="3103" y="1222"/>
                    </a:lnTo>
                    <a:lnTo>
                      <a:pt x="3103" y="1222"/>
                    </a:lnTo>
                    <a:lnTo>
                      <a:pt x="3103" y="1223"/>
                    </a:lnTo>
                    <a:lnTo>
                      <a:pt x="3105" y="1224"/>
                    </a:lnTo>
                    <a:lnTo>
                      <a:pt x="3107" y="1223"/>
                    </a:lnTo>
                    <a:lnTo>
                      <a:pt x="3113" y="1225"/>
                    </a:lnTo>
                    <a:lnTo>
                      <a:pt x="3114" y="1224"/>
                    </a:lnTo>
                    <a:lnTo>
                      <a:pt x="3115" y="1227"/>
                    </a:lnTo>
                    <a:lnTo>
                      <a:pt x="3116" y="1225"/>
                    </a:lnTo>
                    <a:lnTo>
                      <a:pt x="3115" y="1227"/>
                    </a:lnTo>
                    <a:lnTo>
                      <a:pt x="3115" y="1227"/>
                    </a:lnTo>
                    <a:lnTo>
                      <a:pt x="3115" y="1227"/>
                    </a:lnTo>
                    <a:lnTo>
                      <a:pt x="3117" y="1229"/>
                    </a:lnTo>
                    <a:lnTo>
                      <a:pt x="3120" y="1229"/>
                    </a:lnTo>
                    <a:lnTo>
                      <a:pt x="3123" y="1231"/>
                    </a:lnTo>
                    <a:lnTo>
                      <a:pt x="3124" y="1233"/>
                    </a:lnTo>
                    <a:lnTo>
                      <a:pt x="3121" y="1233"/>
                    </a:lnTo>
                    <a:lnTo>
                      <a:pt x="3121" y="1233"/>
                    </a:lnTo>
                    <a:lnTo>
                      <a:pt x="3121" y="1233"/>
                    </a:lnTo>
                    <a:lnTo>
                      <a:pt x="3121" y="1237"/>
                    </a:lnTo>
                    <a:lnTo>
                      <a:pt x="3120" y="1238"/>
                    </a:lnTo>
                    <a:lnTo>
                      <a:pt x="3120" y="1238"/>
                    </a:lnTo>
                    <a:lnTo>
                      <a:pt x="3120" y="1238"/>
                    </a:lnTo>
                    <a:lnTo>
                      <a:pt x="3120" y="1240"/>
                    </a:lnTo>
                    <a:lnTo>
                      <a:pt x="3120" y="1248"/>
                    </a:lnTo>
                    <a:lnTo>
                      <a:pt x="3122" y="1248"/>
                    </a:lnTo>
                    <a:lnTo>
                      <a:pt x="3122" y="1249"/>
                    </a:lnTo>
                    <a:lnTo>
                      <a:pt x="3120" y="1250"/>
                    </a:lnTo>
                    <a:lnTo>
                      <a:pt x="3120" y="1250"/>
                    </a:lnTo>
                    <a:lnTo>
                      <a:pt x="3120" y="1250"/>
                    </a:lnTo>
                    <a:lnTo>
                      <a:pt x="3122" y="1252"/>
                    </a:lnTo>
                    <a:lnTo>
                      <a:pt x="3124" y="1249"/>
                    </a:lnTo>
                    <a:lnTo>
                      <a:pt x="3125" y="1249"/>
                    </a:lnTo>
                    <a:lnTo>
                      <a:pt x="3125" y="1249"/>
                    </a:lnTo>
                    <a:lnTo>
                      <a:pt x="3127" y="1248"/>
                    </a:lnTo>
                    <a:lnTo>
                      <a:pt x="3128" y="1246"/>
                    </a:lnTo>
                    <a:lnTo>
                      <a:pt x="3128" y="1246"/>
                    </a:lnTo>
                    <a:lnTo>
                      <a:pt x="3128" y="1246"/>
                    </a:lnTo>
                    <a:lnTo>
                      <a:pt x="3128" y="1245"/>
                    </a:lnTo>
                    <a:lnTo>
                      <a:pt x="3131" y="1244"/>
                    </a:lnTo>
                    <a:lnTo>
                      <a:pt x="3137" y="1241"/>
                    </a:lnTo>
                    <a:lnTo>
                      <a:pt x="3138" y="1240"/>
                    </a:lnTo>
                    <a:lnTo>
                      <a:pt x="3138" y="1239"/>
                    </a:lnTo>
                    <a:lnTo>
                      <a:pt x="3138" y="1239"/>
                    </a:lnTo>
                    <a:lnTo>
                      <a:pt x="3138" y="1237"/>
                    </a:lnTo>
                    <a:lnTo>
                      <a:pt x="3137" y="1235"/>
                    </a:lnTo>
                    <a:lnTo>
                      <a:pt x="3134" y="1232"/>
                    </a:lnTo>
                    <a:lnTo>
                      <a:pt x="3134" y="1232"/>
                    </a:lnTo>
                    <a:lnTo>
                      <a:pt x="3136" y="1233"/>
                    </a:lnTo>
                    <a:lnTo>
                      <a:pt x="3138" y="1236"/>
                    </a:lnTo>
                    <a:lnTo>
                      <a:pt x="3141" y="1238"/>
                    </a:lnTo>
                    <a:lnTo>
                      <a:pt x="3144" y="1237"/>
                    </a:lnTo>
                    <a:lnTo>
                      <a:pt x="3144" y="1237"/>
                    </a:lnTo>
                    <a:lnTo>
                      <a:pt x="3144" y="1237"/>
                    </a:lnTo>
                    <a:lnTo>
                      <a:pt x="3144" y="1235"/>
                    </a:lnTo>
                    <a:lnTo>
                      <a:pt x="3141" y="1231"/>
                    </a:lnTo>
                    <a:lnTo>
                      <a:pt x="3140" y="1231"/>
                    </a:lnTo>
                    <a:lnTo>
                      <a:pt x="3139" y="1230"/>
                    </a:lnTo>
                    <a:lnTo>
                      <a:pt x="3138" y="1229"/>
                    </a:lnTo>
                    <a:lnTo>
                      <a:pt x="3140" y="1230"/>
                    </a:lnTo>
                    <a:lnTo>
                      <a:pt x="3140" y="1231"/>
                    </a:lnTo>
                    <a:lnTo>
                      <a:pt x="3141" y="1231"/>
                    </a:lnTo>
                    <a:lnTo>
                      <a:pt x="3144" y="1233"/>
                    </a:lnTo>
                    <a:lnTo>
                      <a:pt x="3144" y="1233"/>
                    </a:lnTo>
                    <a:lnTo>
                      <a:pt x="3144" y="1233"/>
                    </a:lnTo>
                    <a:lnTo>
                      <a:pt x="3144" y="1231"/>
                    </a:lnTo>
                    <a:lnTo>
                      <a:pt x="3142" y="1231"/>
                    </a:lnTo>
                    <a:lnTo>
                      <a:pt x="3144" y="1231"/>
                    </a:lnTo>
                    <a:lnTo>
                      <a:pt x="3145" y="1231"/>
                    </a:lnTo>
                    <a:lnTo>
                      <a:pt x="3146" y="1230"/>
                    </a:lnTo>
                    <a:lnTo>
                      <a:pt x="3146" y="1230"/>
                    </a:lnTo>
                    <a:lnTo>
                      <a:pt x="3144" y="1228"/>
                    </a:lnTo>
                    <a:lnTo>
                      <a:pt x="3142" y="1228"/>
                    </a:lnTo>
                    <a:lnTo>
                      <a:pt x="3142" y="1228"/>
                    </a:lnTo>
                    <a:lnTo>
                      <a:pt x="3145" y="1228"/>
                    </a:lnTo>
                    <a:lnTo>
                      <a:pt x="3145" y="1228"/>
                    </a:lnTo>
                    <a:lnTo>
                      <a:pt x="3145" y="1228"/>
                    </a:lnTo>
                    <a:lnTo>
                      <a:pt x="3145" y="1224"/>
                    </a:lnTo>
                    <a:lnTo>
                      <a:pt x="3145" y="1224"/>
                    </a:lnTo>
                    <a:lnTo>
                      <a:pt x="3147" y="1222"/>
                    </a:lnTo>
                    <a:lnTo>
                      <a:pt x="3147" y="1222"/>
                    </a:lnTo>
                    <a:lnTo>
                      <a:pt x="3148" y="1222"/>
                    </a:lnTo>
                    <a:lnTo>
                      <a:pt x="3149" y="1222"/>
                    </a:lnTo>
                    <a:lnTo>
                      <a:pt x="3150" y="1224"/>
                    </a:lnTo>
                    <a:lnTo>
                      <a:pt x="3154" y="1225"/>
                    </a:lnTo>
                    <a:lnTo>
                      <a:pt x="3157" y="1224"/>
                    </a:lnTo>
                    <a:lnTo>
                      <a:pt x="3161" y="1222"/>
                    </a:lnTo>
                    <a:lnTo>
                      <a:pt x="3163" y="1222"/>
                    </a:lnTo>
                    <a:lnTo>
                      <a:pt x="3165" y="1220"/>
                    </a:lnTo>
                    <a:lnTo>
                      <a:pt x="3166" y="1219"/>
                    </a:lnTo>
                    <a:lnTo>
                      <a:pt x="3168" y="1218"/>
                    </a:lnTo>
                    <a:lnTo>
                      <a:pt x="3171" y="1215"/>
                    </a:lnTo>
                    <a:lnTo>
                      <a:pt x="3175" y="1213"/>
                    </a:lnTo>
                    <a:lnTo>
                      <a:pt x="3178" y="1211"/>
                    </a:lnTo>
                    <a:lnTo>
                      <a:pt x="3178" y="1211"/>
                    </a:lnTo>
                    <a:lnTo>
                      <a:pt x="3178" y="1211"/>
                    </a:lnTo>
                    <a:lnTo>
                      <a:pt x="3178" y="1210"/>
                    </a:lnTo>
                    <a:lnTo>
                      <a:pt x="3180" y="1207"/>
                    </a:lnTo>
                    <a:lnTo>
                      <a:pt x="3180" y="1207"/>
                    </a:lnTo>
                    <a:lnTo>
                      <a:pt x="3181" y="1207"/>
                    </a:lnTo>
                    <a:lnTo>
                      <a:pt x="3179" y="1206"/>
                    </a:lnTo>
                    <a:lnTo>
                      <a:pt x="3180" y="1204"/>
                    </a:lnTo>
                    <a:lnTo>
                      <a:pt x="3180" y="1204"/>
                    </a:lnTo>
                    <a:lnTo>
                      <a:pt x="3180" y="1204"/>
                    </a:lnTo>
                    <a:lnTo>
                      <a:pt x="3180" y="1203"/>
                    </a:lnTo>
                    <a:lnTo>
                      <a:pt x="3181" y="1201"/>
                    </a:lnTo>
                    <a:lnTo>
                      <a:pt x="3180" y="1201"/>
                    </a:lnTo>
                    <a:lnTo>
                      <a:pt x="3180" y="1201"/>
                    </a:lnTo>
                    <a:lnTo>
                      <a:pt x="3180" y="1201"/>
                    </a:lnTo>
                    <a:lnTo>
                      <a:pt x="3180" y="1199"/>
                    </a:lnTo>
                    <a:lnTo>
                      <a:pt x="3180" y="1199"/>
                    </a:lnTo>
                    <a:lnTo>
                      <a:pt x="3180" y="1197"/>
                    </a:lnTo>
                    <a:lnTo>
                      <a:pt x="3181" y="1197"/>
                    </a:lnTo>
                    <a:lnTo>
                      <a:pt x="3181" y="1197"/>
                    </a:lnTo>
                    <a:lnTo>
                      <a:pt x="3181" y="1197"/>
                    </a:lnTo>
                    <a:lnTo>
                      <a:pt x="3181" y="1195"/>
                    </a:lnTo>
                    <a:lnTo>
                      <a:pt x="3183" y="1195"/>
                    </a:lnTo>
                    <a:lnTo>
                      <a:pt x="3183" y="1195"/>
                    </a:lnTo>
                    <a:lnTo>
                      <a:pt x="3183" y="1195"/>
                    </a:lnTo>
                    <a:lnTo>
                      <a:pt x="3183" y="1191"/>
                    </a:lnTo>
                    <a:lnTo>
                      <a:pt x="3183" y="1191"/>
                    </a:lnTo>
                    <a:lnTo>
                      <a:pt x="3183" y="1191"/>
                    </a:lnTo>
                    <a:lnTo>
                      <a:pt x="3183" y="1191"/>
                    </a:lnTo>
                    <a:lnTo>
                      <a:pt x="3182" y="1189"/>
                    </a:lnTo>
                    <a:lnTo>
                      <a:pt x="3182" y="1189"/>
                    </a:lnTo>
                    <a:lnTo>
                      <a:pt x="3182" y="1186"/>
                    </a:lnTo>
                    <a:lnTo>
                      <a:pt x="3181" y="1184"/>
                    </a:lnTo>
                    <a:lnTo>
                      <a:pt x="3181" y="1177"/>
                    </a:lnTo>
                    <a:lnTo>
                      <a:pt x="3181" y="1174"/>
                    </a:lnTo>
                    <a:lnTo>
                      <a:pt x="3180" y="1172"/>
                    </a:lnTo>
                    <a:lnTo>
                      <a:pt x="3179" y="1169"/>
                    </a:lnTo>
                    <a:lnTo>
                      <a:pt x="3179" y="1167"/>
                    </a:lnTo>
                    <a:lnTo>
                      <a:pt x="3178" y="1164"/>
                    </a:lnTo>
                    <a:lnTo>
                      <a:pt x="3176" y="1162"/>
                    </a:lnTo>
                    <a:lnTo>
                      <a:pt x="3175" y="1160"/>
                    </a:lnTo>
                    <a:lnTo>
                      <a:pt x="3175" y="1158"/>
                    </a:lnTo>
                    <a:lnTo>
                      <a:pt x="3174" y="1158"/>
                    </a:lnTo>
                    <a:lnTo>
                      <a:pt x="3174" y="1156"/>
                    </a:lnTo>
                    <a:lnTo>
                      <a:pt x="3172" y="1155"/>
                    </a:lnTo>
                    <a:lnTo>
                      <a:pt x="3171" y="1153"/>
                    </a:lnTo>
                    <a:lnTo>
                      <a:pt x="3170" y="1150"/>
                    </a:lnTo>
                    <a:lnTo>
                      <a:pt x="3168" y="1150"/>
                    </a:lnTo>
                    <a:lnTo>
                      <a:pt x="3167" y="1147"/>
                    </a:lnTo>
                    <a:lnTo>
                      <a:pt x="3167" y="1147"/>
                    </a:lnTo>
                    <a:lnTo>
                      <a:pt x="3167" y="1147"/>
                    </a:lnTo>
                    <a:lnTo>
                      <a:pt x="3167" y="1147"/>
                    </a:lnTo>
                    <a:lnTo>
                      <a:pt x="3166" y="1146"/>
                    </a:lnTo>
                    <a:lnTo>
                      <a:pt x="3167" y="1147"/>
                    </a:lnTo>
                    <a:lnTo>
                      <a:pt x="3166" y="1147"/>
                    </a:lnTo>
                    <a:lnTo>
                      <a:pt x="3166" y="1147"/>
                    </a:lnTo>
                    <a:lnTo>
                      <a:pt x="3166" y="1147"/>
                    </a:lnTo>
                    <a:lnTo>
                      <a:pt x="3166" y="1147"/>
                    </a:lnTo>
                    <a:lnTo>
                      <a:pt x="3167" y="1147"/>
                    </a:lnTo>
                    <a:lnTo>
                      <a:pt x="3167" y="1147"/>
                    </a:lnTo>
                    <a:lnTo>
                      <a:pt x="3166" y="1145"/>
                    </a:lnTo>
                    <a:lnTo>
                      <a:pt x="3165" y="1145"/>
                    </a:lnTo>
                    <a:lnTo>
                      <a:pt x="3162" y="1144"/>
                    </a:lnTo>
                    <a:lnTo>
                      <a:pt x="3161" y="1141"/>
                    </a:lnTo>
                    <a:lnTo>
                      <a:pt x="3159" y="1141"/>
                    </a:lnTo>
                    <a:lnTo>
                      <a:pt x="3158" y="1141"/>
                    </a:lnTo>
                    <a:lnTo>
                      <a:pt x="3156" y="1138"/>
                    </a:lnTo>
                    <a:lnTo>
                      <a:pt x="3156" y="1139"/>
                    </a:lnTo>
                    <a:lnTo>
                      <a:pt x="3156" y="1139"/>
                    </a:lnTo>
                    <a:lnTo>
                      <a:pt x="3156" y="1138"/>
                    </a:lnTo>
                    <a:lnTo>
                      <a:pt x="3154" y="1136"/>
                    </a:lnTo>
                    <a:lnTo>
                      <a:pt x="3151" y="1136"/>
                    </a:lnTo>
                    <a:lnTo>
                      <a:pt x="3151" y="1133"/>
                    </a:lnTo>
                    <a:lnTo>
                      <a:pt x="3147" y="1129"/>
                    </a:lnTo>
                    <a:lnTo>
                      <a:pt x="3145" y="1127"/>
                    </a:lnTo>
                    <a:lnTo>
                      <a:pt x="3144" y="1125"/>
                    </a:lnTo>
                    <a:lnTo>
                      <a:pt x="3142" y="1124"/>
                    </a:lnTo>
                    <a:lnTo>
                      <a:pt x="3142" y="1124"/>
                    </a:lnTo>
                    <a:lnTo>
                      <a:pt x="3141" y="1124"/>
                    </a:lnTo>
                    <a:lnTo>
                      <a:pt x="3141" y="1124"/>
                    </a:lnTo>
                    <a:lnTo>
                      <a:pt x="3142" y="1124"/>
                    </a:lnTo>
                    <a:lnTo>
                      <a:pt x="3142" y="1121"/>
                    </a:lnTo>
                    <a:lnTo>
                      <a:pt x="3144" y="1120"/>
                    </a:lnTo>
                    <a:lnTo>
                      <a:pt x="3138" y="1117"/>
                    </a:lnTo>
                    <a:lnTo>
                      <a:pt x="3134" y="1113"/>
                    </a:lnTo>
                    <a:lnTo>
                      <a:pt x="3133" y="1110"/>
                    </a:lnTo>
                    <a:lnTo>
                      <a:pt x="3132" y="1110"/>
                    </a:lnTo>
                    <a:lnTo>
                      <a:pt x="3131" y="1105"/>
                    </a:lnTo>
                    <a:lnTo>
                      <a:pt x="3133" y="1102"/>
                    </a:lnTo>
                    <a:lnTo>
                      <a:pt x="3133" y="1096"/>
                    </a:lnTo>
                    <a:lnTo>
                      <a:pt x="3134" y="1095"/>
                    </a:lnTo>
                    <a:lnTo>
                      <a:pt x="3136" y="1092"/>
                    </a:lnTo>
                    <a:lnTo>
                      <a:pt x="3138" y="1092"/>
                    </a:lnTo>
                    <a:lnTo>
                      <a:pt x="3139" y="1092"/>
                    </a:lnTo>
                    <a:lnTo>
                      <a:pt x="3144" y="1087"/>
                    </a:lnTo>
                    <a:lnTo>
                      <a:pt x="3144" y="1087"/>
                    </a:lnTo>
                    <a:lnTo>
                      <a:pt x="3144" y="1087"/>
                    </a:lnTo>
                    <a:lnTo>
                      <a:pt x="3142" y="1087"/>
                    </a:lnTo>
                    <a:lnTo>
                      <a:pt x="3145" y="1084"/>
                    </a:lnTo>
                    <a:lnTo>
                      <a:pt x="3145" y="1082"/>
                    </a:lnTo>
                    <a:lnTo>
                      <a:pt x="3145" y="1082"/>
                    </a:lnTo>
                    <a:lnTo>
                      <a:pt x="3146" y="1082"/>
                    </a:lnTo>
                    <a:lnTo>
                      <a:pt x="3146" y="1082"/>
                    </a:lnTo>
                    <a:lnTo>
                      <a:pt x="3146" y="1082"/>
                    </a:lnTo>
                    <a:lnTo>
                      <a:pt x="3146" y="1079"/>
                    </a:lnTo>
                    <a:lnTo>
                      <a:pt x="3146" y="1079"/>
                    </a:lnTo>
                    <a:lnTo>
                      <a:pt x="3147" y="1078"/>
                    </a:lnTo>
                    <a:lnTo>
                      <a:pt x="3147" y="1078"/>
                    </a:lnTo>
                    <a:lnTo>
                      <a:pt x="3147" y="1078"/>
                    </a:lnTo>
                    <a:lnTo>
                      <a:pt x="3146" y="1077"/>
                    </a:lnTo>
                    <a:lnTo>
                      <a:pt x="3146" y="1077"/>
                    </a:lnTo>
                    <a:lnTo>
                      <a:pt x="3148" y="1078"/>
                    </a:lnTo>
                    <a:lnTo>
                      <a:pt x="3150" y="1077"/>
                    </a:lnTo>
                    <a:lnTo>
                      <a:pt x="3150" y="1078"/>
                    </a:lnTo>
                    <a:lnTo>
                      <a:pt x="3154" y="1077"/>
                    </a:lnTo>
                    <a:lnTo>
                      <a:pt x="3154" y="1077"/>
                    </a:lnTo>
                    <a:lnTo>
                      <a:pt x="3154" y="1077"/>
                    </a:lnTo>
                    <a:lnTo>
                      <a:pt x="3155" y="1075"/>
                    </a:lnTo>
                    <a:lnTo>
                      <a:pt x="3155" y="1074"/>
                    </a:lnTo>
                    <a:lnTo>
                      <a:pt x="3156" y="1074"/>
                    </a:lnTo>
                    <a:lnTo>
                      <a:pt x="3156" y="1074"/>
                    </a:lnTo>
                    <a:lnTo>
                      <a:pt x="3156" y="1074"/>
                    </a:lnTo>
                    <a:lnTo>
                      <a:pt x="3156" y="1074"/>
                    </a:lnTo>
                    <a:lnTo>
                      <a:pt x="3157" y="1073"/>
                    </a:lnTo>
                    <a:lnTo>
                      <a:pt x="3161" y="1071"/>
                    </a:lnTo>
                    <a:lnTo>
                      <a:pt x="3164" y="1070"/>
                    </a:lnTo>
                    <a:lnTo>
                      <a:pt x="3164" y="1070"/>
                    </a:lnTo>
                    <a:lnTo>
                      <a:pt x="3164" y="1070"/>
                    </a:lnTo>
                    <a:lnTo>
                      <a:pt x="3164" y="1070"/>
                    </a:lnTo>
                    <a:lnTo>
                      <a:pt x="3164" y="1069"/>
                    </a:lnTo>
                    <a:lnTo>
                      <a:pt x="3166" y="1069"/>
                    </a:lnTo>
                    <a:lnTo>
                      <a:pt x="3168" y="1067"/>
                    </a:lnTo>
                    <a:lnTo>
                      <a:pt x="3171" y="1069"/>
                    </a:lnTo>
                    <a:lnTo>
                      <a:pt x="3171" y="1066"/>
                    </a:lnTo>
                    <a:lnTo>
                      <a:pt x="3170" y="1065"/>
                    </a:lnTo>
                    <a:lnTo>
                      <a:pt x="3170" y="1064"/>
                    </a:lnTo>
                    <a:lnTo>
                      <a:pt x="3170" y="1065"/>
                    </a:lnTo>
                    <a:lnTo>
                      <a:pt x="3172" y="1065"/>
                    </a:lnTo>
                    <a:lnTo>
                      <a:pt x="3173" y="1067"/>
                    </a:lnTo>
                    <a:lnTo>
                      <a:pt x="3173" y="1068"/>
                    </a:lnTo>
                    <a:lnTo>
                      <a:pt x="3176" y="1066"/>
                    </a:lnTo>
                    <a:lnTo>
                      <a:pt x="3179" y="1068"/>
                    </a:lnTo>
                    <a:lnTo>
                      <a:pt x="3178" y="1070"/>
                    </a:lnTo>
                    <a:lnTo>
                      <a:pt x="3181" y="1070"/>
                    </a:lnTo>
                    <a:lnTo>
                      <a:pt x="3181" y="1070"/>
                    </a:lnTo>
                    <a:lnTo>
                      <a:pt x="3183" y="1070"/>
                    </a:lnTo>
                    <a:lnTo>
                      <a:pt x="3183" y="1067"/>
                    </a:lnTo>
                    <a:lnTo>
                      <a:pt x="3187" y="1068"/>
                    </a:lnTo>
                    <a:lnTo>
                      <a:pt x="3188" y="1070"/>
                    </a:lnTo>
                    <a:lnTo>
                      <a:pt x="3188" y="1068"/>
                    </a:lnTo>
                    <a:lnTo>
                      <a:pt x="3190" y="1070"/>
                    </a:lnTo>
                    <a:lnTo>
                      <a:pt x="3190" y="1071"/>
                    </a:lnTo>
                    <a:lnTo>
                      <a:pt x="3188" y="1074"/>
                    </a:lnTo>
                    <a:lnTo>
                      <a:pt x="3187" y="1076"/>
                    </a:lnTo>
                    <a:lnTo>
                      <a:pt x="3187" y="1077"/>
                    </a:lnTo>
                    <a:lnTo>
                      <a:pt x="3189" y="1083"/>
                    </a:lnTo>
                    <a:lnTo>
                      <a:pt x="3191" y="1085"/>
                    </a:lnTo>
                    <a:lnTo>
                      <a:pt x="3191" y="1087"/>
                    </a:lnTo>
                    <a:lnTo>
                      <a:pt x="3195" y="1087"/>
                    </a:lnTo>
                    <a:lnTo>
                      <a:pt x="3197" y="1086"/>
                    </a:lnTo>
                    <a:lnTo>
                      <a:pt x="3198" y="1084"/>
                    </a:lnTo>
                    <a:lnTo>
                      <a:pt x="3196" y="1081"/>
                    </a:lnTo>
                    <a:lnTo>
                      <a:pt x="3197" y="1081"/>
                    </a:lnTo>
                    <a:lnTo>
                      <a:pt x="3197" y="1079"/>
                    </a:lnTo>
                    <a:lnTo>
                      <a:pt x="3193" y="1079"/>
                    </a:lnTo>
                    <a:lnTo>
                      <a:pt x="3193" y="1076"/>
                    </a:lnTo>
                    <a:lnTo>
                      <a:pt x="3195" y="1075"/>
                    </a:lnTo>
                    <a:lnTo>
                      <a:pt x="3197" y="1074"/>
                    </a:lnTo>
                    <a:lnTo>
                      <a:pt x="3196" y="1071"/>
                    </a:lnTo>
                    <a:lnTo>
                      <a:pt x="3197" y="1074"/>
                    </a:lnTo>
                    <a:lnTo>
                      <a:pt x="3199" y="1074"/>
                    </a:lnTo>
                    <a:lnTo>
                      <a:pt x="3200" y="1071"/>
                    </a:lnTo>
                    <a:lnTo>
                      <a:pt x="3201" y="1070"/>
                    </a:lnTo>
                    <a:lnTo>
                      <a:pt x="3200" y="1071"/>
                    </a:lnTo>
                    <a:lnTo>
                      <a:pt x="3204" y="1071"/>
                    </a:lnTo>
                    <a:lnTo>
                      <a:pt x="3207" y="1070"/>
                    </a:lnTo>
                    <a:lnTo>
                      <a:pt x="3207" y="1070"/>
                    </a:lnTo>
                    <a:lnTo>
                      <a:pt x="3208" y="1070"/>
                    </a:lnTo>
                    <a:lnTo>
                      <a:pt x="3210" y="1069"/>
                    </a:lnTo>
                    <a:lnTo>
                      <a:pt x="3210" y="1069"/>
                    </a:lnTo>
                    <a:lnTo>
                      <a:pt x="3213" y="1069"/>
                    </a:lnTo>
                    <a:lnTo>
                      <a:pt x="3215" y="1067"/>
                    </a:lnTo>
                    <a:lnTo>
                      <a:pt x="3217" y="1067"/>
                    </a:lnTo>
                    <a:lnTo>
                      <a:pt x="3217" y="1066"/>
                    </a:lnTo>
                    <a:lnTo>
                      <a:pt x="3217" y="1065"/>
                    </a:lnTo>
                    <a:lnTo>
                      <a:pt x="3217" y="1065"/>
                    </a:lnTo>
                    <a:lnTo>
                      <a:pt x="3218" y="1065"/>
                    </a:lnTo>
                    <a:lnTo>
                      <a:pt x="3218" y="1065"/>
                    </a:lnTo>
                    <a:lnTo>
                      <a:pt x="3218" y="1065"/>
                    </a:lnTo>
                    <a:lnTo>
                      <a:pt x="3218" y="1065"/>
                    </a:lnTo>
                    <a:lnTo>
                      <a:pt x="3221" y="1067"/>
                    </a:lnTo>
                    <a:lnTo>
                      <a:pt x="3223" y="1067"/>
                    </a:lnTo>
                    <a:lnTo>
                      <a:pt x="3224" y="1065"/>
                    </a:lnTo>
                    <a:lnTo>
                      <a:pt x="3224" y="1064"/>
                    </a:lnTo>
                    <a:lnTo>
                      <a:pt x="3224" y="1065"/>
                    </a:lnTo>
                    <a:lnTo>
                      <a:pt x="3226" y="1066"/>
                    </a:lnTo>
                    <a:lnTo>
                      <a:pt x="3230" y="1064"/>
                    </a:lnTo>
                    <a:lnTo>
                      <a:pt x="3232" y="1064"/>
                    </a:lnTo>
                    <a:lnTo>
                      <a:pt x="3232" y="1061"/>
                    </a:lnTo>
                    <a:lnTo>
                      <a:pt x="3233" y="1059"/>
                    </a:lnTo>
                    <a:lnTo>
                      <a:pt x="3236" y="1060"/>
                    </a:lnTo>
                    <a:lnTo>
                      <a:pt x="3235" y="1058"/>
                    </a:lnTo>
                    <a:lnTo>
                      <a:pt x="3234" y="1054"/>
                    </a:lnTo>
                    <a:lnTo>
                      <a:pt x="3235" y="1057"/>
                    </a:lnTo>
                    <a:lnTo>
                      <a:pt x="3238" y="1059"/>
                    </a:lnTo>
                    <a:lnTo>
                      <a:pt x="3238" y="1060"/>
                    </a:lnTo>
                    <a:lnTo>
                      <a:pt x="3240" y="1060"/>
                    </a:lnTo>
                    <a:lnTo>
                      <a:pt x="3240" y="1054"/>
                    </a:lnTo>
                    <a:lnTo>
                      <a:pt x="3238" y="1052"/>
                    </a:lnTo>
                    <a:lnTo>
                      <a:pt x="3238" y="1052"/>
                    </a:lnTo>
                    <a:lnTo>
                      <a:pt x="3238" y="1052"/>
                    </a:lnTo>
                    <a:lnTo>
                      <a:pt x="3239" y="1051"/>
                    </a:lnTo>
                    <a:lnTo>
                      <a:pt x="3236" y="1050"/>
                    </a:lnTo>
                    <a:lnTo>
                      <a:pt x="3235" y="1050"/>
                    </a:lnTo>
                    <a:lnTo>
                      <a:pt x="3236" y="1050"/>
                    </a:lnTo>
                    <a:lnTo>
                      <a:pt x="3238" y="1049"/>
                    </a:lnTo>
                    <a:lnTo>
                      <a:pt x="3238" y="1048"/>
                    </a:lnTo>
                    <a:lnTo>
                      <a:pt x="3238" y="1047"/>
                    </a:lnTo>
                    <a:lnTo>
                      <a:pt x="3239" y="1048"/>
                    </a:lnTo>
                    <a:lnTo>
                      <a:pt x="3241" y="1047"/>
                    </a:lnTo>
                    <a:lnTo>
                      <a:pt x="3242" y="1047"/>
                    </a:lnTo>
                    <a:lnTo>
                      <a:pt x="3241" y="1047"/>
                    </a:lnTo>
                    <a:lnTo>
                      <a:pt x="3239" y="1048"/>
                    </a:lnTo>
                    <a:lnTo>
                      <a:pt x="3240" y="1048"/>
                    </a:lnTo>
                    <a:lnTo>
                      <a:pt x="3241" y="1048"/>
                    </a:lnTo>
                    <a:lnTo>
                      <a:pt x="3241" y="1049"/>
                    </a:lnTo>
                    <a:lnTo>
                      <a:pt x="3241" y="1052"/>
                    </a:lnTo>
                    <a:lnTo>
                      <a:pt x="3242" y="1052"/>
                    </a:lnTo>
                    <a:lnTo>
                      <a:pt x="3244" y="1056"/>
                    </a:lnTo>
                    <a:lnTo>
                      <a:pt x="3247" y="1056"/>
                    </a:lnTo>
                    <a:lnTo>
                      <a:pt x="3248" y="1058"/>
                    </a:lnTo>
                    <a:lnTo>
                      <a:pt x="3248" y="1058"/>
                    </a:lnTo>
                    <a:lnTo>
                      <a:pt x="3249" y="1058"/>
                    </a:lnTo>
                    <a:lnTo>
                      <a:pt x="3250" y="1059"/>
                    </a:lnTo>
                    <a:lnTo>
                      <a:pt x="3250" y="1056"/>
                    </a:lnTo>
                    <a:lnTo>
                      <a:pt x="3249" y="1054"/>
                    </a:lnTo>
                    <a:lnTo>
                      <a:pt x="3251" y="1054"/>
                    </a:lnTo>
                    <a:lnTo>
                      <a:pt x="3252" y="1054"/>
                    </a:lnTo>
                    <a:lnTo>
                      <a:pt x="3252" y="1056"/>
                    </a:lnTo>
                    <a:lnTo>
                      <a:pt x="3253" y="1053"/>
                    </a:lnTo>
                    <a:lnTo>
                      <a:pt x="3252" y="1053"/>
                    </a:lnTo>
                    <a:lnTo>
                      <a:pt x="3256" y="1051"/>
                    </a:lnTo>
                    <a:lnTo>
                      <a:pt x="3256" y="1053"/>
                    </a:lnTo>
                    <a:lnTo>
                      <a:pt x="3256" y="1054"/>
                    </a:lnTo>
                    <a:lnTo>
                      <a:pt x="3259" y="1053"/>
                    </a:lnTo>
                    <a:lnTo>
                      <a:pt x="3262" y="1051"/>
                    </a:lnTo>
                    <a:lnTo>
                      <a:pt x="3264" y="1051"/>
                    </a:lnTo>
                    <a:lnTo>
                      <a:pt x="3265" y="1052"/>
                    </a:lnTo>
                    <a:lnTo>
                      <a:pt x="3267" y="1053"/>
                    </a:lnTo>
                    <a:lnTo>
                      <a:pt x="3267" y="1053"/>
                    </a:lnTo>
                    <a:lnTo>
                      <a:pt x="3268" y="1050"/>
                    </a:lnTo>
                    <a:lnTo>
                      <a:pt x="3270" y="1051"/>
                    </a:lnTo>
                    <a:lnTo>
                      <a:pt x="3273" y="1050"/>
                    </a:lnTo>
                    <a:lnTo>
                      <a:pt x="3274" y="1050"/>
                    </a:lnTo>
                    <a:lnTo>
                      <a:pt x="3274" y="1049"/>
                    </a:lnTo>
                    <a:lnTo>
                      <a:pt x="3274" y="1050"/>
                    </a:lnTo>
                    <a:lnTo>
                      <a:pt x="3275" y="1050"/>
                    </a:lnTo>
                    <a:lnTo>
                      <a:pt x="3278" y="1049"/>
                    </a:lnTo>
                    <a:lnTo>
                      <a:pt x="3281" y="1049"/>
                    </a:lnTo>
                    <a:lnTo>
                      <a:pt x="3281" y="1047"/>
                    </a:lnTo>
                    <a:lnTo>
                      <a:pt x="3281" y="1045"/>
                    </a:lnTo>
                    <a:lnTo>
                      <a:pt x="3281" y="1045"/>
                    </a:lnTo>
                    <a:lnTo>
                      <a:pt x="3282" y="1045"/>
                    </a:lnTo>
                    <a:lnTo>
                      <a:pt x="3282" y="1043"/>
                    </a:lnTo>
                    <a:lnTo>
                      <a:pt x="3284" y="1042"/>
                    </a:lnTo>
                    <a:lnTo>
                      <a:pt x="3285" y="1042"/>
                    </a:lnTo>
                    <a:lnTo>
                      <a:pt x="3285" y="1039"/>
                    </a:lnTo>
                    <a:lnTo>
                      <a:pt x="3289" y="1040"/>
                    </a:lnTo>
                    <a:lnTo>
                      <a:pt x="3292" y="1036"/>
                    </a:lnTo>
                    <a:lnTo>
                      <a:pt x="3292" y="1036"/>
                    </a:lnTo>
                    <a:lnTo>
                      <a:pt x="3295" y="1035"/>
                    </a:lnTo>
                    <a:lnTo>
                      <a:pt x="3296" y="1033"/>
                    </a:lnTo>
                    <a:lnTo>
                      <a:pt x="3296" y="1033"/>
                    </a:lnTo>
                    <a:lnTo>
                      <a:pt x="3299" y="1033"/>
                    </a:lnTo>
                    <a:lnTo>
                      <a:pt x="3301" y="1031"/>
                    </a:lnTo>
                    <a:lnTo>
                      <a:pt x="3301" y="1027"/>
                    </a:lnTo>
                    <a:lnTo>
                      <a:pt x="3299" y="1027"/>
                    </a:lnTo>
                    <a:lnTo>
                      <a:pt x="3298" y="1027"/>
                    </a:lnTo>
                    <a:lnTo>
                      <a:pt x="3300" y="1027"/>
                    </a:lnTo>
                    <a:lnTo>
                      <a:pt x="3302" y="1026"/>
                    </a:lnTo>
                    <a:lnTo>
                      <a:pt x="3303" y="1025"/>
                    </a:lnTo>
                    <a:lnTo>
                      <a:pt x="3306" y="1025"/>
                    </a:lnTo>
                    <a:lnTo>
                      <a:pt x="3308" y="1025"/>
                    </a:lnTo>
                    <a:lnTo>
                      <a:pt x="3310" y="1025"/>
                    </a:lnTo>
                    <a:lnTo>
                      <a:pt x="3309" y="1023"/>
                    </a:lnTo>
                    <a:lnTo>
                      <a:pt x="3311" y="1020"/>
                    </a:lnTo>
                    <a:lnTo>
                      <a:pt x="3315" y="1019"/>
                    </a:lnTo>
                    <a:lnTo>
                      <a:pt x="3313" y="1017"/>
                    </a:lnTo>
                    <a:lnTo>
                      <a:pt x="3316" y="1017"/>
                    </a:lnTo>
                    <a:lnTo>
                      <a:pt x="3318" y="1017"/>
                    </a:lnTo>
                    <a:lnTo>
                      <a:pt x="3317" y="1014"/>
                    </a:lnTo>
                    <a:lnTo>
                      <a:pt x="3317" y="1013"/>
                    </a:lnTo>
                    <a:lnTo>
                      <a:pt x="3320" y="1011"/>
                    </a:lnTo>
                    <a:lnTo>
                      <a:pt x="3320" y="1014"/>
                    </a:lnTo>
                    <a:lnTo>
                      <a:pt x="3323" y="1011"/>
                    </a:lnTo>
                    <a:lnTo>
                      <a:pt x="3320" y="1010"/>
                    </a:lnTo>
                    <a:lnTo>
                      <a:pt x="3321" y="1009"/>
                    </a:lnTo>
                    <a:lnTo>
                      <a:pt x="3323" y="1006"/>
                    </a:lnTo>
                    <a:lnTo>
                      <a:pt x="3320" y="1005"/>
                    </a:lnTo>
                    <a:lnTo>
                      <a:pt x="3320" y="1005"/>
                    </a:lnTo>
                    <a:lnTo>
                      <a:pt x="3319" y="1006"/>
                    </a:lnTo>
                    <a:lnTo>
                      <a:pt x="3318" y="1005"/>
                    </a:lnTo>
                    <a:lnTo>
                      <a:pt x="3316" y="1002"/>
                    </a:lnTo>
                    <a:lnTo>
                      <a:pt x="3320" y="1005"/>
                    </a:lnTo>
                    <a:lnTo>
                      <a:pt x="3321" y="1002"/>
                    </a:lnTo>
                    <a:lnTo>
                      <a:pt x="3325" y="1000"/>
                    </a:lnTo>
                    <a:lnTo>
                      <a:pt x="3327" y="999"/>
                    </a:lnTo>
                    <a:lnTo>
                      <a:pt x="3325" y="999"/>
                    </a:lnTo>
                    <a:lnTo>
                      <a:pt x="3325" y="997"/>
                    </a:lnTo>
                    <a:lnTo>
                      <a:pt x="3325" y="997"/>
                    </a:lnTo>
                    <a:lnTo>
                      <a:pt x="3323" y="996"/>
                    </a:lnTo>
                    <a:lnTo>
                      <a:pt x="3321" y="993"/>
                    </a:lnTo>
                    <a:lnTo>
                      <a:pt x="3328" y="993"/>
                    </a:lnTo>
                    <a:lnTo>
                      <a:pt x="3328" y="994"/>
                    </a:lnTo>
                    <a:lnTo>
                      <a:pt x="3326" y="997"/>
                    </a:lnTo>
                    <a:lnTo>
                      <a:pt x="3328" y="996"/>
                    </a:lnTo>
                    <a:lnTo>
                      <a:pt x="3329" y="993"/>
                    </a:lnTo>
                    <a:lnTo>
                      <a:pt x="3332" y="989"/>
                    </a:lnTo>
                    <a:lnTo>
                      <a:pt x="3334" y="988"/>
                    </a:lnTo>
                    <a:lnTo>
                      <a:pt x="3330" y="987"/>
                    </a:lnTo>
                    <a:lnTo>
                      <a:pt x="3334" y="988"/>
                    </a:lnTo>
                    <a:lnTo>
                      <a:pt x="3335" y="984"/>
                    </a:lnTo>
                    <a:lnTo>
                      <a:pt x="3336" y="981"/>
                    </a:lnTo>
                    <a:lnTo>
                      <a:pt x="3337" y="981"/>
                    </a:lnTo>
                    <a:lnTo>
                      <a:pt x="3338" y="979"/>
                    </a:lnTo>
                    <a:lnTo>
                      <a:pt x="3337" y="975"/>
                    </a:lnTo>
                    <a:lnTo>
                      <a:pt x="3336" y="974"/>
                    </a:lnTo>
                    <a:lnTo>
                      <a:pt x="3338" y="975"/>
                    </a:lnTo>
                    <a:lnTo>
                      <a:pt x="3341" y="975"/>
                    </a:lnTo>
                    <a:lnTo>
                      <a:pt x="3343" y="973"/>
                    </a:lnTo>
                    <a:lnTo>
                      <a:pt x="3343" y="971"/>
                    </a:lnTo>
                    <a:lnTo>
                      <a:pt x="3344" y="970"/>
                    </a:lnTo>
                    <a:lnTo>
                      <a:pt x="3345" y="972"/>
                    </a:lnTo>
                    <a:lnTo>
                      <a:pt x="3347" y="971"/>
                    </a:lnTo>
                    <a:lnTo>
                      <a:pt x="3349" y="967"/>
                    </a:lnTo>
                    <a:lnTo>
                      <a:pt x="3349" y="965"/>
                    </a:lnTo>
                    <a:lnTo>
                      <a:pt x="3345" y="965"/>
                    </a:lnTo>
                    <a:lnTo>
                      <a:pt x="3344" y="963"/>
                    </a:lnTo>
                    <a:lnTo>
                      <a:pt x="3346" y="965"/>
                    </a:lnTo>
                    <a:lnTo>
                      <a:pt x="3347" y="965"/>
                    </a:lnTo>
                    <a:lnTo>
                      <a:pt x="3351" y="964"/>
                    </a:lnTo>
                    <a:lnTo>
                      <a:pt x="3350" y="959"/>
                    </a:lnTo>
                    <a:lnTo>
                      <a:pt x="3347" y="958"/>
                    </a:lnTo>
                    <a:lnTo>
                      <a:pt x="3350" y="956"/>
                    </a:lnTo>
                    <a:lnTo>
                      <a:pt x="3352" y="957"/>
                    </a:lnTo>
                    <a:lnTo>
                      <a:pt x="3353" y="958"/>
                    </a:lnTo>
                    <a:lnTo>
                      <a:pt x="3354" y="955"/>
                    </a:lnTo>
                    <a:lnTo>
                      <a:pt x="3354" y="953"/>
                    </a:lnTo>
                    <a:lnTo>
                      <a:pt x="3351" y="953"/>
                    </a:lnTo>
                    <a:lnTo>
                      <a:pt x="3349" y="954"/>
                    </a:lnTo>
                    <a:lnTo>
                      <a:pt x="3347" y="954"/>
                    </a:lnTo>
                    <a:lnTo>
                      <a:pt x="3351" y="953"/>
                    </a:lnTo>
                    <a:lnTo>
                      <a:pt x="3352" y="951"/>
                    </a:lnTo>
                    <a:lnTo>
                      <a:pt x="3353" y="949"/>
                    </a:lnTo>
                    <a:lnTo>
                      <a:pt x="3355" y="948"/>
                    </a:lnTo>
                    <a:lnTo>
                      <a:pt x="3353" y="946"/>
                    </a:lnTo>
                    <a:lnTo>
                      <a:pt x="3351" y="946"/>
                    </a:lnTo>
                    <a:lnTo>
                      <a:pt x="3350" y="945"/>
                    </a:lnTo>
                    <a:lnTo>
                      <a:pt x="3350" y="945"/>
                    </a:lnTo>
                    <a:lnTo>
                      <a:pt x="3347" y="942"/>
                    </a:lnTo>
                    <a:lnTo>
                      <a:pt x="3345" y="941"/>
                    </a:lnTo>
                    <a:lnTo>
                      <a:pt x="3343" y="941"/>
                    </a:lnTo>
                    <a:lnTo>
                      <a:pt x="3342" y="942"/>
                    </a:lnTo>
                    <a:lnTo>
                      <a:pt x="3337" y="943"/>
                    </a:lnTo>
                    <a:lnTo>
                      <a:pt x="3338" y="945"/>
                    </a:lnTo>
                    <a:lnTo>
                      <a:pt x="3337" y="943"/>
                    </a:lnTo>
                    <a:lnTo>
                      <a:pt x="3336" y="940"/>
                    </a:lnTo>
                    <a:lnTo>
                      <a:pt x="3334" y="941"/>
                    </a:lnTo>
                    <a:lnTo>
                      <a:pt x="3332" y="941"/>
                    </a:lnTo>
                    <a:lnTo>
                      <a:pt x="3333" y="940"/>
                    </a:lnTo>
                    <a:lnTo>
                      <a:pt x="3336" y="939"/>
                    </a:lnTo>
                    <a:lnTo>
                      <a:pt x="3338" y="940"/>
                    </a:lnTo>
                    <a:lnTo>
                      <a:pt x="3340" y="940"/>
                    </a:lnTo>
                    <a:lnTo>
                      <a:pt x="3341" y="938"/>
                    </a:lnTo>
                    <a:lnTo>
                      <a:pt x="3345" y="936"/>
                    </a:lnTo>
                    <a:lnTo>
                      <a:pt x="3349" y="933"/>
                    </a:lnTo>
                    <a:lnTo>
                      <a:pt x="3353" y="932"/>
                    </a:lnTo>
                    <a:lnTo>
                      <a:pt x="3353" y="930"/>
                    </a:lnTo>
                    <a:lnTo>
                      <a:pt x="3352" y="928"/>
                    </a:lnTo>
                    <a:lnTo>
                      <a:pt x="3350" y="925"/>
                    </a:lnTo>
                    <a:lnTo>
                      <a:pt x="3349" y="924"/>
                    </a:lnTo>
                    <a:lnTo>
                      <a:pt x="3346" y="923"/>
                    </a:lnTo>
                    <a:lnTo>
                      <a:pt x="3343" y="920"/>
                    </a:lnTo>
                    <a:lnTo>
                      <a:pt x="3338" y="919"/>
                    </a:lnTo>
                    <a:lnTo>
                      <a:pt x="3337" y="915"/>
                    </a:lnTo>
                    <a:lnTo>
                      <a:pt x="3335" y="915"/>
                    </a:lnTo>
                    <a:lnTo>
                      <a:pt x="3332" y="916"/>
                    </a:lnTo>
                    <a:lnTo>
                      <a:pt x="3328" y="916"/>
                    </a:lnTo>
                    <a:lnTo>
                      <a:pt x="3328" y="916"/>
                    </a:lnTo>
                    <a:lnTo>
                      <a:pt x="3326" y="914"/>
                    </a:lnTo>
                    <a:lnTo>
                      <a:pt x="3324" y="912"/>
                    </a:lnTo>
                    <a:lnTo>
                      <a:pt x="3323" y="913"/>
                    </a:lnTo>
                    <a:lnTo>
                      <a:pt x="3324" y="911"/>
                    </a:lnTo>
                    <a:lnTo>
                      <a:pt x="3323" y="910"/>
                    </a:lnTo>
                    <a:lnTo>
                      <a:pt x="3325" y="911"/>
                    </a:lnTo>
                    <a:lnTo>
                      <a:pt x="3327" y="913"/>
                    </a:lnTo>
                    <a:lnTo>
                      <a:pt x="3328" y="915"/>
                    </a:lnTo>
                    <a:lnTo>
                      <a:pt x="3330" y="916"/>
                    </a:lnTo>
                    <a:lnTo>
                      <a:pt x="3330" y="916"/>
                    </a:lnTo>
                    <a:lnTo>
                      <a:pt x="3334" y="914"/>
                    </a:lnTo>
                    <a:lnTo>
                      <a:pt x="3334" y="914"/>
                    </a:lnTo>
                    <a:lnTo>
                      <a:pt x="3337" y="914"/>
                    </a:lnTo>
                    <a:lnTo>
                      <a:pt x="3340" y="915"/>
                    </a:lnTo>
                    <a:lnTo>
                      <a:pt x="3341" y="917"/>
                    </a:lnTo>
                    <a:lnTo>
                      <a:pt x="3343" y="917"/>
                    </a:lnTo>
                    <a:lnTo>
                      <a:pt x="3346" y="917"/>
                    </a:lnTo>
                    <a:lnTo>
                      <a:pt x="3349" y="917"/>
                    </a:lnTo>
                    <a:lnTo>
                      <a:pt x="3351" y="919"/>
                    </a:lnTo>
                    <a:lnTo>
                      <a:pt x="3353" y="920"/>
                    </a:lnTo>
                    <a:lnTo>
                      <a:pt x="3353" y="917"/>
                    </a:lnTo>
                    <a:lnTo>
                      <a:pt x="3351" y="914"/>
                    </a:lnTo>
                    <a:lnTo>
                      <a:pt x="3351" y="914"/>
                    </a:lnTo>
                    <a:lnTo>
                      <a:pt x="3347" y="913"/>
                    </a:lnTo>
                    <a:lnTo>
                      <a:pt x="3347" y="910"/>
                    </a:lnTo>
                    <a:lnTo>
                      <a:pt x="3344" y="908"/>
                    </a:lnTo>
                    <a:lnTo>
                      <a:pt x="3342" y="906"/>
                    </a:lnTo>
                    <a:lnTo>
                      <a:pt x="3340" y="906"/>
                    </a:lnTo>
                    <a:lnTo>
                      <a:pt x="3340" y="903"/>
                    </a:lnTo>
                    <a:lnTo>
                      <a:pt x="3341" y="900"/>
                    </a:lnTo>
                    <a:lnTo>
                      <a:pt x="3338" y="898"/>
                    </a:lnTo>
                    <a:lnTo>
                      <a:pt x="3337" y="895"/>
                    </a:lnTo>
                    <a:lnTo>
                      <a:pt x="3336" y="893"/>
                    </a:lnTo>
                    <a:lnTo>
                      <a:pt x="3335" y="890"/>
                    </a:lnTo>
                    <a:lnTo>
                      <a:pt x="3333" y="885"/>
                    </a:lnTo>
                    <a:lnTo>
                      <a:pt x="3333" y="883"/>
                    </a:lnTo>
                    <a:lnTo>
                      <a:pt x="3332" y="880"/>
                    </a:lnTo>
                    <a:lnTo>
                      <a:pt x="3328" y="878"/>
                    </a:lnTo>
                    <a:lnTo>
                      <a:pt x="3325" y="878"/>
                    </a:lnTo>
                    <a:lnTo>
                      <a:pt x="3325" y="877"/>
                    </a:lnTo>
                    <a:lnTo>
                      <a:pt x="3323" y="876"/>
                    </a:lnTo>
                    <a:lnTo>
                      <a:pt x="3319" y="873"/>
                    </a:lnTo>
                    <a:lnTo>
                      <a:pt x="3317" y="873"/>
                    </a:lnTo>
                    <a:lnTo>
                      <a:pt x="3317" y="871"/>
                    </a:lnTo>
                    <a:lnTo>
                      <a:pt x="3317" y="869"/>
                    </a:lnTo>
                    <a:lnTo>
                      <a:pt x="3318" y="868"/>
                    </a:lnTo>
                    <a:lnTo>
                      <a:pt x="3319" y="866"/>
                    </a:lnTo>
                    <a:lnTo>
                      <a:pt x="3321" y="863"/>
                    </a:lnTo>
                    <a:lnTo>
                      <a:pt x="3324" y="860"/>
                    </a:lnTo>
                    <a:lnTo>
                      <a:pt x="3326" y="860"/>
                    </a:lnTo>
                    <a:lnTo>
                      <a:pt x="3328" y="857"/>
                    </a:lnTo>
                    <a:lnTo>
                      <a:pt x="3329" y="855"/>
                    </a:lnTo>
                    <a:lnTo>
                      <a:pt x="3330" y="855"/>
                    </a:lnTo>
                    <a:lnTo>
                      <a:pt x="3330" y="853"/>
                    </a:lnTo>
                    <a:lnTo>
                      <a:pt x="3329" y="852"/>
                    </a:lnTo>
                    <a:lnTo>
                      <a:pt x="3329" y="851"/>
                    </a:lnTo>
                    <a:lnTo>
                      <a:pt x="3333" y="849"/>
                    </a:lnTo>
                    <a:lnTo>
                      <a:pt x="3333" y="852"/>
                    </a:lnTo>
                    <a:lnTo>
                      <a:pt x="3335" y="853"/>
                    </a:lnTo>
                    <a:lnTo>
                      <a:pt x="3337" y="852"/>
                    </a:lnTo>
                    <a:lnTo>
                      <a:pt x="3337" y="848"/>
                    </a:lnTo>
                    <a:lnTo>
                      <a:pt x="3340" y="847"/>
                    </a:lnTo>
                    <a:lnTo>
                      <a:pt x="3340" y="844"/>
                    </a:lnTo>
                    <a:lnTo>
                      <a:pt x="3338" y="845"/>
                    </a:lnTo>
                    <a:lnTo>
                      <a:pt x="3340" y="844"/>
                    </a:lnTo>
                    <a:lnTo>
                      <a:pt x="3341" y="845"/>
                    </a:lnTo>
                    <a:lnTo>
                      <a:pt x="3346" y="843"/>
                    </a:lnTo>
                    <a:lnTo>
                      <a:pt x="3349" y="842"/>
                    </a:lnTo>
                    <a:lnTo>
                      <a:pt x="3351" y="840"/>
                    </a:lnTo>
                    <a:lnTo>
                      <a:pt x="3353" y="839"/>
                    </a:lnTo>
                    <a:lnTo>
                      <a:pt x="3355" y="839"/>
                    </a:lnTo>
                    <a:lnTo>
                      <a:pt x="3358" y="838"/>
                    </a:lnTo>
                    <a:lnTo>
                      <a:pt x="3358" y="840"/>
                    </a:lnTo>
                    <a:lnTo>
                      <a:pt x="3361" y="840"/>
                    </a:lnTo>
                    <a:lnTo>
                      <a:pt x="3362" y="838"/>
                    </a:lnTo>
                    <a:lnTo>
                      <a:pt x="3363" y="836"/>
                    </a:lnTo>
                    <a:lnTo>
                      <a:pt x="3363" y="833"/>
                    </a:lnTo>
                    <a:lnTo>
                      <a:pt x="3360" y="831"/>
                    </a:lnTo>
                    <a:lnTo>
                      <a:pt x="3360" y="831"/>
                    </a:lnTo>
                    <a:lnTo>
                      <a:pt x="3356" y="829"/>
                    </a:lnTo>
                    <a:lnTo>
                      <a:pt x="3355" y="831"/>
                    </a:lnTo>
                    <a:lnTo>
                      <a:pt x="3354" y="830"/>
                    </a:lnTo>
                    <a:lnTo>
                      <a:pt x="3349" y="831"/>
                    </a:lnTo>
                    <a:lnTo>
                      <a:pt x="3346" y="828"/>
                    </a:lnTo>
                    <a:lnTo>
                      <a:pt x="3344" y="829"/>
                    </a:lnTo>
                    <a:lnTo>
                      <a:pt x="3342" y="826"/>
                    </a:lnTo>
                    <a:lnTo>
                      <a:pt x="3338" y="825"/>
                    </a:lnTo>
                    <a:lnTo>
                      <a:pt x="3336" y="826"/>
                    </a:lnTo>
                    <a:lnTo>
                      <a:pt x="3333" y="827"/>
                    </a:lnTo>
                    <a:lnTo>
                      <a:pt x="3330" y="830"/>
                    </a:lnTo>
                    <a:lnTo>
                      <a:pt x="3328" y="831"/>
                    </a:lnTo>
                    <a:lnTo>
                      <a:pt x="3326" y="834"/>
                    </a:lnTo>
                    <a:lnTo>
                      <a:pt x="3324" y="836"/>
                    </a:lnTo>
                    <a:lnTo>
                      <a:pt x="3323" y="836"/>
                    </a:lnTo>
                    <a:lnTo>
                      <a:pt x="3319" y="836"/>
                    </a:lnTo>
                    <a:lnTo>
                      <a:pt x="3317" y="836"/>
                    </a:lnTo>
                    <a:lnTo>
                      <a:pt x="3313" y="834"/>
                    </a:lnTo>
                    <a:lnTo>
                      <a:pt x="3313" y="833"/>
                    </a:lnTo>
                    <a:lnTo>
                      <a:pt x="3313" y="830"/>
                    </a:lnTo>
                    <a:lnTo>
                      <a:pt x="3315" y="827"/>
                    </a:lnTo>
                    <a:lnTo>
                      <a:pt x="3316" y="825"/>
                    </a:lnTo>
                    <a:lnTo>
                      <a:pt x="3313" y="822"/>
                    </a:lnTo>
                    <a:lnTo>
                      <a:pt x="3311" y="819"/>
                    </a:lnTo>
                    <a:lnTo>
                      <a:pt x="3310" y="820"/>
                    </a:lnTo>
                    <a:lnTo>
                      <a:pt x="3309" y="822"/>
                    </a:lnTo>
                    <a:lnTo>
                      <a:pt x="3306" y="820"/>
                    </a:lnTo>
                    <a:lnTo>
                      <a:pt x="3303" y="820"/>
                    </a:lnTo>
                    <a:lnTo>
                      <a:pt x="3301" y="820"/>
                    </a:lnTo>
                    <a:lnTo>
                      <a:pt x="3299" y="818"/>
                    </a:lnTo>
                    <a:lnTo>
                      <a:pt x="3299" y="818"/>
                    </a:lnTo>
                    <a:lnTo>
                      <a:pt x="3295" y="816"/>
                    </a:lnTo>
                    <a:lnTo>
                      <a:pt x="3294" y="812"/>
                    </a:lnTo>
                    <a:lnTo>
                      <a:pt x="3294" y="810"/>
                    </a:lnTo>
                    <a:lnTo>
                      <a:pt x="3296" y="808"/>
                    </a:lnTo>
                    <a:lnTo>
                      <a:pt x="3296" y="806"/>
                    </a:lnTo>
                    <a:lnTo>
                      <a:pt x="3298" y="804"/>
                    </a:lnTo>
                    <a:lnTo>
                      <a:pt x="3301" y="803"/>
                    </a:lnTo>
                    <a:lnTo>
                      <a:pt x="3307" y="805"/>
                    </a:lnTo>
                    <a:lnTo>
                      <a:pt x="3309" y="803"/>
                    </a:lnTo>
                    <a:lnTo>
                      <a:pt x="3311" y="804"/>
                    </a:lnTo>
                    <a:lnTo>
                      <a:pt x="3315" y="803"/>
                    </a:lnTo>
                    <a:lnTo>
                      <a:pt x="3318" y="800"/>
                    </a:lnTo>
                    <a:lnTo>
                      <a:pt x="3318" y="797"/>
                    </a:lnTo>
                    <a:lnTo>
                      <a:pt x="3319" y="794"/>
                    </a:lnTo>
                    <a:lnTo>
                      <a:pt x="3323" y="792"/>
                    </a:lnTo>
                    <a:lnTo>
                      <a:pt x="3325" y="791"/>
                    </a:lnTo>
                    <a:lnTo>
                      <a:pt x="3326" y="791"/>
                    </a:lnTo>
                    <a:lnTo>
                      <a:pt x="3327" y="791"/>
                    </a:lnTo>
                    <a:lnTo>
                      <a:pt x="3328" y="789"/>
                    </a:lnTo>
                    <a:lnTo>
                      <a:pt x="3332" y="787"/>
                    </a:lnTo>
                    <a:lnTo>
                      <a:pt x="3336" y="785"/>
                    </a:lnTo>
                    <a:lnTo>
                      <a:pt x="3337" y="782"/>
                    </a:lnTo>
                    <a:lnTo>
                      <a:pt x="3340" y="779"/>
                    </a:lnTo>
                    <a:lnTo>
                      <a:pt x="3342" y="779"/>
                    </a:lnTo>
                    <a:lnTo>
                      <a:pt x="3343" y="776"/>
                    </a:lnTo>
                    <a:lnTo>
                      <a:pt x="3344" y="775"/>
                    </a:lnTo>
                    <a:lnTo>
                      <a:pt x="3346" y="775"/>
                    </a:lnTo>
                    <a:lnTo>
                      <a:pt x="3350" y="777"/>
                    </a:lnTo>
                    <a:lnTo>
                      <a:pt x="3351" y="777"/>
                    </a:lnTo>
                    <a:lnTo>
                      <a:pt x="3353" y="774"/>
                    </a:lnTo>
                    <a:lnTo>
                      <a:pt x="3353" y="775"/>
                    </a:lnTo>
                    <a:lnTo>
                      <a:pt x="3355" y="778"/>
                    </a:lnTo>
                    <a:lnTo>
                      <a:pt x="3358" y="779"/>
                    </a:lnTo>
                    <a:lnTo>
                      <a:pt x="3358" y="780"/>
                    </a:lnTo>
                    <a:lnTo>
                      <a:pt x="3359" y="783"/>
                    </a:lnTo>
                    <a:lnTo>
                      <a:pt x="3356" y="785"/>
                    </a:lnTo>
                    <a:lnTo>
                      <a:pt x="3355" y="788"/>
                    </a:lnTo>
                    <a:lnTo>
                      <a:pt x="3354" y="791"/>
                    </a:lnTo>
                    <a:lnTo>
                      <a:pt x="3353" y="791"/>
                    </a:lnTo>
                    <a:lnTo>
                      <a:pt x="3351" y="792"/>
                    </a:lnTo>
                    <a:lnTo>
                      <a:pt x="3349" y="794"/>
                    </a:lnTo>
                    <a:lnTo>
                      <a:pt x="3349" y="796"/>
                    </a:lnTo>
                    <a:lnTo>
                      <a:pt x="3347" y="796"/>
                    </a:lnTo>
                    <a:lnTo>
                      <a:pt x="3345" y="797"/>
                    </a:lnTo>
                    <a:lnTo>
                      <a:pt x="3347" y="797"/>
                    </a:lnTo>
                    <a:lnTo>
                      <a:pt x="3349" y="801"/>
                    </a:lnTo>
                    <a:lnTo>
                      <a:pt x="3354" y="800"/>
                    </a:lnTo>
                    <a:lnTo>
                      <a:pt x="3353" y="801"/>
                    </a:lnTo>
                    <a:lnTo>
                      <a:pt x="3350" y="803"/>
                    </a:lnTo>
                    <a:lnTo>
                      <a:pt x="3349" y="805"/>
                    </a:lnTo>
                    <a:lnTo>
                      <a:pt x="3346" y="806"/>
                    </a:lnTo>
                    <a:lnTo>
                      <a:pt x="3344" y="808"/>
                    </a:lnTo>
                    <a:lnTo>
                      <a:pt x="3344" y="811"/>
                    </a:lnTo>
                    <a:lnTo>
                      <a:pt x="3347" y="810"/>
                    </a:lnTo>
                    <a:lnTo>
                      <a:pt x="3350" y="808"/>
                    </a:lnTo>
                    <a:lnTo>
                      <a:pt x="3355" y="805"/>
                    </a:lnTo>
                    <a:lnTo>
                      <a:pt x="3358" y="803"/>
                    </a:lnTo>
                    <a:lnTo>
                      <a:pt x="3360" y="801"/>
                    </a:lnTo>
                    <a:lnTo>
                      <a:pt x="3362" y="799"/>
                    </a:lnTo>
                    <a:lnTo>
                      <a:pt x="3366" y="797"/>
                    </a:lnTo>
                    <a:lnTo>
                      <a:pt x="3371" y="795"/>
                    </a:lnTo>
                    <a:lnTo>
                      <a:pt x="3373" y="794"/>
                    </a:lnTo>
                    <a:lnTo>
                      <a:pt x="3376" y="793"/>
                    </a:lnTo>
                    <a:lnTo>
                      <a:pt x="3377" y="793"/>
                    </a:lnTo>
                    <a:lnTo>
                      <a:pt x="3379" y="793"/>
                    </a:lnTo>
                    <a:lnTo>
                      <a:pt x="3385" y="793"/>
                    </a:lnTo>
                    <a:lnTo>
                      <a:pt x="3387" y="791"/>
                    </a:lnTo>
                    <a:lnTo>
                      <a:pt x="3387" y="791"/>
                    </a:lnTo>
                    <a:lnTo>
                      <a:pt x="3388" y="788"/>
                    </a:lnTo>
                    <a:lnTo>
                      <a:pt x="3389" y="789"/>
                    </a:lnTo>
                    <a:lnTo>
                      <a:pt x="3389" y="789"/>
                    </a:lnTo>
                    <a:lnTo>
                      <a:pt x="3389" y="789"/>
                    </a:lnTo>
                    <a:lnTo>
                      <a:pt x="3388" y="791"/>
                    </a:lnTo>
                    <a:lnTo>
                      <a:pt x="3388" y="791"/>
                    </a:lnTo>
                    <a:lnTo>
                      <a:pt x="3388" y="793"/>
                    </a:lnTo>
                    <a:lnTo>
                      <a:pt x="3390" y="795"/>
                    </a:lnTo>
                    <a:lnTo>
                      <a:pt x="3394" y="794"/>
                    </a:lnTo>
                    <a:lnTo>
                      <a:pt x="3396" y="796"/>
                    </a:lnTo>
                    <a:lnTo>
                      <a:pt x="3397" y="796"/>
                    </a:lnTo>
                    <a:lnTo>
                      <a:pt x="3400" y="797"/>
                    </a:lnTo>
                    <a:lnTo>
                      <a:pt x="3403" y="797"/>
                    </a:lnTo>
                    <a:lnTo>
                      <a:pt x="3402" y="800"/>
                    </a:lnTo>
                    <a:lnTo>
                      <a:pt x="3402" y="802"/>
                    </a:lnTo>
                    <a:lnTo>
                      <a:pt x="3401" y="804"/>
                    </a:lnTo>
                    <a:lnTo>
                      <a:pt x="3398" y="808"/>
                    </a:lnTo>
                    <a:lnTo>
                      <a:pt x="3400" y="810"/>
                    </a:lnTo>
                    <a:lnTo>
                      <a:pt x="3400" y="811"/>
                    </a:lnTo>
                    <a:lnTo>
                      <a:pt x="3403" y="810"/>
                    </a:lnTo>
                    <a:lnTo>
                      <a:pt x="3405" y="812"/>
                    </a:lnTo>
                    <a:lnTo>
                      <a:pt x="3405" y="812"/>
                    </a:lnTo>
                    <a:lnTo>
                      <a:pt x="3404" y="812"/>
                    </a:lnTo>
                    <a:lnTo>
                      <a:pt x="3402" y="811"/>
                    </a:lnTo>
                    <a:lnTo>
                      <a:pt x="3400" y="811"/>
                    </a:lnTo>
                    <a:lnTo>
                      <a:pt x="3396" y="813"/>
                    </a:lnTo>
                    <a:lnTo>
                      <a:pt x="3396" y="814"/>
                    </a:lnTo>
                    <a:lnTo>
                      <a:pt x="3395" y="816"/>
                    </a:lnTo>
                    <a:lnTo>
                      <a:pt x="3395" y="818"/>
                    </a:lnTo>
                    <a:lnTo>
                      <a:pt x="3394" y="820"/>
                    </a:lnTo>
                    <a:lnTo>
                      <a:pt x="3396" y="821"/>
                    </a:lnTo>
                    <a:lnTo>
                      <a:pt x="3400" y="821"/>
                    </a:lnTo>
                    <a:lnTo>
                      <a:pt x="3396" y="822"/>
                    </a:lnTo>
                    <a:lnTo>
                      <a:pt x="3396" y="823"/>
                    </a:lnTo>
                    <a:lnTo>
                      <a:pt x="3398" y="825"/>
                    </a:lnTo>
                    <a:lnTo>
                      <a:pt x="3401" y="826"/>
                    </a:lnTo>
                    <a:lnTo>
                      <a:pt x="3403" y="823"/>
                    </a:lnTo>
                    <a:lnTo>
                      <a:pt x="3403" y="827"/>
                    </a:lnTo>
                    <a:lnTo>
                      <a:pt x="3405" y="825"/>
                    </a:lnTo>
                    <a:lnTo>
                      <a:pt x="3405" y="822"/>
                    </a:lnTo>
                    <a:lnTo>
                      <a:pt x="3407" y="822"/>
                    </a:lnTo>
                    <a:lnTo>
                      <a:pt x="3410" y="825"/>
                    </a:lnTo>
                    <a:lnTo>
                      <a:pt x="3413" y="825"/>
                    </a:lnTo>
                    <a:lnTo>
                      <a:pt x="3415" y="823"/>
                    </a:lnTo>
                    <a:lnTo>
                      <a:pt x="3419" y="826"/>
                    </a:lnTo>
                    <a:lnTo>
                      <a:pt x="3420" y="825"/>
                    </a:lnTo>
                    <a:lnTo>
                      <a:pt x="3420" y="825"/>
                    </a:lnTo>
                    <a:lnTo>
                      <a:pt x="3420" y="827"/>
                    </a:lnTo>
                    <a:lnTo>
                      <a:pt x="3418" y="826"/>
                    </a:lnTo>
                    <a:lnTo>
                      <a:pt x="3418" y="827"/>
                    </a:lnTo>
                    <a:lnTo>
                      <a:pt x="3419" y="829"/>
                    </a:lnTo>
                    <a:lnTo>
                      <a:pt x="3420" y="831"/>
                    </a:lnTo>
                    <a:lnTo>
                      <a:pt x="3420" y="831"/>
                    </a:lnTo>
                    <a:lnTo>
                      <a:pt x="3421" y="835"/>
                    </a:lnTo>
                    <a:lnTo>
                      <a:pt x="3420" y="836"/>
                    </a:lnTo>
                    <a:lnTo>
                      <a:pt x="3422" y="836"/>
                    </a:lnTo>
                    <a:lnTo>
                      <a:pt x="3424" y="839"/>
                    </a:lnTo>
                    <a:lnTo>
                      <a:pt x="3422" y="842"/>
                    </a:lnTo>
                    <a:lnTo>
                      <a:pt x="3421" y="838"/>
                    </a:lnTo>
                    <a:lnTo>
                      <a:pt x="3418" y="839"/>
                    </a:lnTo>
                    <a:lnTo>
                      <a:pt x="3415" y="840"/>
                    </a:lnTo>
                    <a:lnTo>
                      <a:pt x="3413" y="840"/>
                    </a:lnTo>
                    <a:lnTo>
                      <a:pt x="3413" y="843"/>
                    </a:lnTo>
                    <a:lnTo>
                      <a:pt x="3414" y="843"/>
                    </a:lnTo>
                    <a:lnTo>
                      <a:pt x="3417" y="844"/>
                    </a:lnTo>
                    <a:lnTo>
                      <a:pt x="3419" y="846"/>
                    </a:lnTo>
                    <a:lnTo>
                      <a:pt x="3418" y="849"/>
                    </a:lnTo>
                    <a:lnTo>
                      <a:pt x="3418" y="852"/>
                    </a:lnTo>
                    <a:lnTo>
                      <a:pt x="3420" y="853"/>
                    </a:lnTo>
                    <a:lnTo>
                      <a:pt x="3419" y="854"/>
                    </a:lnTo>
                    <a:lnTo>
                      <a:pt x="3421" y="856"/>
                    </a:lnTo>
                    <a:lnTo>
                      <a:pt x="3418" y="859"/>
                    </a:lnTo>
                    <a:lnTo>
                      <a:pt x="3420" y="861"/>
                    </a:lnTo>
                    <a:lnTo>
                      <a:pt x="3417" y="862"/>
                    </a:lnTo>
                    <a:lnTo>
                      <a:pt x="3417" y="862"/>
                    </a:lnTo>
                    <a:lnTo>
                      <a:pt x="3415" y="865"/>
                    </a:lnTo>
                    <a:lnTo>
                      <a:pt x="3417" y="868"/>
                    </a:lnTo>
                    <a:lnTo>
                      <a:pt x="3413" y="866"/>
                    </a:lnTo>
                    <a:lnTo>
                      <a:pt x="3414" y="869"/>
                    </a:lnTo>
                    <a:lnTo>
                      <a:pt x="3415" y="871"/>
                    </a:lnTo>
                    <a:lnTo>
                      <a:pt x="3417" y="872"/>
                    </a:lnTo>
                    <a:lnTo>
                      <a:pt x="3419" y="872"/>
                    </a:lnTo>
                    <a:lnTo>
                      <a:pt x="3417" y="873"/>
                    </a:lnTo>
                    <a:lnTo>
                      <a:pt x="3417" y="876"/>
                    </a:lnTo>
                    <a:lnTo>
                      <a:pt x="3414" y="874"/>
                    </a:lnTo>
                    <a:lnTo>
                      <a:pt x="3417" y="877"/>
                    </a:lnTo>
                    <a:lnTo>
                      <a:pt x="3417" y="879"/>
                    </a:lnTo>
                    <a:lnTo>
                      <a:pt x="3419" y="879"/>
                    </a:lnTo>
                    <a:lnTo>
                      <a:pt x="3420" y="877"/>
                    </a:lnTo>
                    <a:lnTo>
                      <a:pt x="3423" y="877"/>
                    </a:lnTo>
                    <a:lnTo>
                      <a:pt x="3426" y="874"/>
                    </a:lnTo>
                    <a:lnTo>
                      <a:pt x="3428" y="873"/>
                    </a:lnTo>
                    <a:lnTo>
                      <a:pt x="3427" y="876"/>
                    </a:lnTo>
                    <a:lnTo>
                      <a:pt x="3429" y="878"/>
                    </a:lnTo>
                    <a:lnTo>
                      <a:pt x="3429" y="877"/>
                    </a:lnTo>
                    <a:lnTo>
                      <a:pt x="3430" y="876"/>
                    </a:lnTo>
                    <a:lnTo>
                      <a:pt x="3430" y="876"/>
                    </a:lnTo>
                    <a:lnTo>
                      <a:pt x="3429" y="872"/>
                    </a:lnTo>
                    <a:lnTo>
                      <a:pt x="3430" y="871"/>
                    </a:lnTo>
                    <a:lnTo>
                      <a:pt x="3431" y="874"/>
                    </a:lnTo>
                    <a:lnTo>
                      <a:pt x="3434" y="873"/>
                    </a:lnTo>
                    <a:lnTo>
                      <a:pt x="3431" y="871"/>
                    </a:lnTo>
                    <a:lnTo>
                      <a:pt x="3435" y="870"/>
                    </a:lnTo>
                    <a:lnTo>
                      <a:pt x="3436" y="870"/>
                    </a:lnTo>
                    <a:lnTo>
                      <a:pt x="3438" y="868"/>
                    </a:lnTo>
                    <a:lnTo>
                      <a:pt x="3439" y="871"/>
                    </a:lnTo>
                    <a:lnTo>
                      <a:pt x="3441" y="871"/>
                    </a:lnTo>
                    <a:lnTo>
                      <a:pt x="3443" y="872"/>
                    </a:lnTo>
                    <a:lnTo>
                      <a:pt x="3444" y="871"/>
                    </a:lnTo>
                    <a:lnTo>
                      <a:pt x="3444" y="869"/>
                    </a:lnTo>
                    <a:lnTo>
                      <a:pt x="3446" y="866"/>
                    </a:lnTo>
                    <a:lnTo>
                      <a:pt x="3448" y="868"/>
                    </a:lnTo>
                    <a:lnTo>
                      <a:pt x="3451" y="868"/>
                    </a:lnTo>
                    <a:lnTo>
                      <a:pt x="3451" y="866"/>
                    </a:lnTo>
                    <a:lnTo>
                      <a:pt x="3454" y="866"/>
                    </a:lnTo>
                    <a:lnTo>
                      <a:pt x="3455" y="866"/>
                    </a:lnTo>
                    <a:lnTo>
                      <a:pt x="3456" y="863"/>
                    </a:lnTo>
                    <a:lnTo>
                      <a:pt x="3456" y="861"/>
                    </a:lnTo>
                    <a:lnTo>
                      <a:pt x="3457" y="859"/>
                    </a:lnTo>
                    <a:lnTo>
                      <a:pt x="3458" y="856"/>
                    </a:lnTo>
                    <a:lnTo>
                      <a:pt x="3460" y="854"/>
                    </a:lnTo>
                    <a:lnTo>
                      <a:pt x="3457" y="854"/>
                    </a:lnTo>
                    <a:lnTo>
                      <a:pt x="3456" y="851"/>
                    </a:lnTo>
                    <a:lnTo>
                      <a:pt x="3456" y="848"/>
                    </a:lnTo>
                    <a:lnTo>
                      <a:pt x="3457" y="845"/>
                    </a:lnTo>
                    <a:lnTo>
                      <a:pt x="3457" y="843"/>
                    </a:lnTo>
                    <a:lnTo>
                      <a:pt x="3457" y="840"/>
                    </a:lnTo>
                    <a:lnTo>
                      <a:pt x="3457" y="837"/>
                    </a:lnTo>
                    <a:lnTo>
                      <a:pt x="3456" y="836"/>
                    </a:lnTo>
                    <a:lnTo>
                      <a:pt x="3455" y="833"/>
                    </a:lnTo>
                    <a:lnTo>
                      <a:pt x="3454" y="831"/>
                    </a:lnTo>
                    <a:lnTo>
                      <a:pt x="3451" y="826"/>
                    </a:lnTo>
                    <a:lnTo>
                      <a:pt x="3448" y="823"/>
                    </a:lnTo>
                    <a:lnTo>
                      <a:pt x="3447" y="820"/>
                    </a:lnTo>
                    <a:lnTo>
                      <a:pt x="3445" y="818"/>
                    </a:lnTo>
                    <a:lnTo>
                      <a:pt x="3445" y="817"/>
                    </a:lnTo>
                    <a:lnTo>
                      <a:pt x="3444" y="814"/>
                    </a:lnTo>
                    <a:lnTo>
                      <a:pt x="3443" y="812"/>
                    </a:lnTo>
                    <a:lnTo>
                      <a:pt x="3440" y="810"/>
                    </a:lnTo>
                    <a:lnTo>
                      <a:pt x="3437" y="808"/>
                    </a:lnTo>
                    <a:lnTo>
                      <a:pt x="3435" y="805"/>
                    </a:lnTo>
                    <a:lnTo>
                      <a:pt x="3432" y="804"/>
                    </a:lnTo>
                    <a:lnTo>
                      <a:pt x="3430" y="803"/>
                    </a:lnTo>
                    <a:lnTo>
                      <a:pt x="3429" y="802"/>
                    </a:lnTo>
                    <a:lnTo>
                      <a:pt x="3430" y="800"/>
                    </a:lnTo>
                    <a:lnTo>
                      <a:pt x="3430" y="800"/>
                    </a:lnTo>
                    <a:lnTo>
                      <a:pt x="3431" y="796"/>
                    </a:lnTo>
                    <a:lnTo>
                      <a:pt x="3431" y="794"/>
                    </a:lnTo>
                    <a:lnTo>
                      <a:pt x="3434" y="793"/>
                    </a:lnTo>
                    <a:lnTo>
                      <a:pt x="3437" y="791"/>
                    </a:lnTo>
                    <a:lnTo>
                      <a:pt x="3437" y="791"/>
                    </a:lnTo>
                    <a:lnTo>
                      <a:pt x="3439" y="789"/>
                    </a:lnTo>
                    <a:lnTo>
                      <a:pt x="3443" y="789"/>
                    </a:lnTo>
                    <a:lnTo>
                      <a:pt x="3445" y="787"/>
                    </a:lnTo>
                    <a:lnTo>
                      <a:pt x="3447" y="785"/>
                    </a:lnTo>
                    <a:lnTo>
                      <a:pt x="3451" y="784"/>
                    </a:lnTo>
                    <a:lnTo>
                      <a:pt x="3453" y="783"/>
                    </a:lnTo>
                    <a:lnTo>
                      <a:pt x="3454" y="780"/>
                    </a:lnTo>
                    <a:lnTo>
                      <a:pt x="3456" y="778"/>
                    </a:lnTo>
                    <a:lnTo>
                      <a:pt x="3458" y="777"/>
                    </a:lnTo>
                    <a:lnTo>
                      <a:pt x="3462" y="776"/>
                    </a:lnTo>
                    <a:lnTo>
                      <a:pt x="3461" y="772"/>
                    </a:lnTo>
                    <a:lnTo>
                      <a:pt x="3462" y="770"/>
                    </a:lnTo>
                    <a:lnTo>
                      <a:pt x="3462" y="769"/>
                    </a:lnTo>
                    <a:lnTo>
                      <a:pt x="3462" y="768"/>
                    </a:lnTo>
                    <a:lnTo>
                      <a:pt x="3461" y="765"/>
                    </a:lnTo>
                    <a:lnTo>
                      <a:pt x="3462" y="762"/>
                    </a:lnTo>
                    <a:lnTo>
                      <a:pt x="3463" y="759"/>
                    </a:lnTo>
                    <a:lnTo>
                      <a:pt x="3465" y="758"/>
                    </a:lnTo>
                    <a:lnTo>
                      <a:pt x="3465" y="758"/>
                    </a:lnTo>
                    <a:lnTo>
                      <a:pt x="3468" y="756"/>
                    </a:lnTo>
                    <a:lnTo>
                      <a:pt x="3470" y="753"/>
                    </a:lnTo>
                    <a:lnTo>
                      <a:pt x="3473" y="753"/>
                    </a:lnTo>
                    <a:lnTo>
                      <a:pt x="3474" y="753"/>
                    </a:lnTo>
                    <a:lnTo>
                      <a:pt x="3475" y="750"/>
                    </a:lnTo>
                    <a:lnTo>
                      <a:pt x="3474" y="748"/>
                    </a:lnTo>
                    <a:lnTo>
                      <a:pt x="3480" y="746"/>
                    </a:lnTo>
                    <a:lnTo>
                      <a:pt x="3483" y="744"/>
                    </a:lnTo>
                    <a:lnTo>
                      <a:pt x="3484" y="742"/>
                    </a:lnTo>
                    <a:lnTo>
                      <a:pt x="3487" y="740"/>
                    </a:lnTo>
                    <a:lnTo>
                      <a:pt x="3488" y="737"/>
                    </a:lnTo>
                    <a:lnTo>
                      <a:pt x="3489" y="736"/>
                    </a:lnTo>
                    <a:lnTo>
                      <a:pt x="3492" y="736"/>
                    </a:lnTo>
                    <a:lnTo>
                      <a:pt x="3490" y="739"/>
                    </a:lnTo>
                    <a:lnTo>
                      <a:pt x="3494" y="739"/>
                    </a:lnTo>
                    <a:lnTo>
                      <a:pt x="3496" y="736"/>
                    </a:lnTo>
                    <a:lnTo>
                      <a:pt x="3497" y="740"/>
                    </a:lnTo>
                    <a:lnTo>
                      <a:pt x="3496" y="742"/>
                    </a:lnTo>
                    <a:lnTo>
                      <a:pt x="3501" y="743"/>
                    </a:lnTo>
                    <a:lnTo>
                      <a:pt x="3506" y="744"/>
                    </a:lnTo>
                    <a:lnTo>
                      <a:pt x="3508" y="746"/>
                    </a:lnTo>
                    <a:lnTo>
                      <a:pt x="3514" y="744"/>
                    </a:lnTo>
                    <a:lnTo>
                      <a:pt x="3516" y="743"/>
                    </a:lnTo>
                    <a:lnTo>
                      <a:pt x="3518" y="743"/>
                    </a:lnTo>
                    <a:lnTo>
                      <a:pt x="3522" y="741"/>
                    </a:lnTo>
                    <a:lnTo>
                      <a:pt x="3524" y="740"/>
                    </a:lnTo>
                    <a:lnTo>
                      <a:pt x="3526" y="737"/>
                    </a:lnTo>
                    <a:lnTo>
                      <a:pt x="3528" y="737"/>
                    </a:lnTo>
                    <a:lnTo>
                      <a:pt x="3530" y="736"/>
                    </a:lnTo>
                    <a:lnTo>
                      <a:pt x="3531" y="735"/>
                    </a:lnTo>
                    <a:lnTo>
                      <a:pt x="3535" y="733"/>
                    </a:lnTo>
                    <a:lnTo>
                      <a:pt x="3537" y="729"/>
                    </a:lnTo>
                    <a:lnTo>
                      <a:pt x="3539" y="728"/>
                    </a:lnTo>
                    <a:lnTo>
                      <a:pt x="3539" y="728"/>
                    </a:lnTo>
                    <a:lnTo>
                      <a:pt x="3540" y="725"/>
                    </a:lnTo>
                    <a:lnTo>
                      <a:pt x="3542" y="723"/>
                    </a:lnTo>
                    <a:lnTo>
                      <a:pt x="3547" y="717"/>
                    </a:lnTo>
                    <a:lnTo>
                      <a:pt x="3549" y="716"/>
                    </a:lnTo>
                    <a:lnTo>
                      <a:pt x="3550" y="714"/>
                    </a:lnTo>
                    <a:lnTo>
                      <a:pt x="3552" y="711"/>
                    </a:lnTo>
                    <a:lnTo>
                      <a:pt x="3555" y="709"/>
                    </a:lnTo>
                    <a:lnTo>
                      <a:pt x="3556" y="708"/>
                    </a:lnTo>
                    <a:lnTo>
                      <a:pt x="3558" y="705"/>
                    </a:lnTo>
                    <a:lnTo>
                      <a:pt x="3564" y="700"/>
                    </a:lnTo>
                    <a:lnTo>
                      <a:pt x="3568" y="695"/>
                    </a:lnTo>
                    <a:lnTo>
                      <a:pt x="3575" y="688"/>
                    </a:lnTo>
                    <a:lnTo>
                      <a:pt x="3577" y="683"/>
                    </a:lnTo>
                    <a:lnTo>
                      <a:pt x="3577" y="682"/>
                    </a:lnTo>
                    <a:lnTo>
                      <a:pt x="3580" y="680"/>
                    </a:lnTo>
                    <a:lnTo>
                      <a:pt x="3580" y="677"/>
                    </a:lnTo>
                    <a:lnTo>
                      <a:pt x="3582" y="674"/>
                    </a:lnTo>
                    <a:lnTo>
                      <a:pt x="3586" y="668"/>
                    </a:lnTo>
                    <a:lnTo>
                      <a:pt x="3589" y="666"/>
                    </a:lnTo>
                    <a:lnTo>
                      <a:pt x="3590" y="664"/>
                    </a:lnTo>
                    <a:lnTo>
                      <a:pt x="3591" y="662"/>
                    </a:lnTo>
                    <a:lnTo>
                      <a:pt x="3593" y="658"/>
                    </a:lnTo>
                    <a:lnTo>
                      <a:pt x="3596" y="656"/>
                    </a:lnTo>
                    <a:lnTo>
                      <a:pt x="3598" y="654"/>
                    </a:lnTo>
                    <a:lnTo>
                      <a:pt x="3601" y="651"/>
                    </a:lnTo>
                    <a:lnTo>
                      <a:pt x="3602" y="650"/>
                    </a:lnTo>
                    <a:lnTo>
                      <a:pt x="3605" y="648"/>
                    </a:lnTo>
                    <a:lnTo>
                      <a:pt x="3605" y="643"/>
                    </a:lnTo>
                    <a:lnTo>
                      <a:pt x="3606" y="640"/>
                    </a:lnTo>
                    <a:lnTo>
                      <a:pt x="3606" y="638"/>
                    </a:lnTo>
                    <a:lnTo>
                      <a:pt x="3607" y="638"/>
                    </a:lnTo>
                    <a:lnTo>
                      <a:pt x="3607" y="635"/>
                    </a:lnTo>
                    <a:lnTo>
                      <a:pt x="3607" y="633"/>
                    </a:lnTo>
                    <a:lnTo>
                      <a:pt x="3607" y="633"/>
                    </a:lnTo>
                    <a:lnTo>
                      <a:pt x="3608" y="631"/>
                    </a:lnTo>
                    <a:lnTo>
                      <a:pt x="3609" y="628"/>
                    </a:lnTo>
                    <a:lnTo>
                      <a:pt x="3609" y="625"/>
                    </a:lnTo>
                    <a:lnTo>
                      <a:pt x="3608" y="623"/>
                    </a:lnTo>
                    <a:lnTo>
                      <a:pt x="3609" y="621"/>
                    </a:lnTo>
                    <a:lnTo>
                      <a:pt x="3609" y="618"/>
                    </a:lnTo>
                    <a:lnTo>
                      <a:pt x="3609" y="615"/>
                    </a:lnTo>
                    <a:lnTo>
                      <a:pt x="3609" y="613"/>
                    </a:lnTo>
                    <a:lnTo>
                      <a:pt x="3609" y="612"/>
                    </a:lnTo>
                    <a:lnTo>
                      <a:pt x="3608" y="607"/>
                    </a:lnTo>
                    <a:lnTo>
                      <a:pt x="3611" y="601"/>
                    </a:lnTo>
                    <a:lnTo>
                      <a:pt x="3611" y="599"/>
                    </a:lnTo>
                    <a:lnTo>
                      <a:pt x="3614" y="597"/>
                    </a:lnTo>
                    <a:lnTo>
                      <a:pt x="3615" y="594"/>
                    </a:lnTo>
                    <a:lnTo>
                      <a:pt x="3615" y="591"/>
                    </a:lnTo>
                    <a:lnTo>
                      <a:pt x="3618" y="589"/>
                    </a:lnTo>
                    <a:lnTo>
                      <a:pt x="3620" y="587"/>
                    </a:lnTo>
                    <a:lnTo>
                      <a:pt x="3620" y="583"/>
                    </a:lnTo>
                    <a:lnTo>
                      <a:pt x="3623" y="581"/>
                    </a:lnTo>
                    <a:lnTo>
                      <a:pt x="3623" y="580"/>
                    </a:lnTo>
                    <a:lnTo>
                      <a:pt x="3620" y="579"/>
                    </a:lnTo>
                    <a:lnTo>
                      <a:pt x="3617" y="578"/>
                    </a:lnTo>
                    <a:lnTo>
                      <a:pt x="3619" y="574"/>
                    </a:lnTo>
                    <a:lnTo>
                      <a:pt x="3619" y="572"/>
                    </a:lnTo>
                    <a:lnTo>
                      <a:pt x="3619" y="570"/>
                    </a:lnTo>
                    <a:lnTo>
                      <a:pt x="3611" y="564"/>
                    </a:lnTo>
                    <a:lnTo>
                      <a:pt x="3617" y="566"/>
                    </a:lnTo>
                    <a:lnTo>
                      <a:pt x="3619" y="564"/>
                    </a:lnTo>
                    <a:lnTo>
                      <a:pt x="3620" y="562"/>
                    </a:lnTo>
                    <a:lnTo>
                      <a:pt x="3618" y="560"/>
                    </a:lnTo>
                    <a:lnTo>
                      <a:pt x="3616" y="558"/>
                    </a:lnTo>
                    <a:lnTo>
                      <a:pt x="3612" y="555"/>
                    </a:lnTo>
                    <a:lnTo>
                      <a:pt x="3609" y="554"/>
                    </a:lnTo>
                    <a:lnTo>
                      <a:pt x="3607" y="552"/>
                    </a:lnTo>
                    <a:lnTo>
                      <a:pt x="3606" y="548"/>
                    </a:lnTo>
                    <a:lnTo>
                      <a:pt x="3605" y="546"/>
                    </a:lnTo>
                    <a:lnTo>
                      <a:pt x="3602" y="545"/>
                    </a:lnTo>
                    <a:lnTo>
                      <a:pt x="3599" y="543"/>
                    </a:lnTo>
                    <a:lnTo>
                      <a:pt x="3597" y="543"/>
                    </a:lnTo>
                    <a:lnTo>
                      <a:pt x="3593" y="544"/>
                    </a:lnTo>
                    <a:lnTo>
                      <a:pt x="3591" y="544"/>
                    </a:lnTo>
                    <a:lnTo>
                      <a:pt x="3588" y="543"/>
                    </a:lnTo>
                    <a:lnTo>
                      <a:pt x="3585" y="541"/>
                    </a:lnTo>
                    <a:lnTo>
                      <a:pt x="3584" y="545"/>
                    </a:lnTo>
                    <a:lnTo>
                      <a:pt x="3585" y="547"/>
                    </a:lnTo>
                    <a:lnTo>
                      <a:pt x="3584" y="549"/>
                    </a:lnTo>
                    <a:lnTo>
                      <a:pt x="3583" y="553"/>
                    </a:lnTo>
                    <a:lnTo>
                      <a:pt x="3582" y="555"/>
                    </a:lnTo>
                    <a:lnTo>
                      <a:pt x="3579" y="556"/>
                    </a:lnTo>
                    <a:lnTo>
                      <a:pt x="3580" y="554"/>
                    </a:lnTo>
                    <a:lnTo>
                      <a:pt x="3582" y="551"/>
                    </a:lnTo>
                    <a:lnTo>
                      <a:pt x="3582" y="548"/>
                    </a:lnTo>
                    <a:lnTo>
                      <a:pt x="3580" y="549"/>
                    </a:lnTo>
                    <a:lnTo>
                      <a:pt x="3579" y="552"/>
                    </a:lnTo>
                    <a:lnTo>
                      <a:pt x="3573" y="555"/>
                    </a:lnTo>
                    <a:lnTo>
                      <a:pt x="3568" y="556"/>
                    </a:lnTo>
                    <a:lnTo>
                      <a:pt x="3568" y="556"/>
                    </a:lnTo>
                    <a:lnTo>
                      <a:pt x="3565" y="556"/>
                    </a:lnTo>
                    <a:lnTo>
                      <a:pt x="3567" y="553"/>
                    </a:lnTo>
                    <a:lnTo>
                      <a:pt x="3568" y="551"/>
                    </a:lnTo>
                    <a:lnTo>
                      <a:pt x="3572" y="549"/>
                    </a:lnTo>
                    <a:lnTo>
                      <a:pt x="3568" y="548"/>
                    </a:lnTo>
                    <a:lnTo>
                      <a:pt x="3566" y="547"/>
                    </a:lnTo>
                    <a:lnTo>
                      <a:pt x="3568" y="544"/>
                    </a:lnTo>
                    <a:lnTo>
                      <a:pt x="3571" y="541"/>
                    </a:lnTo>
                    <a:lnTo>
                      <a:pt x="3567" y="541"/>
                    </a:lnTo>
                    <a:lnTo>
                      <a:pt x="3565" y="543"/>
                    </a:lnTo>
                    <a:lnTo>
                      <a:pt x="3562" y="545"/>
                    </a:lnTo>
                    <a:lnTo>
                      <a:pt x="3565" y="546"/>
                    </a:lnTo>
                    <a:lnTo>
                      <a:pt x="3564" y="549"/>
                    </a:lnTo>
                    <a:lnTo>
                      <a:pt x="3560" y="551"/>
                    </a:lnTo>
                    <a:lnTo>
                      <a:pt x="3558" y="552"/>
                    </a:lnTo>
                    <a:lnTo>
                      <a:pt x="3558" y="552"/>
                    </a:lnTo>
                    <a:lnTo>
                      <a:pt x="3556" y="548"/>
                    </a:lnTo>
                    <a:lnTo>
                      <a:pt x="3558" y="546"/>
                    </a:lnTo>
                    <a:lnTo>
                      <a:pt x="3557" y="540"/>
                    </a:lnTo>
                    <a:lnTo>
                      <a:pt x="3558" y="538"/>
                    </a:lnTo>
                    <a:lnTo>
                      <a:pt x="3558" y="536"/>
                    </a:lnTo>
                    <a:lnTo>
                      <a:pt x="3556" y="535"/>
                    </a:lnTo>
                    <a:lnTo>
                      <a:pt x="3552" y="536"/>
                    </a:lnTo>
                    <a:lnTo>
                      <a:pt x="3550" y="536"/>
                    </a:lnTo>
                    <a:lnTo>
                      <a:pt x="3545" y="537"/>
                    </a:lnTo>
                    <a:lnTo>
                      <a:pt x="3542" y="535"/>
                    </a:lnTo>
                    <a:lnTo>
                      <a:pt x="3539" y="535"/>
                    </a:lnTo>
                    <a:lnTo>
                      <a:pt x="3537" y="534"/>
                    </a:lnTo>
                    <a:lnTo>
                      <a:pt x="3535" y="531"/>
                    </a:lnTo>
                    <a:lnTo>
                      <a:pt x="3538" y="529"/>
                    </a:lnTo>
                    <a:lnTo>
                      <a:pt x="3541" y="527"/>
                    </a:lnTo>
                    <a:lnTo>
                      <a:pt x="3543" y="526"/>
                    </a:lnTo>
                    <a:lnTo>
                      <a:pt x="3549" y="522"/>
                    </a:lnTo>
                    <a:lnTo>
                      <a:pt x="3551" y="520"/>
                    </a:lnTo>
                    <a:lnTo>
                      <a:pt x="3554" y="518"/>
                    </a:lnTo>
                    <a:lnTo>
                      <a:pt x="3556" y="517"/>
                    </a:lnTo>
                    <a:lnTo>
                      <a:pt x="3559" y="514"/>
                    </a:lnTo>
                    <a:lnTo>
                      <a:pt x="3562" y="513"/>
                    </a:lnTo>
                    <a:lnTo>
                      <a:pt x="3566" y="510"/>
                    </a:lnTo>
                    <a:lnTo>
                      <a:pt x="3567" y="509"/>
                    </a:lnTo>
                    <a:lnTo>
                      <a:pt x="3569" y="506"/>
                    </a:lnTo>
                    <a:lnTo>
                      <a:pt x="3575" y="502"/>
                    </a:lnTo>
                    <a:lnTo>
                      <a:pt x="3577" y="501"/>
                    </a:lnTo>
                    <a:lnTo>
                      <a:pt x="3576" y="497"/>
                    </a:lnTo>
                    <a:lnTo>
                      <a:pt x="3580" y="495"/>
                    </a:lnTo>
                    <a:lnTo>
                      <a:pt x="3580" y="494"/>
                    </a:lnTo>
                    <a:lnTo>
                      <a:pt x="3585" y="491"/>
                    </a:lnTo>
                    <a:lnTo>
                      <a:pt x="3588" y="488"/>
                    </a:lnTo>
                    <a:lnTo>
                      <a:pt x="3590" y="486"/>
                    </a:lnTo>
                    <a:lnTo>
                      <a:pt x="3592" y="484"/>
                    </a:lnTo>
                    <a:lnTo>
                      <a:pt x="3594" y="484"/>
                    </a:lnTo>
                    <a:lnTo>
                      <a:pt x="3598" y="480"/>
                    </a:lnTo>
                    <a:lnTo>
                      <a:pt x="3600" y="479"/>
                    </a:lnTo>
                    <a:lnTo>
                      <a:pt x="3602" y="476"/>
                    </a:lnTo>
                    <a:lnTo>
                      <a:pt x="3608" y="475"/>
                    </a:lnTo>
                    <a:lnTo>
                      <a:pt x="3609" y="471"/>
                    </a:lnTo>
                    <a:lnTo>
                      <a:pt x="3610" y="469"/>
                    </a:lnTo>
                    <a:lnTo>
                      <a:pt x="3611" y="466"/>
                    </a:lnTo>
                    <a:lnTo>
                      <a:pt x="3614" y="463"/>
                    </a:lnTo>
                    <a:lnTo>
                      <a:pt x="3616" y="461"/>
                    </a:lnTo>
                    <a:lnTo>
                      <a:pt x="3619" y="461"/>
                    </a:lnTo>
                    <a:lnTo>
                      <a:pt x="3625" y="457"/>
                    </a:lnTo>
                    <a:lnTo>
                      <a:pt x="3627" y="454"/>
                    </a:lnTo>
                    <a:lnTo>
                      <a:pt x="3628" y="451"/>
                    </a:lnTo>
                    <a:lnTo>
                      <a:pt x="3631" y="449"/>
                    </a:lnTo>
                    <a:lnTo>
                      <a:pt x="3636" y="445"/>
                    </a:lnTo>
                    <a:lnTo>
                      <a:pt x="3642" y="444"/>
                    </a:lnTo>
                    <a:lnTo>
                      <a:pt x="3645" y="443"/>
                    </a:lnTo>
                    <a:lnTo>
                      <a:pt x="3645" y="443"/>
                    </a:lnTo>
                    <a:lnTo>
                      <a:pt x="3649" y="443"/>
                    </a:lnTo>
                    <a:lnTo>
                      <a:pt x="3651" y="443"/>
                    </a:lnTo>
                    <a:lnTo>
                      <a:pt x="3651" y="443"/>
                    </a:lnTo>
                    <a:lnTo>
                      <a:pt x="3657" y="442"/>
                    </a:lnTo>
                    <a:lnTo>
                      <a:pt x="3660" y="442"/>
                    </a:lnTo>
                    <a:lnTo>
                      <a:pt x="3662" y="442"/>
                    </a:lnTo>
                    <a:lnTo>
                      <a:pt x="3665" y="443"/>
                    </a:lnTo>
                    <a:lnTo>
                      <a:pt x="3670" y="443"/>
                    </a:lnTo>
                    <a:lnTo>
                      <a:pt x="3673" y="442"/>
                    </a:lnTo>
                    <a:lnTo>
                      <a:pt x="3676" y="442"/>
                    </a:lnTo>
                    <a:lnTo>
                      <a:pt x="3678" y="442"/>
                    </a:lnTo>
                    <a:lnTo>
                      <a:pt x="3682" y="442"/>
                    </a:lnTo>
                    <a:lnTo>
                      <a:pt x="3682" y="445"/>
                    </a:lnTo>
                    <a:lnTo>
                      <a:pt x="3684" y="447"/>
                    </a:lnTo>
                    <a:lnTo>
                      <a:pt x="3686" y="446"/>
                    </a:lnTo>
                    <a:lnTo>
                      <a:pt x="3688" y="443"/>
                    </a:lnTo>
                    <a:lnTo>
                      <a:pt x="3691" y="441"/>
                    </a:lnTo>
                    <a:lnTo>
                      <a:pt x="3694" y="443"/>
                    </a:lnTo>
                    <a:lnTo>
                      <a:pt x="3696" y="443"/>
                    </a:lnTo>
                    <a:lnTo>
                      <a:pt x="3702" y="444"/>
                    </a:lnTo>
                    <a:lnTo>
                      <a:pt x="3704" y="445"/>
                    </a:lnTo>
                    <a:lnTo>
                      <a:pt x="3708" y="444"/>
                    </a:lnTo>
                    <a:lnTo>
                      <a:pt x="3710" y="442"/>
                    </a:lnTo>
                    <a:lnTo>
                      <a:pt x="3712" y="442"/>
                    </a:lnTo>
                    <a:lnTo>
                      <a:pt x="3716" y="442"/>
                    </a:lnTo>
                    <a:lnTo>
                      <a:pt x="3717" y="444"/>
                    </a:lnTo>
                    <a:lnTo>
                      <a:pt x="3720" y="445"/>
                    </a:lnTo>
                    <a:lnTo>
                      <a:pt x="3722" y="444"/>
                    </a:lnTo>
                    <a:lnTo>
                      <a:pt x="3721" y="442"/>
                    </a:lnTo>
                    <a:lnTo>
                      <a:pt x="3722" y="440"/>
                    </a:lnTo>
                    <a:lnTo>
                      <a:pt x="3726" y="441"/>
                    </a:lnTo>
                    <a:lnTo>
                      <a:pt x="3726" y="437"/>
                    </a:lnTo>
                    <a:lnTo>
                      <a:pt x="3728" y="436"/>
                    </a:lnTo>
                    <a:lnTo>
                      <a:pt x="3731" y="435"/>
                    </a:lnTo>
                    <a:lnTo>
                      <a:pt x="3734" y="435"/>
                    </a:lnTo>
                    <a:lnTo>
                      <a:pt x="3737" y="435"/>
                    </a:lnTo>
                    <a:lnTo>
                      <a:pt x="3738" y="436"/>
                    </a:lnTo>
                    <a:lnTo>
                      <a:pt x="3740" y="436"/>
                    </a:lnTo>
                    <a:lnTo>
                      <a:pt x="3743" y="437"/>
                    </a:lnTo>
                    <a:lnTo>
                      <a:pt x="3746" y="438"/>
                    </a:lnTo>
                    <a:lnTo>
                      <a:pt x="3748" y="440"/>
                    </a:lnTo>
                    <a:lnTo>
                      <a:pt x="3746" y="440"/>
                    </a:lnTo>
                    <a:lnTo>
                      <a:pt x="3748" y="441"/>
                    </a:lnTo>
                    <a:lnTo>
                      <a:pt x="3751" y="441"/>
                    </a:lnTo>
                    <a:lnTo>
                      <a:pt x="3753" y="438"/>
                    </a:lnTo>
                    <a:lnTo>
                      <a:pt x="3756" y="438"/>
                    </a:lnTo>
                    <a:lnTo>
                      <a:pt x="3759" y="440"/>
                    </a:lnTo>
                    <a:lnTo>
                      <a:pt x="3761" y="442"/>
                    </a:lnTo>
                    <a:lnTo>
                      <a:pt x="3762" y="444"/>
                    </a:lnTo>
                    <a:lnTo>
                      <a:pt x="3764" y="444"/>
                    </a:lnTo>
                    <a:lnTo>
                      <a:pt x="3768" y="446"/>
                    </a:lnTo>
                    <a:lnTo>
                      <a:pt x="3762" y="447"/>
                    </a:lnTo>
                    <a:lnTo>
                      <a:pt x="3760" y="447"/>
                    </a:lnTo>
                    <a:lnTo>
                      <a:pt x="3756" y="447"/>
                    </a:lnTo>
                    <a:lnTo>
                      <a:pt x="3754" y="447"/>
                    </a:lnTo>
                    <a:lnTo>
                      <a:pt x="3755" y="451"/>
                    </a:lnTo>
                    <a:lnTo>
                      <a:pt x="3756" y="453"/>
                    </a:lnTo>
                    <a:lnTo>
                      <a:pt x="3761" y="453"/>
                    </a:lnTo>
                    <a:lnTo>
                      <a:pt x="3762" y="453"/>
                    </a:lnTo>
                    <a:lnTo>
                      <a:pt x="3765" y="452"/>
                    </a:lnTo>
                    <a:lnTo>
                      <a:pt x="3768" y="451"/>
                    </a:lnTo>
                    <a:lnTo>
                      <a:pt x="3770" y="450"/>
                    </a:lnTo>
                    <a:lnTo>
                      <a:pt x="3776" y="452"/>
                    </a:lnTo>
                    <a:lnTo>
                      <a:pt x="3779" y="451"/>
                    </a:lnTo>
                    <a:lnTo>
                      <a:pt x="3781" y="449"/>
                    </a:lnTo>
                    <a:lnTo>
                      <a:pt x="3785" y="449"/>
                    </a:lnTo>
                    <a:lnTo>
                      <a:pt x="3785" y="445"/>
                    </a:lnTo>
                    <a:lnTo>
                      <a:pt x="3788" y="446"/>
                    </a:lnTo>
                    <a:lnTo>
                      <a:pt x="3790" y="446"/>
                    </a:lnTo>
                    <a:lnTo>
                      <a:pt x="3793" y="449"/>
                    </a:lnTo>
                    <a:lnTo>
                      <a:pt x="3796" y="449"/>
                    </a:lnTo>
                    <a:lnTo>
                      <a:pt x="3798" y="446"/>
                    </a:lnTo>
                    <a:lnTo>
                      <a:pt x="3802" y="446"/>
                    </a:lnTo>
                    <a:lnTo>
                      <a:pt x="3807" y="446"/>
                    </a:lnTo>
                    <a:lnTo>
                      <a:pt x="3810" y="445"/>
                    </a:lnTo>
                    <a:lnTo>
                      <a:pt x="3808" y="442"/>
                    </a:lnTo>
                    <a:lnTo>
                      <a:pt x="3806" y="441"/>
                    </a:lnTo>
                    <a:lnTo>
                      <a:pt x="3803" y="440"/>
                    </a:lnTo>
                    <a:lnTo>
                      <a:pt x="3801" y="441"/>
                    </a:lnTo>
                    <a:lnTo>
                      <a:pt x="3798" y="441"/>
                    </a:lnTo>
                    <a:lnTo>
                      <a:pt x="3795" y="440"/>
                    </a:lnTo>
                    <a:lnTo>
                      <a:pt x="3798" y="437"/>
                    </a:lnTo>
                    <a:lnTo>
                      <a:pt x="3797" y="435"/>
                    </a:lnTo>
                    <a:lnTo>
                      <a:pt x="3797" y="432"/>
                    </a:lnTo>
                    <a:lnTo>
                      <a:pt x="3799" y="433"/>
                    </a:lnTo>
                    <a:lnTo>
                      <a:pt x="3801" y="429"/>
                    </a:lnTo>
                    <a:lnTo>
                      <a:pt x="3802" y="427"/>
                    </a:lnTo>
                    <a:lnTo>
                      <a:pt x="3804" y="425"/>
                    </a:lnTo>
                    <a:lnTo>
                      <a:pt x="3807" y="423"/>
                    </a:lnTo>
                    <a:lnTo>
                      <a:pt x="3813" y="419"/>
                    </a:lnTo>
                    <a:lnTo>
                      <a:pt x="3815" y="417"/>
                    </a:lnTo>
                    <a:lnTo>
                      <a:pt x="3819" y="416"/>
                    </a:lnTo>
                    <a:lnTo>
                      <a:pt x="3821" y="410"/>
                    </a:lnTo>
                    <a:lnTo>
                      <a:pt x="3824" y="408"/>
                    </a:lnTo>
                    <a:lnTo>
                      <a:pt x="3827" y="406"/>
                    </a:lnTo>
                    <a:lnTo>
                      <a:pt x="3830" y="404"/>
                    </a:lnTo>
                    <a:lnTo>
                      <a:pt x="3830" y="402"/>
                    </a:lnTo>
                    <a:lnTo>
                      <a:pt x="3830" y="399"/>
                    </a:lnTo>
                    <a:lnTo>
                      <a:pt x="3833" y="398"/>
                    </a:lnTo>
                    <a:lnTo>
                      <a:pt x="3836" y="395"/>
                    </a:lnTo>
                    <a:lnTo>
                      <a:pt x="3838" y="394"/>
                    </a:lnTo>
                    <a:lnTo>
                      <a:pt x="3841" y="392"/>
                    </a:lnTo>
                    <a:lnTo>
                      <a:pt x="3847" y="393"/>
                    </a:lnTo>
                    <a:lnTo>
                      <a:pt x="3849" y="394"/>
                    </a:lnTo>
                    <a:lnTo>
                      <a:pt x="3852" y="392"/>
                    </a:lnTo>
                    <a:lnTo>
                      <a:pt x="3855" y="392"/>
                    </a:lnTo>
                    <a:lnTo>
                      <a:pt x="3859" y="392"/>
                    </a:lnTo>
                    <a:lnTo>
                      <a:pt x="3863" y="390"/>
                    </a:lnTo>
                    <a:lnTo>
                      <a:pt x="3865" y="390"/>
                    </a:lnTo>
                    <a:lnTo>
                      <a:pt x="3867" y="392"/>
                    </a:lnTo>
                    <a:lnTo>
                      <a:pt x="3870" y="395"/>
                    </a:lnTo>
                    <a:lnTo>
                      <a:pt x="3872" y="394"/>
                    </a:lnTo>
                    <a:lnTo>
                      <a:pt x="3879" y="390"/>
                    </a:lnTo>
                    <a:lnTo>
                      <a:pt x="3881" y="393"/>
                    </a:lnTo>
                    <a:lnTo>
                      <a:pt x="3876" y="401"/>
                    </a:lnTo>
                    <a:lnTo>
                      <a:pt x="3875" y="401"/>
                    </a:lnTo>
                    <a:lnTo>
                      <a:pt x="3873" y="403"/>
                    </a:lnTo>
                    <a:lnTo>
                      <a:pt x="3875" y="406"/>
                    </a:lnTo>
                    <a:lnTo>
                      <a:pt x="3874" y="409"/>
                    </a:lnTo>
                    <a:lnTo>
                      <a:pt x="3875" y="409"/>
                    </a:lnTo>
                    <a:lnTo>
                      <a:pt x="3879" y="408"/>
                    </a:lnTo>
                    <a:lnTo>
                      <a:pt x="3881" y="408"/>
                    </a:lnTo>
                    <a:lnTo>
                      <a:pt x="3881" y="411"/>
                    </a:lnTo>
                    <a:lnTo>
                      <a:pt x="3879" y="414"/>
                    </a:lnTo>
                    <a:lnTo>
                      <a:pt x="3878" y="416"/>
                    </a:lnTo>
                    <a:lnTo>
                      <a:pt x="3880" y="416"/>
                    </a:lnTo>
                    <a:lnTo>
                      <a:pt x="3883" y="415"/>
                    </a:lnTo>
                    <a:lnTo>
                      <a:pt x="3885" y="415"/>
                    </a:lnTo>
                    <a:lnTo>
                      <a:pt x="3888" y="411"/>
                    </a:lnTo>
                    <a:lnTo>
                      <a:pt x="3893" y="408"/>
                    </a:lnTo>
                    <a:lnTo>
                      <a:pt x="3896" y="404"/>
                    </a:lnTo>
                    <a:lnTo>
                      <a:pt x="3901" y="401"/>
                    </a:lnTo>
                    <a:lnTo>
                      <a:pt x="3905" y="400"/>
                    </a:lnTo>
                    <a:lnTo>
                      <a:pt x="3907" y="397"/>
                    </a:lnTo>
                    <a:lnTo>
                      <a:pt x="3909" y="395"/>
                    </a:lnTo>
                    <a:lnTo>
                      <a:pt x="3910" y="395"/>
                    </a:lnTo>
                    <a:lnTo>
                      <a:pt x="3913" y="397"/>
                    </a:lnTo>
                    <a:lnTo>
                      <a:pt x="3916" y="394"/>
                    </a:lnTo>
                    <a:lnTo>
                      <a:pt x="3916" y="398"/>
                    </a:lnTo>
                    <a:lnTo>
                      <a:pt x="3919" y="397"/>
                    </a:lnTo>
                    <a:lnTo>
                      <a:pt x="3919" y="393"/>
                    </a:lnTo>
                    <a:lnTo>
                      <a:pt x="3916" y="393"/>
                    </a:lnTo>
                    <a:lnTo>
                      <a:pt x="3917" y="390"/>
                    </a:lnTo>
                    <a:lnTo>
                      <a:pt x="3918" y="387"/>
                    </a:lnTo>
                    <a:lnTo>
                      <a:pt x="3918" y="384"/>
                    </a:lnTo>
                    <a:lnTo>
                      <a:pt x="3918" y="382"/>
                    </a:lnTo>
                    <a:lnTo>
                      <a:pt x="3922" y="381"/>
                    </a:lnTo>
                    <a:lnTo>
                      <a:pt x="3919" y="378"/>
                    </a:lnTo>
                    <a:lnTo>
                      <a:pt x="3923" y="376"/>
                    </a:lnTo>
                    <a:lnTo>
                      <a:pt x="3925" y="375"/>
                    </a:lnTo>
                    <a:lnTo>
                      <a:pt x="3929" y="375"/>
                    </a:lnTo>
                    <a:lnTo>
                      <a:pt x="3931" y="374"/>
                    </a:lnTo>
                    <a:lnTo>
                      <a:pt x="3934" y="374"/>
                    </a:lnTo>
                    <a:lnTo>
                      <a:pt x="3936" y="374"/>
                    </a:lnTo>
                    <a:lnTo>
                      <a:pt x="3939" y="375"/>
                    </a:lnTo>
                    <a:lnTo>
                      <a:pt x="3942" y="376"/>
                    </a:lnTo>
                    <a:lnTo>
                      <a:pt x="3944" y="377"/>
                    </a:lnTo>
                    <a:lnTo>
                      <a:pt x="3950" y="378"/>
                    </a:lnTo>
                    <a:lnTo>
                      <a:pt x="3952" y="378"/>
                    </a:lnTo>
                    <a:lnTo>
                      <a:pt x="3953" y="378"/>
                    </a:lnTo>
                    <a:lnTo>
                      <a:pt x="3952" y="378"/>
                    </a:lnTo>
                    <a:lnTo>
                      <a:pt x="3948" y="378"/>
                    </a:lnTo>
                    <a:lnTo>
                      <a:pt x="3948" y="381"/>
                    </a:lnTo>
                    <a:lnTo>
                      <a:pt x="3946" y="380"/>
                    </a:lnTo>
                    <a:lnTo>
                      <a:pt x="3942" y="380"/>
                    </a:lnTo>
                    <a:lnTo>
                      <a:pt x="3940" y="378"/>
                    </a:lnTo>
                    <a:lnTo>
                      <a:pt x="3938" y="378"/>
                    </a:lnTo>
                    <a:lnTo>
                      <a:pt x="3934" y="381"/>
                    </a:lnTo>
                    <a:lnTo>
                      <a:pt x="3932" y="383"/>
                    </a:lnTo>
                    <a:lnTo>
                      <a:pt x="3932" y="385"/>
                    </a:lnTo>
                    <a:lnTo>
                      <a:pt x="3931" y="389"/>
                    </a:lnTo>
                    <a:lnTo>
                      <a:pt x="3931" y="394"/>
                    </a:lnTo>
                    <a:lnTo>
                      <a:pt x="3929" y="395"/>
                    </a:lnTo>
                    <a:lnTo>
                      <a:pt x="3927" y="399"/>
                    </a:lnTo>
                    <a:lnTo>
                      <a:pt x="3930" y="401"/>
                    </a:lnTo>
                    <a:lnTo>
                      <a:pt x="3930" y="403"/>
                    </a:lnTo>
                    <a:lnTo>
                      <a:pt x="3927" y="406"/>
                    </a:lnTo>
                    <a:lnTo>
                      <a:pt x="3924" y="408"/>
                    </a:lnTo>
                    <a:lnTo>
                      <a:pt x="3927" y="410"/>
                    </a:lnTo>
                    <a:lnTo>
                      <a:pt x="3922" y="414"/>
                    </a:lnTo>
                    <a:lnTo>
                      <a:pt x="3919" y="414"/>
                    </a:lnTo>
                    <a:lnTo>
                      <a:pt x="3916" y="414"/>
                    </a:lnTo>
                    <a:lnTo>
                      <a:pt x="3914" y="417"/>
                    </a:lnTo>
                    <a:lnTo>
                      <a:pt x="3910" y="417"/>
                    </a:lnTo>
                    <a:lnTo>
                      <a:pt x="3908" y="418"/>
                    </a:lnTo>
                    <a:lnTo>
                      <a:pt x="3906" y="419"/>
                    </a:lnTo>
                    <a:lnTo>
                      <a:pt x="3902" y="420"/>
                    </a:lnTo>
                    <a:lnTo>
                      <a:pt x="3902" y="424"/>
                    </a:lnTo>
                    <a:lnTo>
                      <a:pt x="3900" y="426"/>
                    </a:lnTo>
                    <a:lnTo>
                      <a:pt x="3898" y="428"/>
                    </a:lnTo>
                    <a:lnTo>
                      <a:pt x="3895" y="429"/>
                    </a:lnTo>
                    <a:lnTo>
                      <a:pt x="3893" y="433"/>
                    </a:lnTo>
                    <a:lnTo>
                      <a:pt x="3890" y="435"/>
                    </a:lnTo>
                    <a:lnTo>
                      <a:pt x="3888" y="437"/>
                    </a:lnTo>
                    <a:lnTo>
                      <a:pt x="3885" y="438"/>
                    </a:lnTo>
                    <a:lnTo>
                      <a:pt x="3882" y="440"/>
                    </a:lnTo>
                    <a:lnTo>
                      <a:pt x="3881" y="442"/>
                    </a:lnTo>
                    <a:lnTo>
                      <a:pt x="3879" y="444"/>
                    </a:lnTo>
                    <a:lnTo>
                      <a:pt x="3875" y="446"/>
                    </a:lnTo>
                    <a:lnTo>
                      <a:pt x="3873" y="449"/>
                    </a:lnTo>
                    <a:lnTo>
                      <a:pt x="3873" y="451"/>
                    </a:lnTo>
                    <a:lnTo>
                      <a:pt x="3871" y="453"/>
                    </a:lnTo>
                    <a:lnTo>
                      <a:pt x="3868" y="457"/>
                    </a:lnTo>
                    <a:lnTo>
                      <a:pt x="3865" y="459"/>
                    </a:lnTo>
                    <a:lnTo>
                      <a:pt x="3863" y="461"/>
                    </a:lnTo>
                    <a:lnTo>
                      <a:pt x="3861" y="463"/>
                    </a:lnTo>
                    <a:lnTo>
                      <a:pt x="3857" y="464"/>
                    </a:lnTo>
                    <a:lnTo>
                      <a:pt x="3855" y="467"/>
                    </a:lnTo>
                    <a:lnTo>
                      <a:pt x="3852" y="469"/>
                    </a:lnTo>
                    <a:lnTo>
                      <a:pt x="3849" y="470"/>
                    </a:lnTo>
                    <a:lnTo>
                      <a:pt x="3847" y="470"/>
                    </a:lnTo>
                    <a:lnTo>
                      <a:pt x="3844" y="470"/>
                    </a:lnTo>
                    <a:lnTo>
                      <a:pt x="3842" y="472"/>
                    </a:lnTo>
                    <a:lnTo>
                      <a:pt x="3839" y="475"/>
                    </a:lnTo>
                    <a:lnTo>
                      <a:pt x="3837" y="475"/>
                    </a:lnTo>
                    <a:lnTo>
                      <a:pt x="3833" y="474"/>
                    </a:lnTo>
                    <a:lnTo>
                      <a:pt x="3831" y="475"/>
                    </a:lnTo>
                    <a:lnTo>
                      <a:pt x="3833" y="478"/>
                    </a:lnTo>
                    <a:lnTo>
                      <a:pt x="3835" y="480"/>
                    </a:lnTo>
                    <a:lnTo>
                      <a:pt x="3833" y="484"/>
                    </a:lnTo>
                    <a:lnTo>
                      <a:pt x="3831" y="486"/>
                    </a:lnTo>
                    <a:lnTo>
                      <a:pt x="3830" y="488"/>
                    </a:lnTo>
                    <a:lnTo>
                      <a:pt x="3828" y="489"/>
                    </a:lnTo>
                    <a:lnTo>
                      <a:pt x="3825" y="492"/>
                    </a:lnTo>
                    <a:lnTo>
                      <a:pt x="3822" y="495"/>
                    </a:lnTo>
                    <a:lnTo>
                      <a:pt x="3820" y="497"/>
                    </a:lnTo>
                    <a:lnTo>
                      <a:pt x="3820" y="501"/>
                    </a:lnTo>
                    <a:lnTo>
                      <a:pt x="3819" y="503"/>
                    </a:lnTo>
                    <a:lnTo>
                      <a:pt x="3818" y="505"/>
                    </a:lnTo>
                    <a:lnTo>
                      <a:pt x="3816" y="509"/>
                    </a:lnTo>
                    <a:lnTo>
                      <a:pt x="3816" y="511"/>
                    </a:lnTo>
                    <a:lnTo>
                      <a:pt x="3816" y="513"/>
                    </a:lnTo>
                    <a:lnTo>
                      <a:pt x="3816" y="515"/>
                    </a:lnTo>
                    <a:lnTo>
                      <a:pt x="3815" y="519"/>
                    </a:lnTo>
                    <a:lnTo>
                      <a:pt x="3815" y="521"/>
                    </a:lnTo>
                    <a:lnTo>
                      <a:pt x="3815" y="523"/>
                    </a:lnTo>
                    <a:lnTo>
                      <a:pt x="3815" y="527"/>
                    </a:lnTo>
                    <a:lnTo>
                      <a:pt x="3815" y="529"/>
                    </a:lnTo>
                    <a:lnTo>
                      <a:pt x="3816" y="532"/>
                    </a:lnTo>
                    <a:lnTo>
                      <a:pt x="3816" y="535"/>
                    </a:lnTo>
                    <a:lnTo>
                      <a:pt x="3816" y="537"/>
                    </a:lnTo>
                    <a:lnTo>
                      <a:pt x="3818" y="540"/>
                    </a:lnTo>
                    <a:lnTo>
                      <a:pt x="3818" y="543"/>
                    </a:lnTo>
                    <a:lnTo>
                      <a:pt x="3819" y="546"/>
                    </a:lnTo>
                    <a:lnTo>
                      <a:pt x="3820" y="548"/>
                    </a:lnTo>
                    <a:lnTo>
                      <a:pt x="3820" y="551"/>
                    </a:lnTo>
                    <a:lnTo>
                      <a:pt x="3821" y="554"/>
                    </a:lnTo>
                    <a:lnTo>
                      <a:pt x="3821" y="556"/>
                    </a:lnTo>
                    <a:lnTo>
                      <a:pt x="3821" y="560"/>
                    </a:lnTo>
                    <a:lnTo>
                      <a:pt x="3822" y="562"/>
                    </a:lnTo>
                    <a:lnTo>
                      <a:pt x="3822" y="564"/>
                    </a:lnTo>
                    <a:lnTo>
                      <a:pt x="3822" y="568"/>
                    </a:lnTo>
                    <a:lnTo>
                      <a:pt x="3823" y="570"/>
                    </a:lnTo>
                    <a:lnTo>
                      <a:pt x="3824" y="573"/>
                    </a:lnTo>
                    <a:lnTo>
                      <a:pt x="3827" y="574"/>
                    </a:lnTo>
                    <a:lnTo>
                      <a:pt x="3825" y="578"/>
                    </a:lnTo>
                    <a:lnTo>
                      <a:pt x="3827" y="580"/>
                    </a:lnTo>
                    <a:lnTo>
                      <a:pt x="3828" y="583"/>
                    </a:lnTo>
                    <a:lnTo>
                      <a:pt x="3828" y="586"/>
                    </a:lnTo>
                    <a:lnTo>
                      <a:pt x="3828" y="588"/>
                    </a:lnTo>
                    <a:lnTo>
                      <a:pt x="3828" y="591"/>
                    </a:lnTo>
                    <a:lnTo>
                      <a:pt x="3828" y="594"/>
                    </a:lnTo>
                    <a:lnTo>
                      <a:pt x="3828" y="597"/>
                    </a:lnTo>
                    <a:lnTo>
                      <a:pt x="3831" y="599"/>
                    </a:lnTo>
                    <a:lnTo>
                      <a:pt x="3831" y="601"/>
                    </a:lnTo>
                    <a:lnTo>
                      <a:pt x="3830" y="605"/>
                    </a:lnTo>
                    <a:lnTo>
                      <a:pt x="3832" y="603"/>
                    </a:lnTo>
                    <a:lnTo>
                      <a:pt x="3836" y="600"/>
                    </a:lnTo>
                    <a:lnTo>
                      <a:pt x="3837" y="599"/>
                    </a:lnTo>
                    <a:lnTo>
                      <a:pt x="3840" y="597"/>
                    </a:lnTo>
                    <a:lnTo>
                      <a:pt x="3842" y="594"/>
                    </a:lnTo>
                    <a:lnTo>
                      <a:pt x="3845" y="592"/>
                    </a:lnTo>
                    <a:lnTo>
                      <a:pt x="3847" y="590"/>
                    </a:lnTo>
                    <a:lnTo>
                      <a:pt x="3850" y="588"/>
                    </a:lnTo>
                    <a:lnTo>
                      <a:pt x="3853" y="585"/>
                    </a:lnTo>
                    <a:lnTo>
                      <a:pt x="3853" y="582"/>
                    </a:lnTo>
                    <a:lnTo>
                      <a:pt x="3854" y="580"/>
                    </a:lnTo>
                    <a:lnTo>
                      <a:pt x="3856" y="577"/>
                    </a:lnTo>
                    <a:lnTo>
                      <a:pt x="3856" y="574"/>
                    </a:lnTo>
                    <a:lnTo>
                      <a:pt x="3856" y="571"/>
                    </a:lnTo>
                    <a:lnTo>
                      <a:pt x="3857" y="569"/>
                    </a:lnTo>
                    <a:lnTo>
                      <a:pt x="3855" y="568"/>
                    </a:lnTo>
                    <a:lnTo>
                      <a:pt x="3856" y="565"/>
                    </a:lnTo>
                    <a:lnTo>
                      <a:pt x="3858" y="568"/>
                    </a:lnTo>
                    <a:lnTo>
                      <a:pt x="3861" y="566"/>
                    </a:lnTo>
                    <a:lnTo>
                      <a:pt x="3863" y="564"/>
                    </a:lnTo>
                    <a:lnTo>
                      <a:pt x="3866" y="563"/>
                    </a:lnTo>
                    <a:lnTo>
                      <a:pt x="3868" y="562"/>
                    </a:lnTo>
                    <a:lnTo>
                      <a:pt x="3872" y="562"/>
                    </a:lnTo>
                    <a:lnTo>
                      <a:pt x="3874" y="563"/>
                    </a:lnTo>
                    <a:lnTo>
                      <a:pt x="3875" y="564"/>
                    </a:lnTo>
                    <a:lnTo>
                      <a:pt x="3876" y="562"/>
                    </a:lnTo>
                    <a:lnTo>
                      <a:pt x="3875" y="561"/>
                    </a:lnTo>
                    <a:lnTo>
                      <a:pt x="3874" y="558"/>
                    </a:lnTo>
                    <a:lnTo>
                      <a:pt x="3875" y="555"/>
                    </a:lnTo>
                    <a:lnTo>
                      <a:pt x="3873" y="553"/>
                    </a:lnTo>
                    <a:lnTo>
                      <a:pt x="3874" y="549"/>
                    </a:lnTo>
                    <a:lnTo>
                      <a:pt x="3874" y="547"/>
                    </a:lnTo>
                    <a:lnTo>
                      <a:pt x="3875" y="545"/>
                    </a:lnTo>
                    <a:lnTo>
                      <a:pt x="3879" y="543"/>
                    </a:lnTo>
                    <a:lnTo>
                      <a:pt x="3881" y="540"/>
                    </a:lnTo>
                    <a:lnTo>
                      <a:pt x="3884" y="538"/>
                    </a:lnTo>
                    <a:lnTo>
                      <a:pt x="3887" y="537"/>
                    </a:lnTo>
                    <a:lnTo>
                      <a:pt x="3890" y="536"/>
                    </a:lnTo>
                    <a:lnTo>
                      <a:pt x="3892" y="537"/>
                    </a:lnTo>
                    <a:lnTo>
                      <a:pt x="3895" y="538"/>
                    </a:lnTo>
                    <a:lnTo>
                      <a:pt x="3898" y="537"/>
                    </a:lnTo>
                    <a:lnTo>
                      <a:pt x="3900" y="536"/>
                    </a:lnTo>
                    <a:lnTo>
                      <a:pt x="3904" y="534"/>
                    </a:lnTo>
                    <a:lnTo>
                      <a:pt x="3905" y="531"/>
                    </a:lnTo>
                    <a:lnTo>
                      <a:pt x="3904" y="529"/>
                    </a:lnTo>
                    <a:lnTo>
                      <a:pt x="3900" y="526"/>
                    </a:lnTo>
                    <a:lnTo>
                      <a:pt x="3899" y="523"/>
                    </a:lnTo>
                    <a:lnTo>
                      <a:pt x="3899" y="520"/>
                    </a:lnTo>
                    <a:lnTo>
                      <a:pt x="3899" y="518"/>
                    </a:lnTo>
                    <a:lnTo>
                      <a:pt x="3900" y="514"/>
                    </a:lnTo>
                    <a:lnTo>
                      <a:pt x="3902" y="512"/>
                    </a:lnTo>
                    <a:lnTo>
                      <a:pt x="3904" y="510"/>
                    </a:lnTo>
                    <a:lnTo>
                      <a:pt x="3905" y="506"/>
                    </a:lnTo>
                    <a:lnTo>
                      <a:pt x="3908" y="505"/>
                    </a:lnTo>
                    <a:lnTo>
                      <a:pt x="3909" y="505"/>
                    </a:lnTo>
                    <a:lnTo>
                      <a:pt x="3908" y="502"/>
                    </a:lnTo>
                    <a:lnTo>
                      <a:pt x="3912" y="501"/>
                    </a:lnTo>
                    <a:lnTo>
                      <a:pt x="3914" y="501"/>
                    </a:lnTo>
                    <a:lnTo>
                      <a:pt x="3917" y="498"/>
                    </a:lnTo>
                    <a:lnTo>
                      <a:pt x="3916" y="501"/>
                    </a:lnTo>
                    <a:lnTo>
                      <a:pt x="3913" y="502"/>
                    </a:lnTo>
                    <a:lnTo>
                      <a:pt x="3912" y="505"/>
                    </a:lnTo>
                    <a:lnTo>
                      <a:pt x="3914" y="508"/>
                    </a:lnTo>
                    <a:lnTo>
                      <a:pt x="3916" y="509"/>
                    </a:lnTo>
                    <a:lnTo>
                      <a:pt x="3919" y="506"/>
                    </a:lnTo>
                    <a:lnTo>
                      <a:pt x="3922" y="504"/>
                    </a:lnTo>
                    <a:lnTo>
                      <a:pt x="3921" y="501"/>
                    </a:lnTo>
                    <a:lnTo>
                      <a:pt x="3921" y="498"/>
                    </a:lnTo>
                    <a:lnTo>
                      <a:pt x="3921" y="496"/>
                    </a:lnTo>
                    <a:lnTo>
                      <a:pt x="3917" y="495"/>
                    </a:lnTo>
                    <a:lnTo>
                      <a:pt x="3915" y="495"/>
                    </a:lnTo>
                    <a:lnTo>
                      <a:pt x="3914" y="492"/>
                    </a:lnTo>
                    <a:lnTo>
                      <a:pt x="3914" y="489"/>
                    </a:lnTo>
                    <a:lnTo>
                      <a:pt x="3914" y="487"/>
                    </a:lnTo>
                    <a:lnTo>
                      <a:pt x="3914" y="486"/>
                    </a:lnTo>
                    <a:lnTo>
                      <a:pt x="3914" y="483"/>
                    </a:lnTo>
                    <a:lnTo>
                      <a:pt x="3916" y="480"/>
                    </a:lnTo>
                    <a:lnTo>
                      <a:pt x="3919" y="478"/>
                    </a:lnTo>
                    <a:lnTo>
                      <a:pt x="3921" y="476"/>
                    </a:lnTo>
                    <a:lnTo>
                      <a:pt x="3918" y="474"/>
                    </a:lnTo>
                    <a:lnTo>
                      <a:pt x="3915" y="472"/>
                    </a:lnTo>
                    <a:lnTo>
                      <a:pt x="3913" y="470"/>
                    </a:lnTo>
                    <a:lnTo>
                      <a:pt x="3909" y="472"/>
                    </a:lnTo>
                    <a:lnTo>
                      <a:pt x="3909" y="475"/>
                    </a:lnTo>
                    <a:lnTo>
                      <a:pt x="3907" y="475"/>
                    </a:lnTo>
                    <a:lnTo>
                      <a:pt x="3905" y="472"/>
                    </a:lnTo>
                    <a:lnTo>
                      <a:pt x="3902" y="470"/>
                    </a:lnTo>
                    <a:lnTo>
                      <a:pt x="3902" y="467"/>
                    </a:lnTo>
                    <a:lnTo>
                      <a:pt x="3905" y="461"/>
                    </a:lnTo>
                    <a:lnTo>
                      <a:pt x="3907" y="459"/>
                    </a:lnTo>
                    <a:lnTo>
                      <a:pt x="3909" y="457"/>
                    </a:lnTo>
                    <a:lnTo>
                      <a:pt x="3912" y="454"/>
                    </a:lnTo>
                    <a:lnTo>
                      <a:pt x="3915" y="452"/>
                    </a:lnTo>
                    <a:lnTo>
                      <a:pt x="3917" y="450"/>
                    </a:lnTo>
                    <a:lnTo>
                      <a:pt x="3915" y="447"/>
                    </a:lnTo>
                    <a:lnTo>
                      <a:pt x="3917" y="447"/>
                    </a:lnTo>
                    <a:lnTo>
                      <a:pt x="3918" y="444"/>
                    </a:lnTo>
                    <a:lnTo>
                      <a:pt x="3921" y="444"/>
                    </a:lnTo>
                    <a:lnTo>
                      <a:pt x="3921" y="442"/>
                    </a:lnTo>
                    <a:lnTo>
                      <a:pt x="3919" y="438"/>
                    </a:lnTo>
                    <a:lnTo>
                      <a:pt x="3922" y="437"/>
                    </a:lnTo>
                    <a:lnTo>
                      <a:pt x="3922" y="435"/>
                    </a:lnTo>
                    <a:lnTo>
                      <a:pt x="3923" y="433"/>
                    </a:lnTo>
                    <a:lnTo>
                      <a:pt x="3926" y="432"/>
                    </a:lnTo>
                    <a:lnTo>
                      <a:pt x="3925" y="429"/>
                    </a:lnTo>
                    <a:lnTo>
                      <a:pt x="3929" y="428"/>
                    </a:lnTo>
                    <a:lnTo>
                      <a:pt x="3931" y="429"/>
                    </a:lnTo>
                    <a:lnTo>
                      <a:pt x="3932" y="429"/>
                    </a:lnTo>
                    <a:lnTo>
                      <a:pt x="3931" y="433"/>
                    </a:lnTo>
                    <a:lnTo>
                      <a:pt x="3934" y="430"/>
                    </a:lnTo>
                    <a:lnTo>
                      <a:pt x="3935" y="429"/>
                    </a:lnTo>
                    <a:lnTo>
                      <a:pt x="3938" y="428"/>
                    </a:lnTo>
                    <a:lnTo>
                      <a:pt x="3940" y="429"/>
                    </a:lnTo>
                    <a:lnTo>
                      <a:pt x="3941" y="433"/>
                    </a:lnTo>
                    <a:lnTo>
                      <a:pt x="3943" y="433"/>
                    </a:lnTo>
                    <a:lnTo>
                      <a:pt x="3947" y="430"/>
                    </a:lnTo>
                    <a:lnTo>
                      <a:pt x="3947" y="429"/>
                    </a:lnTo>
                    <a:lnTo>
                      <a:pt x="3944" y="428"/>
                    </a:lnTo>
                    <a:lnTo>
                      <a:pt x="3947" y="428"/>
                    </a:lnTo>
                    <a:lnTo>
                      <a:pt x="3950" y="426"/>
                    </a:lnTo>
                    <a:lnTo>
                      <a:pt x="3952" y="425"/>
                    </a:lnTo>
                    <a:lnTo>
                      <a:pt x="3956" y="424"/>
                    </a:lnTo>
                    <a:lnTo>
                      <a:pt x="3958" y="421"/>
                    </a:lnTo>
                    <a:lnTo>
                      <a:pt x="3960" y="420"/>
                    </a:lnTo>
                    <a:lnTo>
                      <a:pt x="3961" y="423"/>
                    </a:lnTo>
                    <a:lnTo>
                      <a:pt x="3961" y="426"/>
                    </a:lnTo>
                    <a:lnTo>
                      <a:pt x="3960" y="428"/>
                    </a:lnTo>
                    <a:lnTo>
                      <a:pt x="3960" y="429"/>
                    </a:lnTo>
                    <a:lnTo>
                      <a:pt x="3959" y="433"/>
                    </a:lnTo>
                    <a:lnTo>
                      <a:pt x="3963" y="433"/>
                    </a:lnTo>
                    <a:lnTo>
                      <a:pt x="3965" y="430"/>
                    </a:lnTo>
                    <a:lnTo>
                      <a:pt x="3965" y="429"/>
                    </a:lnTo>
                    <a:lnTo>
                      <a:pt x="3968" y="427"/>
                    </a:lnTo>
                    <a:lnTo>
                      <a:pt x="3970" y="425"/>
                    </a:lnTo>
                    <a:lnTo>
                      <a:pt x="3973" y="421"/>
                    </a:lnTo>
                    <a:lnTo>
                      <a:pt x="3975" y="423"/>
                    </a:lnTo>
                    <a:lnTo>
                      <a:pt x="3977" y="421"/>
                    </a:lnTo>
                    <a:lnTo>
                      <a:pt x="3981" y="420"/>
                    </a:lnTo>
                    <a:lnTo>
                      <a:pt x="3983" y="419"/>
                    </a:lnTo>
                    <a:lnTo>
                      <a:pt x="3986" y="418"/>
                    </a:lnTo>
                    <a:lnTo>
                      <a:pt x="3989" y="418"/>
                    </a:lnTo>
                    <a:lnTo>
                      <a:pt x="3992" y="418"/>
                    </a:lnTo>
                    <a:lnTo>
                      <a:pt x="3994" y="418"/>
                    </a:lnTo>
                    <a:lnTo>
                      <a:pt x="3998" y="418"/>
                    </a:lnTo>
                    <a:lnTo>
                      <a:pt x="4000" y="418"/>
                    </a:lnTo>
                    <a:lnTo>
                      <a:pt x="4002" y="417"/>
                    </a:lnTo>
                    <a:lnTo>
                      <a:pt x="4006" y="419"/>
                    </a:lnTo>
                    <a:lnTo>
                      <a:pt x="4007" y="420"/>
                    </a:lnTo>
                    <a:lnTo>
                      <a:pt x="4009" y="423"/>
                    </a:lnTo>
                    <a:lnTo>
                      <a:pt x="4011" y="425"/>
                    </a:lnTo>
                    <a:lnTo>
                      <a:pt x="4011" y="427"/>
                    </a:lnTo>
                    <a:lnTo>
                      <a:pt x="4012" y="428"/>
                    </a:lnTo>
                    <a:lnTo>
                      <a:pt x="4015" y="429"/>
                    </a:lnTo>
                    <a:lnTo>
                      <a:pt x="4017" y="432"/>
                    </a:lnTo>
                    <a:lnTo>
                      <a:pt x="4018" y="429"/>
                    </a:lnTo>
                    <a:lnTo>
                      <a:pt x="4019" y="427"/>
                    </a:lnTo>
                    <a:lnTo>
                      <a:pt x="4019" y="425"/>
                    </a:lnTo>
                    <a:lnTo>
                      <a:pt x="4021" y="421"/>
                    </a:lnTo>
                    <a:lnTo>
                      <a:pt x="4024" y="419"/>
                    </a:lnTo>
                    <a:lnTo>
                      <a:pt x="4026" y="419"/>
                    </a:lnTo>
                    <a:lnTo>
                      <a:pt x="4029" y="418"/>
                    </a:lnTo>
                    <a:lnTo>
                      <a:pt x="4032" y="415"/>
                    </a:lnTo>
                    <a:lnTo>
                      <a:pt x="4035" y="415"/>
                    </a:lnTo>
                    <a:lnTo>
                      <a:pt x="4037" y="412"/>
                    </a:lnTo>
                    <a:lnTo>
                      <a:pt x="4041" y="412"/>
                    </a:lnTo>
                    <a:lnTo>
                      <a:pt x="4042" y="411"/>
                    </a:lnTo>
                    <a:lnTo>
                      <a:pt x="4042" y="409"/>
                    </a:lnTo>
                    <a:lnTo>
                      <a:pt x="4045" y="409"/>
                    </a:lnTo>
                    <a:lnTo>
                      <a:pt x="4043" y="407"/>
                    </a:lnTo>
                    <a:lnTo>
                      <a:pt x="4046" y="404"/>
                    </a:lnTo>
                    <a:lnTo>
                      <a:pt x="4049" y="406"/>
                    </a:lnTo>
                    <a:lnTo>
                      <a:pt x="4050" y="402"/>
                    </a:lnTo>
                    <a:lnTo>
                      <a:pt x="4052" y="403"/>
                    </a:lnTo>
                    <a:lnTo>
                      <a:pt x="4051" y="401"/>
                    </a:lnTo>
                    <a:lnTo>
                      <a:pt x="4053" y="400"/>
                    </a:lnTo>
                    <a:lnTo>
                      <a:pt x="4055" y="401"/>
                    </a:lnTo>
                    <a:lnTo>
                      <a:pt x="4058" y="398"/>
                    </a:lnTo>
                    <a:lnTo>
                      <a:pt x="4061" y="395"/>
                    </a:lnTo>
                    <a:lnTo>
                      <a:pt x="4063" y="394"/>
                    </a:lnTo>
                    <a:lnTo>
                      <a:pt x="4066" y="394"/>
                    </a:lnTo>
                    <a:lnTo>
                      <a:pt x="4069" y="393"/>
                    </a:lnTo>
                    <a:lnTo>
                      <a:pt x="4071" y="392"/>
                    </a:lnTo>
                    <a:lnTo>
                      <a:pt x="4074" y="392"/>
                    </a:lnTo>
                    <a:lnTo>
                      <a:pt x="4077" y="392"/>
                    </a:lnTo>
                    <a:lnTo>
                      <a:pt x="4076" y="389"/>
                    </a:lnTo>
                    <a:lnTo>
                      <a:pt x="4078" y="390"/>
                    </a:lnTo>
                    <a:lnTo>
                      <a:pt x="4081" y="389"/>
                    </a:lnTo>
                    <a:lnTo>
                      <a:pt x="4084" y="387"/>
                    </a:lnTo>
                    <a:lnTo>
                      <a:pt x="4085" y="385"/>
                    </a:lnTo>
                    <a:lnTo>
                      <a:pt x="4087" y="385"/>
                    </a:lnTo>
                    <a:lnTo>
                      <a:pt x="4091" y="384"/>
                    </a:lnTo>
                    <a:lnTo>
                      <a:pt x="4093" y="383"/>
                    </a:lnTo>
                    <a:lnTo>
                      <a:pt x="4096" y="383"/>
                    </a:lnTo>
                    <a:lnTo>
                      <a:pt x="4098" y="382"/>
                    </a:lnTo>
                    <a:lnTo>
                      <a:pt x="4102" y="380"/>
                    </a:lnTo>
                    <a:lnTo>
                      <a:pt x="4104" y="377"/>
                    </a:lnTo>
                    <a:lnTo>
                      <a:pt x="4107" y="377"/>
                    </a:lnTo>
                    <a:lnTo>
                      <a:pt x="4110" y="376"/>
                    </a:lnTo>
                    <a:lnTo>
                      <a:pt x="4107" y="374"/>
                    </a:lnTo>
                    <a:lnTo>
                      <a:pt x="4109" y="370"/>
                    </a:lnTo>
                    <a:lnTo>
                      <a:pt x="4109" y="370"/>
                    </a:lnTo>
                    <a:lnTo>
                      <a:pt x="4111" y="373"/>
                    </a:lnTo>
                    <a:lnTo>
                      <a:pt x="4113" y="372"/>
                    </a:lnTo>
                    <a:lnTo>
                      <a:pt x="4113" y="374"/>
                    </a:lnTo>
                    <a:lnTo>
                      <a:pt x="4115" y="376"/>
                    </a:lnTo>
                    <a:lnTo>
                      <a:pt x="4119" y="376"/>
                    </a:lnTo>
                    <a:lnTo>
                      <a:pt x="4121" y="376"/>
                    </a:lnTo>
                    <a:lnTo>
                      <a:pt x="4124" y="377"/>
                    </a:lnTo>
                    <a:lnTo>
                      <a:pt x="4127" y="378"/>
                    </a:lnTo>
                    <a:lnTo>
                      <a:pt x="4130" y="380"/>
                    </a:lnTo>
                    <a:lnTo>
                      <a:pt x="4132" y="380"/>
                    </a:lnTo>
                    <a:lnTo>
                      <a:pt x="4135" y="381"/>
                    </a:lnTo>
                    <a:lnTo>
                      <a:pt x="4138" y="382"/>
                    </a:lnTo>
                    <a:lnTo>
                      <a:pt x="4137" y="378"/>
                    </a:lnTo>
                    <a:lnTo>
                      <a:pt x="4140" y="377"/>
                    </a:lnTo>
                    <a:lnTo>
                      <a:pt x="4143" y="375"/>
                    </a:lnTo>
                    <a:lnTo>
                      <a:pt x="4144" y="373"/>
                    </a:lnTo>
                    <a:lnTo>
                      <a:pt x="4143" y="369"/>
                    </a:lnTo>
                    <a:lnTo>
                      <a:pt x="4140" y="369"/>
                    </a:lnTo>
                    <a:lnTo>
                      <a:pt x="4139" y="366"/>
                    </a:lnTo>
                    <a:lnTo>
                      <a:pt x="4140" y="364"/>
                    </a:lnTo>
                    <a:lnTo>
                      <a:pt x="4138" y="361"/>
                    </a:lnTo>
                    <a:lnTo>
                      <a:pt x="4135" y="360"/>
                    </a:lnTo>
                    <a:lnTo>
                      <a:pt x="4135" y="359"/>
                    </a:lnTo>
                    <a:lnTo>
                      <a:pt x="4134" y="356"/>
                    </a:lnTo>
                    <a:lnTo>
                      <a:pt x="4132" y="359"/>
                    </a:lnTo>
                    <a:lnTo>
                      <a:pt x="4132" y="356"/>
                    </a:lnTo>
                    <a:lnTo>
                      <a:pt x="4130" y="355"/>
                    </a:lnTo>
                    <a:lnTo>
                      <a:pt x="4127" y="356"/>
                    </a:lnTo>
                    <a:lnTo>
                      <a:pt x="4130" y="353"/>
                    </a:lnTo>
                    <a:lnTo>
                      <a:pt x="4132" y="353"/>
                    </a:lnTo>
                    <a:lnTo>
                      <a:pt x="4132" y="351"/>
                    </a:lnTo>
                    <a:lnTo>
                      <a:pt x="4131" y="348"/>
                    </a:lnTo>
                    <a:lnTo>
                      <a:pt x="4130" y="346"/>
                    </a:lnTo>
                    <a:lnTo>
                      <a:pt x="4129" y="343"/>
                    </a:lnTo>
                    <a:lnTo>
                      <a:pt x="4128" y="340"/>
                    </a:lnTo>
                    <a:lnTo>
                      <a:pt x="4127" y="338"/>
                    </a:lnTo>
                    <a:lnTo>
                      <a:pt x="4123" y="340"/>
                    </a:lnTo>
                    <a:lnTo>
                      <a:pt x="4121" y="340"/>
                    </a:lnTo>
                    <a:lnTo>
                      <a:pt x="4118" y="339"/>
                    </a:lnTo>
                    <a:lnTo>
                      <a:pt x="4115" y="337"/>
                    </a:lnTo>
                    <a:lnTo>
                      <a:pt x="4113" y="334"/>
                    </a:lnTo>
                    <a:lnTo>
                      <a:pt x="4114" y="331"/>
                    </a:lnTo>
                    <a:lnTo>
                      <a:pt x="4113" y="329"/>
                    </a:lnTo>
                    <a:lnTo>
                      <a:pt x="4111" y="330"/>
                    </a:lnTo>
                    <a:lnTo>
                      <a:pt x="4109" y="330"/>
                    </a:lnTo>
                    <a:lnTo>
                      <a:pt x="4105" y="332"/>
                    </a:lnTo>
                    <a:lnTo>
                      <a:pt x="4103" y="331"/>
                    </a:lnTo>
                    <a:lnTo>
                      <a:pt x="4100" y="331"/>
                    </a:lnTo>
                    <a:lnTo>
                      <a:pt x="4097" y="332"/>
                    </a:lnTo>
                    <a:lnTo>
                      <a:pt x="4100" y="331"/>
                    </a:lnTo>
                    <a:lnTo>
                      <a:pt x="4098" y="327"/>
                    </a:lnTo>
                    <a:lnTo>
                      <a:pt x="4096" y="325"/>
                    </a:lnTo>
                    <a:lnTo>
                      <a:pt x="4094" y="325"/>
                    </a:lnTo>
                    <a:lnTo>
                      <a:pt x="4097" y="325"/>
                    </a:lnTo>
                    <a:lnTo>
                      <a:pt x="4100" y="326"/>
                    </a:lnTo>
                    <a:lnTo>
                      <a:pt x="4103" y="326"/>
                    </a:lnTo>
                    <a:lnTo>
                      <a:pt x="4105" y="326"/>
                    </a:lnTo>
                    <a:lnTo>
                      <a:pt x="4109" y="327"/>
                    </a:lnTo>
                    <a:lnTo>
                      <a:pt x="4111" y="327"/>
                    </a:lnTo>
                    <a:lnTo>
                      <a:pt x="4112" y="325"/>
                    </a:lnTo>
                    <a:lnTo>
                      <a:pt x="4109" y="323"/>
                    </a:lnTo>
                    <a:lnTo>
                      <a:pt x="4106" y="322"/>
                    </a:lnTo>
                    <a:lnTo>
                      <a:pt x="4103" y="323"/>
                    </a:lnTo>
                    <a:lnTo>
                      <a:pt x="4101" y="322"/>
                    </a:lnTo>
                    <a:lnTo>
                      <a:pt x="4103" y="323"/>
                    </a:lnTo>
                    <a:lnTo>
                      <a:pt x="4106" y="322"/>
                    </a:lnTo>
                    <a:lnTo>
                      <a:pt x="4109" y="322"/>
                    </a:lnTo>
                    <a:lnTo>
                      <a:pt x="4112" y="324"/>
                    </a:lnTo>
                    <a:lnTo>
                      <a:pt x="4114" y="325"/>
                    </a:lnTo>
                    <a:lnTo>
                      <a:pt x="4115" y="327"/>
                    </a:lnTo>
                    <a:lnTo>
                      <a:pt x="4118" y="330"/>
                    </a:lnTo>
                    <a:lnTo>
                      <a:pt x="4121" y="330"/>
                    </a:lnTo>
                    <a:lnTo>
                      <a:pt x="4123" y="331"/>
                    </a:lnTo>
                    <a:lnTo>
                      <a:pt x="4127" y="331"/>
                    </a:lnTo>
                    <a:lnTo>
                      <a:pt x="4129" y="331"/>
                    </a:lnTo>
                    <a:lnTo>
                      <a:pt x="4132" y="330"/>
                    </a:lnTo>
                    <a:lnTo>
                      <a:pt x="4130" y="332"/>
                    </a:lnTo>
                    <a:lnTo>
                      <a:pt x="4132" y="331"/>
                    </a:lnTo>
                    <a:lnTo>
                      <a:pt x="4135" y="330"/>
                    </a:lnTo>
                    <a:lnTo>
                      <a:pt x="4138" y="329"/>
                    </a:lnTo>
                    <a:lnTo>
                      <a:pt x="4140" y="327"/>
                    </a:lnTo>
                    <a:lnTo>
                      <a:pt x="4143" y="326"/>
                    </a:lnTo>
                    <a:lnTo>
                      <a:pt x="4146" y="324"/>
                    </a:lnTo>
                    <a:lnTo>
                      <a:pt x="4148" y="322"/>
                    </a:lnTo>
                    <a:lnTo>
                      <a:pt x="4149" y="322"/>
                    </a:lnTo>
                    <a:lnTo>
                      <a:pt x="4152" y="322"/>
                    </a:lnTo>
                    <a:lnTo>
                      <a:pt x="4154" y="320"/>
                    </a:lnTo>
                    <a:lnTo>
                      <a:pt x="4156" y="317"/>
                    </a:lnTo>
                    <a:lnTo>
                      <a:pt x="4155" y="314"/>
                    </a:lnTo>
                    <a:lnTo>
                      <a:pt x="4153" y="315"/>
                    </a:lnTo>
                    <a:lnTo>
                      <a:pt x="4149" y="316"/>
                    </a:lnTo>
                    <a:lnTo>
                      <a:pt x="4149" y="314"/>
                    </a:lnTo>
                    <a:lnTo>
                      <a:pt x="4151" y="314"/>
                    </a:lnTo>
                    <a:lnTo>
                      <a:pt x="4154" y="314"/>
                    </a:lnTo>
                    <a:lnTo>
                      <a:pt x="4156" y="314"/>
                    </a:lnTo>
                    <a:lnTo>
                      <a:pt x="4160" y="312"/>
                    </a:lnTo>
                    <a:lnTo>
                      <a:pt x="4157" y="308"/>
                    </a:lnTo>
                    <a:lnTo>
                      <a:pt x="4155" y="306"/>
                    </a:lnTo>
                    <a:lnTo>
                      <a:pt x="4153" y="304"/>
                    </a:lnTo>
                    <a:lnTo>
                      <a:pt x="4152" y="300"/>
                    </a:lnTo>
                    <a:lnTo>
                      <a:pt x="4154" y="298"/>
                    </a:lnTo>
                    <a:lnTo>
                      <a:pt x="4156" y="298"/>
                    </a:lnTo>
                    <a:lnTo>
                      <a:pt x="4160" y="297"/>
                    </a:lnTo>
                    <a:lnTo>
                      <a:pt x="4160" y="295"/>
                    </a:lnTo>
                    <a:lnTo>
                      <a:pt x="4162" y="292"/>
                    </a:lnTo>
                    <a:lnTo>
                      <a:pt x="4162" y="296"/>
                    </a:lnTo>
                    <a:lnTo>
                      <a:pt x="4164" y="297"/>
                    </a:lnTo>
                    <a:lnTo>
                      <a:pt x="4168" y="295"/>
                    </a:lnTo>
                    <a:lnTo>
                      <a:pt x="4170" y="293"/>
                    </a:lnTo>
                    <a:lnTo>
                      <a:pt x="4169" y="296"/>
                    </a:lnTo>
                    <a:lnTo>
                      <a:pt x="4168" y="299"/>
                    </a:lnTo>
                    <a:lnTo>
                      <a:pt x="4165" y="301"/>
                    </a:lnTo>
                    <a:lnTo>
                      <a:pt x="4166" y="305"/>
                    </a:lnTo>
                    <a:lnTo>
                      <a:pt x="4170" y="306"/>
                    </a:lnTo>
                    <a:lnTo>
                      <a:pt x="4170" y="309"/>
                    </a:lnTo>
                    <a:lnTo>
                      <a:pt x="4169" y="312"/>
                    </a:lnTo>
                    <a:lnTo>
                      <a:pt x="4172" y="313"/>
                    </a:lnTo>
                    <a:lnTo>
                      <a:pt x="4181" y="313"/>
                    </a:lnTo>
                    <a:lnTo>
                      <a:pt x="4183" y="313"/>
                    </a:lnTo>
                    <a:lnTo>
                      <a:pt x="4186" y="312"/>
                    </a:lnTo>
                    <a:lnTo>
                      <a:pt x="4189" y="309"/>
                    </a:lnTo>
                    <a:lnTo>
                      <a:pt x="4191" y="309"/>
                    </a:lnTo>
                    <a:lnTo>
                      <a:pt x="4195" y="310"/>
                    </a:lnTo>
                    <a:lnTo>
                      <a:pt x="4197" y="312"/>
                    </a:lnTo>
                    <a:lnTo>
                      <a:pt x="4199" y="313"/>
                    </a:lnTo>
                    <a:lnTo>
                      <a:pt x="4203" y="313"/>
                    </a:lnTo>
                    <a:lnTo>
                      <a:pt x="4205" y="314"/>
                    </a:lnTo>
                    <a:lnTo>
                      <a:pt x="4206" y="317"/>
                    </a:lnTo>
                    <a:lnTo>
                      <a:pt x="4207" y="320"/>
                    </a:lnTo>
                    <a:lnTo>
                      <a:pt x="4206" y="323"/>
                    </a:lnTo>
                    <a:lnTo>
                      <a:pt x="4208" y="325"/>
                    </a:lnTo>
                    <a:lnTo>
                      <a:pt x="4212" y="326"/>
                    </a:lnTo>
                    <a:lnTo>
                      <a:pt x="4214" y="327"/>
                    </a:lnTo>
                    <a:lnTo>
                      <a:pt x="4217" y="329"/>
                    </a:lnTo>
                    <a:lnTo>
                      <a:pt x="4220" y="329"/>
                    </a:lnTo>
                    <a:lnTo>
                      <a:pt x="4223" y="330"/>
                    </a:lnTo>
                    <a:lnTo>
                      <a:pt x="4225" y="331"/>
                    </a:lnTo>
                    <a:lnTo>
                      <a:pt x="4228" y="331"/>
                    </a:lnTo>
                    <a:lnTo>
                      <a:pt x="4230" y="333"/>
                    </a:lnTo>
                    <a:lnTo>
                      <a:pt x="4231" y="335"/>
                    </a:lnTo>
                    <a:lnTo>
                      <a:pt x="4233" y="337"/>
                    </a:lnTo>
                    <a:lnTo>
                      <a:pt x="4237" y="338"/>
                    </a:lnTo>
                    <a:lnTo>
                      <a:pt x="4239" y="337"/>
                    </a:lnTo>
                    <a:lnTo>
                      <a:pt x="4240" y="334"/>
                    </a:lnTo>
                    <a:lnTo>
                      <a:pt x="4240" y="332"/>
                    </a:lnTo>
                    <a:lnTo>
                      <a:pt x="4241" y="334"/>
                    </a:lnTo>
                    <a:lnTo>
                      <a:pt x="4240" y="338"/>
                    </a:lnTo>
                    <a:lnTo>
                      <a:pt x="4242" y="340"/>
                    </a:lnTo>
                    <a:lnTo>
                      <a:pt x="4242" y="340"/>
                    </a:lnTo>
                    <a:lnTo>
                      <a:pt x="4246" y="339"/>
                    </a:lnTo>
                    <a:lnTo>
                      <a:pt x="4247" y="337"/>
                    </a:lnTo>
                    <a:lnTo>
                      <a:pt x="4252" y="337"/>
                    </a:lnTo>
                    <a:lnTo>
                      <a:pt x="4255" y="335"/>
                    </a:lnTo>
                    <a:lnTo>
                      <a:pt x="4252" y="333"/>
                    </a:lnTo>
                    <a:lnTo>
                      <a:pt x="4250" y="332"/>
                    </a:lnTo>
                    <a:lnTo>
                      <a:pt x="4248" y="331"/>
                    </a:lnTo>
                    <a:lnTo>
                      <a:pt x="4245" y="331"/>
                    </a:lnTo>
                    <a:lnTo>
                      <a:pt x="4247" y="330"/>
                    </a:lnTo>
                    <a:lnTo>
                      <a:pt x="4247" y="326"/>
                    </a:lnTo>
                    <a:lnTo>
                      <a:pt x="4243" y="327"/>
                    </a:lnTo>
                    <a:lnTo>
                      <a:pt x="4247" y="326"/>
                    </a:lnTo>
                    <a:lnTo>
                      <a:pt x="4249" y="326"/>
                    </a:lnTo>
                    <a:lnTo>
                      <a:pt x="4252" y="325"/>
                    </a:lnTo>
                    <a:lnTo>
                      <a:pt x="4255" y="324"/>
                    </a:lnTo>
                    <a:lnTo>
                      <a:pt x="4257" y="321"/>
                    </a:lnTo>
                    <a:lnTo>
                      <a:pt x="4255" y="318"/>
                    </a:lnTo>
                    <a:lnTo>
                      <a:pt x="4251" y="318"/>
                    </a:lnTo>
                    <a:lnTo>
                      <a:pt x="4255" y="317"/>
                    </a:lnTo>
                    <a:lnTo>
                      <a:pt x="4256" y="318"/>
                    </a:lnTo>
                    <a:lnTo>
                      <a:pt x="4256" y="315"/>
                    </a:lnTo>
                    <a:lnTo>
                      <a:pt x="4257" y="313"/>
                    </a:lnTo>
                    <a:lnTo>
                      <a:pt x="4255" y="314"/>
                    </a:lnTo>
                    <a:lnTo>
                      <a:pt x="4254" y="310"/>
                    </a:lnTo>
                    <a:lnTo>
                      <a:pt x="4250" y="309"/>
                    </a:lnTo>
                    <a:lnTo>
                      <a:pt x="4248" y="308"/>
                    </a:lnTo>
                    <a:lnTo>
                      <a:pt x="4250" y="307"/>
                    </a:lnTo>
                    <a:lnTo>
                      <a:pt x="4254" y="308"/>
                    </a:lnTo>
                    <a:lnTo>
                      <a:pt x="4255" y="310"/>
                    </a:lnTo>
                    <a:lnTo>
                      <a:pt x="4257" y="310"/>
                    </a:lnTo>
                    <a:lnTo>
                      <a:pt x="4260" y="312"/>
                    </a:lnTo>
                    <a:lnTo>
                      <a:pt x="4263" y="312"/>
                    </a:lnTo>
                    <a:lnTo>
                      <a:pt x="4266" y="312"/>
                    </a:lnTo>
                    <a:lnTo>
                      <a:pt x="4268" y="312"/>
                    </a:lnTo>
                    <a:lnTo>
                      <a:pt x="4272" y="313"/>
                    </a:lnTo>
                    <a:lnTo>
                      <a:pt x="4273" y="309"/>
                    </a:lnTo>
                    <a:lnTo>
                      <a:pt x="4269" y="309"/>
                    </a:lnTo>
                    <a:lnTo>
                      <a:pt x="4267" y="306"/>
                    </a:lnTo>
                    <a:lnTo>
                      <a:pt x="4269" y="307"/>
                    </a:lnTo>
                    <a:lnTo>
                      <a:pt x="4273" y="308"/>
                    </a:lnTo>
                    <a:lnTo>
                      <a:pt x="4275" y="309"/>
                    </a:lnTo>
                    <a:lnTo>
                      <a:pt x="4279" y="309"/>
                    </a:lnTo>
                    <a:lnTo>
                      <a:pt x="4280" y="307"/>
                    </a:lnTo>
                    <a:lnTo>
                      <a:pt x="4280" y="305"/>
                    </a:lnTo>
                    <a:lnTo>
                      <a:pt x="4282" y="301"/>
                    </a:lnTo>
                    <a:lnTo>
                      <a:pt x="4285" y="300"/>
                    </a:lnTo>
                    <a:lnTo>
                      <a:pt x="4286" y="300"/>
                    </a:lnTo>
                    <a:lnTo>
                      <a:pt x="4290" y="301"/>
                    </a:lnTo>
                    <a:lnTo>
                      <a:pt x="4291" y="298"/>
                    </a:lnTo>
                    <a:lnTo>
                      <a:pt x="4288" y="297"/>
                    </a:lnTo>
                    <a:close/>
                    <a:moveTo>
                      <a:pt x="2110" y="1489"/>
                    </a:moveTo>
                    <a:lnTo>
                      <a:pt x="2107" y="1487"/>
                    </a:lnTo>
                    <a:lnTo>
                      <a:pt x="2106" y="1486"/>
                    </a:lnTo>
                    <a:lnTo>
                      <a:pt x="2103" y="1486"/>
                    </a:lnTo>
                    <a:lnTo>
                      <a:pt x="2101" y="1484"/>
                    </a:lnTo>
                    <a:lnTo>
                      <a:pt x="2104" y="1481"/>
                    </a:lnTo>
                    <a:lnTo>
                      <a:pt x="2103" y="1479"/>
                    </a:lnTo>
                    <a:lnTo>
                      <a:pt x="2099" y="1477"/>
                    </a:lnTo>
                    <a:lnTo>
                      <a:pt x="2098" y="1475"/>
                    </a:lnTo>
                    <a:lnTo>
                      <a:pt x="2098" y="1469"/>
                    </a:lnTo>
                    <a:lnTo>
                      <a:pt x="2096" y="1467"/>
                    </a:lnTo>
                    <a:lnTo>
                      <a:pt x="2092" y="1466"/>
                    </a:lnTo>
                    <a:lnTo>
                      <a:pt x="2089" y="1460"/>
                    </a:lnTo>
                    <a:lnTo>
                      <a:pt x="2087" y="1454"/>
                    </a:lnTo>
                    <a:lnTo>
                      <a:pt x="2084" y="1452"/>
                    </a:lnTo>
                    <a:lnTo>
                      <a:pt x="2084" y="1450"/>
                    </a:lnTo>
                    <a:lnTo>
                      <a:pt x="2087" y="1447"/>
                    </a:lnTo>
                    <a:lnTo>
                      <a:pt x="2087" y="1444"/>
                    </a:lnTo>
                    <a:lnTo>
                      <a:pt x="2084" y="1442"/>
                    </a:lnTo>
                    <a:lnTo>
                      <a:pt x="2083" y="1439"/>
                    </a:lnTo>
                    <a:lnTo>
                      <a:pt x="2083" y="1435"/>
                    </a:lnTo>
                    <a:lnTo>
                      <a:pt x="2083" y="1432"/>
                    </a:lnTo>
                    <a:lnTo>
                      <a:pt x="2086" y="1426"/>
                    </a:lnTo>
                    <a:lnTo>
                      <a:pt x="2082" y="1428"/>
                    </a:lnTo>
                    <a:lnTo>
                      <a:pt x="2083" y="1425"/>
                    </a:lnTo>
                    <a:lnTo>
                      <a:pt x="2084" y="1417"/>
                    </a:lnTo>
                    <a:lnTo>
                      <a:pt x="2084" y="1415"/>
                    </a:lnTo>
                    <a:lnTo>
                      <a:pt x="2086" y="1415"/>
                    </a:lnTo>
                    <a:lnTo>
                      <a:pt x="2087" y="1417"/>
                    </a:lnTo>
                    <a:lnTo>
                      <a:pt x="2087" y="1420"/>
                    </a:lnTo>
                    <a:lnTo>
                      <a:pt x="2091" y="1429"/>
                    </a:lnTo>
                    <a:lnTo>
                      <a:pt x="2090" y="1435"/>
                    </a:lnTo>
                    <a:lnTo>
                      <a:pt x="2092" y="1437"/>
                    </a:lnTo>
                    <a:lnTo>
                      <a:pt x="2092" y="1439"/>
                    </a:lnTo>
                    <a:lnTo>
                      <a:pt x="2092" y="1442"/>
                    </a:lnTo>
                    <a:lnTo>
                      <a:pt x="2092" y="1445"/>
                    </a:lnTo>
                    <a:lnTo>
                      <a:pt x="2095" y="1447"/>
                    </a:lnTo>
                    <a:lnTo>
                      <a:pt x="2095" y="1450"/>
                    </a:lnTo>
                    <a:lnTo>
                      <a:pt x="2091" y="1453"/>
                    </a:lnTo>
                    <a:lnTo>
                      <a:pt x="2092" y="1455"/>
                    </a:lnTo>
                    <a:lnTo>
                      <a:pt x="2096" y="1458"/>
                    </a:lnTo>
                    <a:lnTo>
                      <a:pt x="2098" y="1459"/>
                    </a:lnTo>
                    <a:lnTo>
                      <a:pt x="2103" y="1463"/>
                    </a:lnTo>
                    <a:lnTo>
                      <a:pt x="2104" y="1469"/>
                    </a:lnTo>
                    <a:lnTo>
                      <a:pt x="2104" y="1471"/>
                    </a:lnTo>
                    <a:lnTo>
                      <a:pt x="2108" y="1479"/>
                    </a:lnTo>
                    <a:lnTo>
                      <a:pt x="2108" y="1481"/>
                    </a:lnTo>
                    <a:lnTo>
                      <a:pt x="2110" y="1484"/>
                    </a:lnTo>
                    <a:lnTo>
                      <a:pt x="2112" y="1487"/>
                    </a:lnTo>
                    <a:lnTo>
                      <a:pt x="2110" y="1489"/>
                    </a:lnTo>
                    <a:close/>
                    <a:moveTo>
                      <a:pt x="2115" y="1336"/>
                    </a:moveTo>
                    <a:lnTo>
                      <a:pt x="2114" y="1338"/>
                    </a:lnTo>
                    <a:lnTo>
                      <a:pt x="2115" y="1342"/>
                    </a:lnTo>
                    <a:lnTo>
                      <a:pt x="2114" y="1344"/>
                    </a:lnTo>
                    <a:lnTo>
                      <a:pt x="2112" y="1347"/>
                    </a:lnTo>
                    <a:lnTo>
                      <a:pt x="2108" y="1348"/>
                    </a:lnTo>
                    <a:lnTo>
                      <a:pt x="2105" y="1353"/>
                    </a:lnTo>
                    <a:lnTo>
                      <a:pt x="2103" y="1351"/>
                    </a:lnTo>
                    <a:lnTo>
                      <a:pt x="2103" y="1355"/>
                    </a:lnTo>
                    <a:lnTo>
                      <a:pt x="2101" y="1352"/>
                    </a:lnTo>
                    <a:lnTo>
                      <a:pt x="2101" y="1350"/>
                    </a:lnTo>
                    <a:lnTo>
                      <a:pt x="2104" y="1347"/>
                    </a:lnTo>
                    <a:lnTo>
                      <a:pt x="2112" y="1340"/>
                    </a:lnTo>
                    <a:lnTo>
                      <a:pt x="2113" y="1339"/>
                    </a:lnTo>
                    <a:lnTo>
                      <a:pt x="2114" y="1338"/>
                    </a:lnTo>
                    <a:lnTo>
                      <a:pt x="2115" y="1335"/>
                    </a:lnTo>
                    <a:lnTo>
                      <a:pt x="2115" y="1336"/>
                    </a:lnTo>
                    <a:close/>
                    <a:moveTo>
                      <a:pt x="2150" y="1501"/>
                    </a:moveTo>
                    <a:lnTo>
                      <a:pt x="2152" y="1501"/>
                    </a:lnTo>
                    <a:lnTo>
                      <a:pt x="2155" y="1502"/>
                    </a:lnTo>
                    <a:lnTo>
                      <a:pt x="2157" y="1505"/>
                    </a:lnTo>
                    <a:lnTo>
                      <a:pt x="2157" y="1506"/>
                    </a:lnTo>
                    <a:lnTo>
                      <a:pt x="2158" y="1506"/>
                    </a:lnTo>
                    <a:lnTo>
                      <a:pt x="2158" y="1507"/>
                    </a:lnTo>
                    <a:lnTo>
                      <a:pt x="2158" y="1507"/>
                    </a:lnTo>
                    <a:lnTo>
                      <a:pt x="2158" y="1513"/>
                    </a:lnTo>
                    <a:lnTo>
                      <a:pt x="2159" y="1514"/>
                    </a:lnTo>
                    <a:lnTo>
                      <a:pt x="2159" y="1516"/>
                    </a:lnTo>
                    <a:lnTo>
                      <a:pt x="2158" y="1520"/>
                    </a:lnTo>
                    <a:lnTo>
                      <a:pt x="2159" y="1522"/>
                    </a:lnTo>
                    <a:lnTo>
                      <a:pt x="2163" y="1526"/>
                    </a:lnTo>
                    <a:lnTo>
                      <a:pt x="2164" y="1528"/>
                    </a:lnTo>
                    <a:lnTo>
                      <a:pt x="2164" y="1530"/>
                    </a:lnTo>
                    <a:lnTo>
                      <a:pt x="2163" y="1532"/>
                    </a:lnTo>
                    <a:lnTo>
                      <a:pt x="2160" y="1536"/>
                    </a:lnTo>
                    <a:lnTo>
                      <a:pt x="2160" y="1538"/>
                    </a:lnTo>
                    <a:lnTo>
                      <a:pt x="2160" y="1541"/>
                    </a:lnTo>
                    <a:lnTo>
                      <a:pt x="2161" y="1544"/>
                    </a:lnTo>
                    <a:lnTo>
                      <a:pt x="2160" y="1546"/>
                    </a:lnTo>
                    <a:lnTo>
                      <a:pt x="2161" y="1549"/>
                    </a:lnTo>
                    <a:lnTo>
                      <a:pt x="2161" y="1552"/>
                    </a:lnTo>
                    <a:lnTo>
                      <a:pt x="2163" y="1555"/>
                    </a:lnTo>
                    <a:lnTo>
                      <a:pt x="2164" y="1557"/>
                    </a:lnTo>
                    <a:lnTo>
                      <a:pt x="2165" y="1560"/>
                    </a:lnTo>
                    <a:lnTo>
                      <a:pt x="2167" y="1564"/>
                    </a:lnTo>
                    <a:lnTo>
                      <a:pt x="2167" y="1567"/>
                    </a:lnTo>
                    <a:lnTo>
                      <a:pt x="2164" y="1564"/>
                    </a:lnTo>
                    <a:lnTo>
                      <a:pt x="2163" y="1563"/>
                    </a:lnTo>
                    <a:lnTo>
                      <a:pt x="2160" y="1565"/>
                    </a:lnTo>
                    <a:lnTo>
                      <a:pt x="2159" y="1565"/>
                    </a:lnTo>
                    <a:lnTo>
                      <a:pt x="2158" y="1563"/>
                    </a:lnTo>
                    <a:lnTo>
                      <a:pt x="2158" y="1557"/>
                    </a:lnTo>
                    <a:lnTo>
                      <a:pt x="2156" y="1555"/>
                    </a:lnTo>
                    <a:lnTo>
                      <a:pt x="2155" y="1553"/>
                    </a:lnTo>
                    <a:lnTo>
                      <a:pt x="2155" y="1549"/>
                    </a:lnTo>
                    <a:lnTo>
                      <a:pt x="2154" y="1544"/>
                    </a:lnTo>
                    <a:lnTo>
                      <a:pt x="2154" y="1543"/>
                    </a:lnTo>
                    <a:lnTo>
                      <a:pt x="2152" y="1540"/>
                    </a:lnTo>
                    <a:lnTo>
                      <a:pt x="2150" y="1537"/>
                    </a:lnTo>
                    <a:lnTo>
                      <a:pt x="2151" y="1533"/>
                    </a:lnTo>
                    <a:lnTo>
                      <a:pt x="2155" y="1528"/>
                    </a:lnTo>
                    <a:lnTo>
                      <a:pt x="2154" y="1522"/>
                    </a:lnTo>
                    <a:lnTo>
                      <a:pt x="2154" y="1516"/>
                    </a:lnTo>
                    <a:lnTo>
                      <a:pt x="2152" y="1514"/>
                    </a:lnTo>
                    <a:lnTo>
                      <a:pt x="2154" y="1511"/>
                    </a:lnTo>
                    <a:lnTo>
                      <a:pt x="2151" y="1509"/>
                    </a:lnTo>
                    <a:lnTo>
                      <a:pt x="2150" y="1506"/>
                    </a:lnTo>
                    <a:lnTo>
                      <a:pt x="2149" y="1502"/>
                    </a:lnTo>
                    <a:lnTo>
                      <a:pt x="2150" y="1501"/>
                    </a:lnTo>
                    <a:close/>
                    <a:moveTo>
                      <a:pt x="2434" y="776"/>
                    </a:moveTo>
                    <a:lnTo>
                      <a:pt x="2434" y="776"/>
                    </a:lnTo>
                    <a:lnTo>
                      <a:pt x="2434" y="777"/>
                    </a:lnTo>
                    <a:lnTo>
                      <a:pt x="2434" y="777"/>
                    </a:lnTo>
                    <a:lnTo>
                      <a:pt x="2434" y="777"/>
                    </a:lnTo>
                    <a:lnTo>
                      <a:pt x="2433" y="777"/>
                    </a:lnTo>
                    <a:lnTo>
                      <a:pt x="2433" y="777"/>
                    </a:lnTo>
                    <a:lnTo>
                      <a:pt x="2433" y="777"/>
                    </a:lnTo>
                    <a:lnTo>
                      <a:pt x="2433" y="778"/>
                    </a:lnTo>
                    <a:lnTo>
                      <a:pt x="2432" y="778"/>
                    </a:lnTo>
                    <a:lnTo>
                      <a:pt x="2432" y="778"/>
                    </a:lnTo>
                    <a:lnTo>
                      <a:pt x="2431" y="778"/>
                    </a:lnTo>
                    <a:lnTo>
                      <a:pt x="2431" y="778"/>
                    </a:lnTo>
                    <a:lnTo>
                      <a:pt x="2431" y="778"/>
                    </a:lnTo>
                    <a:lnTo>
                      <a:pt x="2431" y="778"/>
                    </a:lnTo>
                    <a:lnTo>
                      <a:pt x="2431" y="778"/>
                    </a:lnTo>
                    <a:lnTo>
                      <a:pt x="2431" y="777"/>
                    </a:lnTo>
                    <a:lnTo>
                      <a:pt x="2431" y="777"/>
                    </a:lnTo>
                    <a:lnTo>
                      <a:pt x="2431" y="777"/>
                    </a:lnTo>
                    <a:lnTo>
                      <a:pt x="2431" y="777"/>
                    </a:lnTo>
                    <a:lnTo>
                      <a:pt x="2431" y="777"/>
                    </a:lnTo>
                    <a:lnTo>
                      <a:pt x="2430" y="777"/>
                    </a:lnTo>
                    <a:lnTo>
                      <a:pt x="2430" y="777"/>
                    </a:lnTo>
                    <a:lnTo>
                      <a:pt x="2430" y="777"/>
                    </a:lnTo>
                    <a:lnTo>
                      <a:pt x="2430" y="777"/>
                    </a:lnTo>
                    <a:lnTo>
                      <a:pt x="2430" y="776"/>
                    </a:lnTo>
                    <a:lnTo>
                      <a:pt x="2429" y="776"/>
                    </a:lnTo>
                    <a:lnTo>
                      <a:pt x="2429" y="776"/>
                    </a:lnTo>
                    <a:lnTo>
                      <a:pt x="2429" y="776"/>
                    </a:lnTo>
                    <a:lnTo>
                      <a:pt x="2429" y="776"/>
                    </a:lnTo>
                    <a:lnTo>
                      <a:pt x="2429" y="776"/>
                    </a:lnTo>
                    <a:lnTo>
                      <a:pt x="2429" y="777"/>
                    </a:lnTo>
                    <a:lnTo>
                      <a:pt x="2428" y="777"/>
                    </a:lnTo>
                    <a:lnTo>
                      <a:pt x="2428" y="777"/>
                    </a:lnTo>
                    <a:lnTo>
                      <a:pt x="2429" y="777"/>
                    </a:lnTo>
                    <a:lnTo>
                      <a:pt x="2429" y="778"/>
                    </a:lnTo>
                    <a:lnTo>
                      <a:pt x="2429" y="778"/>
                    </a:lnTo>
                    <a:lnTo>
                      <a:pt x="2429" y="778"/>
                    </a:lnTo>
                    <a:lnTo>
                      <a:pt x="2429" y="778"/>
                    </a:lnTo>
                    <a:lnTo>
                      <a:pt x="2429" y="779"/>
                    </a:lnTo>
                    <a:lnTo>
                      <a:pt x="2430" y="779"/>
                    </a:lnTo>
                    <a:lnTo>
                      <a:pt x="2430" y="779"/>
                    </a:lnTo>
                    <a:lnTo>
                      <a:pt x="2430" y="779"/>
                    </a:lnTo>
                    <a:lnTo>
                      <a:pt x="2430" y="780"/>
                    </a:lnTo>
                    <a:lnTo>
                      <a:pt x="2430" y="780"/>
                    </a:lnTo>
                    <a:lnTo>
                      <a:pt x="2430" y="780"/>
                    </a:lnTo>
                    <a:lnTo>
                      <a:pt x="2428" y="780"/>
                    </a:lnTo>
                    <a:lnTo>
                      <a:pt x="2428" y="780"/>
                    </a:lnTo>
                    <a:lnTo>
                      <a:pt x="2428" y="780"/>
                    </a:lnTo>
                    <a:lnTo>
                      <a:pt x="2428" y="779"/>
                    </a:lnTo>
                    <a:lnTo>
                      <a:pt x="2428" y="779"/>
                    </a:lnTo>
                    <a:lnTo>
                      <a:pt x="2428" y="779"/>
                    </a:lnTo>
                    <a:lnTo>
                      <a:pt x="2428" y="779"/>
                    </a:lnTo>
                    <a:lnTo>
                      <a:pt x="2427" y="779"/>
                    </a:lnTo>
                    <a:lnTo>
                      <a:pt x="2425" y="779"/>
                    </a:lnTo>
                    <a:lnTo>
                      <a:pt x="2425" y="779"/>
                    </a:lnTo>
                    <a:lnTo>
                      <a:pt x="2425" y="779"/>
                    </a:lnTo>
                    <a:lnTo>
                      <a:pt x="2425" y="780"/>
                    </a:lnTo>
                    <a:lnTo>
                      <a:pt x="2425" y="780"/>
                    </a:lnTo>
                    <a:lnTo>
                      <a:pt x="2425" y="780"/>
                    </a:lnTo>
                    <a:lnTo>
                      <a:pt x="2424" y="780"/>
                    </a:lnTo>
                    <a:lnTo>
                      <a:pt x="2424" y="780"/>
                    </a:lnTo>
                    <a:lnTo>
                      <a:pt x="2423" y="780"/>
                    </a:lnTo>
                    <a:lnTo>
                      <a:pt x="2423" y="780"/>
                    </a:lnTo>
                    <a:lnTo>
                      <a:pt x="2423" y="780"/>
                    </a:lnTo>
                    <a:lnTo>
                      <a:pt x="2423" y="780"/>
                    </a:lnTo>
                    <a:lnTo>
                      <a:pt x="2423" y="780"/>
                    </a:lnTo>
                    <a:lnTo>
                      <a:pt x="2423" y="782"/>
                    </a:lnTo>
                    <a:lnTo>
                      <a:pt x="2422" y="782"/>
                    </a:lnTo>
                    <a:lnTo>
                      <a:pt x="2422" y="780"/>
                    </a:lnTo>
                    <a:lnTo>
                      <a:pt x="2421" y="780"/>
                    </a:lnTo>
                    <a:lnTo>
                      <a:pt x="2421" y="782"/>
                    </a:lnTo>
                    <a:lnTo>
                      <a:pt x="2421" y="782"/>
                    </a:lnTo>
                    <a:lnTo>
                      <a:pt x="2421" y="780"/>
                    </a:lnTo>
                    <a:lnTo>
                      <a:pt x="2421" y="780"/>
                    </a:lnTo>
                    <a:lnTo>
                      <a:pt x="2421" y="780"/>
                    </a:lnTo>
                    <a:lnTo>
                      <a:pt x="2421" y="779"/>
                    </a:lnTo>
                    <a:lnTo>
                      <a:pt x="2420" y="779"/>
                    </a:lnTo>
                    <a:lnTo>
                      <a:pt x="2420" y="779"/>
                    </a:lnTo>
                    <a:lnTo>
                      <a:pt x="2420" y="779"/>
                    </a:lnTo>
                    <a:lnTo>
                      <a:pt x="2420" y="778"/>
                    </a:lnTo>
                    <a:lnTo>
                      <a:pt x="2420" y="778"/>
                    </a:lnTo>
                    <a:lnTo>
                      <a:pt x="2420" y="778"/>
                    </a:lnTo>
                    <a:lnTo>
                      <a:pt x="2420" y="778"/>
                    </a:lnTo>
                    <a:lnTo>
                      <a:pt x="2420" y="778"/>
                    </a:lnTo>
                    <a:lnTo>
                      <a:pt x="2420" y="778"/>
                    </a:lnTo>
                    <a:lnTo>
                      <a:pt x="2420" y="777"/>
                    </a:lnTo>
                    <a:lnTo>
                      <a:pt x="2420" y="777"/>
                    </a:lnTo>
                    <a:lnTo>
                      <a:pt x="2420" y="777"/>
                    </a:lnTo>
                    <a:lnTo>
                      <a:pt x="2419" y="777"/>
                    </a:lnTo>
                    <a:lnTo>
                      <a:pt x="2419" y="777"/>
                    </a:lnTo>
                    <a:lnTo>
                      <a:pt x="2419" y="777"/>
                    </a:lnTo>
                    <a:lnTo>
                      <a:pt x="2419" y="777"/>
                    </a:lnTo>
                    <a:lnTo>
                      <a:pt x="2419" y="778"/>
                    </a:lnTo>
                    <a:lnTo>
                      <a:pt x="2419" y="778"/>
                    </a:lnTo>
                    <a:lnTo>
                      <a:pt x="2419" y="778"/>
                    </a:lnTo>
                    <a:lnTo>
                      <a:pt x="2419" y="778"/>
                    </a:lnTo>
                    <a:lnTo>
                      <a:pt x="2419" y="779"/>
                    </a:lnTo>
                    <a:lnTo>
                      <a:pt x="2417" y="779"/>
                    </a:lnTo>
                    <a:lnTo>
                      <a:pt x="2417" y="779"/>
                    </a:lnTo>
                    <a:lnTo>
                      <a:pt x="2417" y="779"/>
                    </a:lnTo>
                    <a:lnTo>
                      <a:pt x="2416" y="779"/>
                    </a:lnTo>
                    <a:lnTo>
                      <a:pt x="2416" y="779"/>
                    </a:lnTo>
                    <a:lnTo>
                      <a:pt x="2416" y="778"/>
                    </a:lnTo>
                    <a:lnTo>
                      <a:pt x="2416" y="778"/>
                    </a:lnTo>
                    <a:lnTo>
                      <a:pt x="2416" y="778"/>
                    </a:lnTo>
                    <a:lnTo>
                      <a:pt x="2415" y="778"/>
                    </a:lnTo>
                    <a:lnTo>
                      <a:pt x="2415" y="778"/>
                    </a:lnTo>
                    <a:lnTo>
                      <a:pt x="2415" y="778"/>
                    </a:lnTo>
                    <a:lnTo>
                      <a:pt x="2415" y="778"/>
                    </a:lnTo>
                    <a:lnTo>
                      <a:pt x="2414" y="778"/>
                    </a:lnTo>
                    <a:lnTo>
                      <a:pt x="2414" y="778"/>
                    </a:lnTo>
                    <a:lnTo>
                      <a:pt x="2414" y="778"/>
                    </a:lnTo>
                    <a:lnTo>
                      <a:pt x="2414" y="778"/>
                    </a:lnTo>
                    <a:lnTo>
                      <a:pt x="2414" y="778"/>
                    </a:lnTo>
                    <a:lnTo>
                      <a:pt x="2414" y="778"/>
                    </a:lnTo>
                    <a:lnTo>
                      <a:pt x="2414" y="778"/>
                    </a:lnTo>
                    <a:lnTo>
                      <a:pt x="2413" y="778"/>
                    </a:lnTo>
                    <a:lnTo>
                      <a:pt x="2412" y="778"/>
                    </a:lnTo>
                    <a:lnTo>
                      <a:pt x="2412" y="778"/>
                    </a:lnTo>
                    <a:lnTo>
                      <a:pt x="2412" y="778"/>
                    </a:lnTo>
                    <a:lnTo>
                      <a:pt x="2412" y="778"/>
                    </a:lnTo>
                    <a:lnTo>
                      <a:pt x="2412" y="777"/>
                    </a:lnTo>
                    <a:lnTo>
                      <a:pt x="2412" y="777"/>
                    </a:lnTo>
                    <a:lnTo>
                      <a:pt x="2412" y="777"/>
                    </a:lnTo>
                    <a:lnTo>
                      <a:pt x="2412" y="777"/>
                    </a:lnTo>
                    <a:lnTo>
                      <a:pt x="2412" y="777"/>
                    </a:lnTo>
                    <a:lnTo>
                      <a:pt x="2412" y="777"/>
                    </a:lnTo>
                    <a:lnTo>
                      <a:pt x="2412" y="777"/>
                    </a:lnTo>
                    <a:lnTo>
                      <a:pt x="2411" y="777"/>
                    </a:lnTo>
                    <a:lnTo>
                      <a:pt x="2411" y="776"/>
                    </a:lnTo>
                    <a:lnTo>
                      <a:pt x="2411" y="776"/>
                    </a:lnTo>
                    <a:lnTo>
                      <a:pt x="2411" y="776"/>
                    </a:lnTo>
                    <a:lnTo>
                      <a:pt x="2411" y="775"/>
                    </a:lnTo>
                    <a:lnTo>
                      <a:pt x="2411" y="775"/>
                    </a:lnTo>
                    <a:lnTo>
                      <a:pt x="2411" y="775"/>
                    </a:lnTo>
                    <a:lnTo>
                      <a:pt x="2411" y="775"/>
                    </a:lnTo>
                    <a:lnTo>
                      <a:pt x="2410" y="774"/>
                    </a:lnTo>
                    <a:lnTo>
                      <a:pt x="2410" y="775"/>
                    </a:lnTo>
                    <a:lnTo>
                      <a:pt x="2410" y="775"/>
                    </a:lnTo>
                    <a:lnTo>
                      <a:pt x="2410" y="776"/>
                    </a:lnTo>
                    <a:lnTo>
                      <a:pt x="2410" y="776"/>
                    </a:lnTo>
                    <a:lnTo>
                      <a:pt x="2410" y="777"/>
                    </a:lnTo>
                    <a:lnTo>
                      <a:pt x="2410" y="777"/>
                    </a:lnTo>
                    <a:lnTo>
                      <a:pt x="2410" y="777"/>
                    </a:lnTo>
                    <a:lnTo>
                      <a:pt x="2410" y="778"/>
                    </a:lnTo>
                    <a:lnTo>
                      <a:pt x="2410" y="779"/>
                    </a:lnTo>
                    <a:lnTo>
                      <a:pt x="2408" y="779"/>
                    </a:lnTo>
                    <a:lnTo>
                      <a:pt x="2408" y="779"/>
                    </a:lnTo>
                    <a:lnTo>
                      <a:pt x="2410" y="779"/>
                    </a:lnTo>
                    <a:lnTo>
                      <a:pt x="2410" y="780"/>
                    </a:lnTo>
                    <a:lnTo>
                      <a:pt x="2408" y="780"/>
                    </a:lnTo>
                    <a:lnTo>
                      <a:pt x="2408" y="780"/>
                    </a:lnTo>
                    <a:lnTo>
                      <a:pt x="2408" y="782"/>
                    </a:lnTo>
                    <a:lnTo>
                      <a:pt x="2408" y="782"/>
                    </a:lnTo>
                    <a:lnTo>
                      <a:pt x="2408" y="782"/>
                    </a:lnTo>
                    <a:lnTo>
                      <a:pt x="2407" y="782"/>
                    </a:lnTo>
                    <a:lnTo>
                      <a:pt x="2407" y="783"/>
                    </a:lnTo>
                    <a:lnTo>
                      <a:pt x="2407" y="783"/>
                    </a:lnTo>
                    <a:lnTo>
                      <a:pt x="2407" y="783"/>
                    </a:lnTo>
                    <a:lnTo>
                      <a:pt x="2407" y="784"/>
                    </a:lnTo>
                    <a:lnTo>
                      <a:pt x="2407" y="784"/>
                    </a:lnTo>
                    <a:lnTo>
                      <a:pt x="2407" y="785"/>
                    </a:lnTo>
                    <a:lnTo>
                      <a:pt x="2407" y="785"/>
                    </a:lnTo>
                    <a:lnTo>
                      <a:pt x="2407" y="785"/>
                    </a:lnTo>
                    <a:lnTo>
                      <a:pt x="2407" y="786"/>
                    </a:lnTo>
                    <a:lnTo>
                      <a:pt x="2406" y="786"/>
                    </a:lnTo>
                    <a:lnTo>
                      <a:pt x="2406" y="786"/>
                    </a:lnTo>
                    <a:lnTo>
                      <a:pt x="2407" y="786"/>
                    </a:lnTo>
                    <a:lnTo>
                      <a:pt x="2407" y="787"/>
                    </a:lnTo>
                    <a:lnTo>
                      <a:pt x="2407" y="787"/>
                    </a:lnTo>
                    <a:lnTo>
                      <a:pt x="2407" y="787"/>
                    </a:lnTo>
                    <a:lnTo>
                      <a:pt x="2407" y="787"/>
                    </a:lnTo>
                    <a:lnTo>
                      <a:pt x="2407" y="788"/>
                    </a:lnTo>
                    <a:lnTo>
                      <a:pt x="2407" y="788"/>
                    </a:lnTo>
                    <a:lnTo>
                      <a:pt x="2407" y="788"/>
                    </a:lnTo>
                    <a:lnTo>
                      <a:pt x="2407" y="789"/>
                    </a:lnTo>
                    <a:lnTo>
                      <a:pt x="2407" y="789"/>
                    </a:lnTo>
                    <a:lnTo>
                      <a:pt x="2407" y="789"/>
                    </a:lnTo>
                    <a:lnTo>
                      <a:pt x="2407" y="791"/>
                    </a:lnTo>
                    <a:lnTo>
                      <a:pt x="2407" y="791"/>
                    </a:lnTo>
                    <a:lnTo>
                      <a:pt x="2408" y="791"/>
                    </a:lnTo>
                    <a:lnTo>
                      <a:pt x="2408" y="792"/>
                    </a:lnTo>
                    <a:lnTo>
                      <a:pt x="2408" y="792"/>
                    </a:lnTo>
                    <a:lnTo>
                      <a:pt x="2408" y="792"/>
                    </a:lnTo>
                    <a:lnTo>
                      <a:pt x="2410" y="792"/>
                    </a:lnTo>
                    <a:lnTo>
                      <a:pt x="2410" y="792"/>
                    </a:lnTo>
                    <a:lnTo>
                      <a:pt x="2410" y="792"/>
                    </a:lnTo>
                    <a:lnTo>
                      <a:pt x="2410" y="793"/>
                    </a:lnTo>
                    <a:lnTo>
                      <a:pt x="2410" y="793"/>
                    </a:lnTo>
                    <a:lnTo>
                      <a:pt x="2410" y="793"/>
                    </a:lnTo>
                    <a:lnTo>
                      <a:pt x="2410" y="793"/>
                    </a:lnTo>
                    <a:lnTo>
                      <a:pt x="2410" y="793"/>
                    </a:lnTo>
                    <a:lnTo>
                      <a:pt x="2410" y="792"/>
                    </a:lnTo>
                    <a:lnTo>
                      <a:pt x="2410" y="792"/>
                    </a:lnTo>
                    <a:lnTo>
                      <a:pt x="2410" y="792"/>
                    </a:lnTo>
                    <a:lnTo>
                      <a:pt x="2410" y="791"/>
                    </a:lnTo>
                    <a:lnTo>
                      <a:pt x="2410" y="791"/>
                    </a:lnTo>
                    <a:lnTo>
                      <a:pt x="2410" y="791"/>
                    </a:lnTo>
                    <a:lnTo>
                      <a:pt x="2410" y="791"/>
                    </a:lnTo>
                    <a:lnTo>
                      <a:pt x="2410" y="791"/>
                    </a:lnTo>
                    <a:lnTo>
                      <a:pt x="2410" y="791"/>
                    </a:lnTo>
                    <a:lnTo>
                      <a:pt x="2410" y="791"/>
                    </a:lnTo>
                    <a:lnTo>
                      <a:pt x="2410" y="791"/>
                    </a:lnTo>
                    <a:lnTo>
                      <a:pt x="2410" y="792"/>
                    </a:lnTo>
                    <a:lnTo>
                      <a:pt x="2410" y="791"/>
                    </a:lnTo>
                    <a:lnTo>
                      <a:pt x="2411" y="792"/>
                    </a:lnTo>
                    <a:lnTo>
                      <a:pt x="2411" y="792"/>
                    </a:lnTo>
                    <a:lnTo>
                      <a:pt x="2411" y="791"/>
                    </a:lnTo>
                    <a:lnTo>
                      <a:pt x="2411" y="791"/>
                    </a:lnTo>
                    <a:lnTo>
                      <a:pt x="2411" y="792"/>
                    </a:lnTo>
                    <a:lnTo>
                      <a:pt x="2411" y="791"/>
                    </a:lnTo>
                    <a:lnTo>
                      <a:pt x="2412" y="791"/>
                    </a:lnTo>
                    <a:lnTo>
                      <a:pt x="2412" y="792"/>
                    </a:lnTo>
                    <a:lnTo>
                      <a:pt x="2412" y="792"/>
                    </a:lnTo>
                    <a:lnTo>
                      <a:pt x="2412" y="792"/>
                    </a:lnTo>
                    <a:lnTo>
                      <a:pt x="2412" y="792"/>
                    </a:lnTo>
                    <a:lnTo>
                      <a:pt x="2413" y="792"/>
                    </a:lnTo>
                    <a:lnTo>
                      <a:pt x="2413" y="791"/>
                    </a:lnTo>
                    <a:lnTo>
                      <a:pt x="2414" y="791"/>
                    </a:lnTo>
                    <a:lnTo>
                      <a:pt x="2414" y="792"/>
                    </a:lnTo>
                    <a:lnTo>
                      <a:pt x="2414" y="792"/>
                    </a:lnTo>
                    <a:lnTo>
                      <a:pt x="2414" y="792"/>
                    </a:lnTo>
                    <a:lnTo>
                      <a:pt x="2414" y="792"/>
                    </a:lnTo>
                    <a:lnTo>
                      <a:pt x="2415" y="792"/>
                    </a:lnTo>
                    <a:lnTo>
                      <a:pt x="2415" y="792"/>
                    </a:lnTo>
                    <a:lnTo>
                      <a:pt x="2415" y="792"/>
                    </a:lnTo>
                    <a:lnTo>
                      <a:pt x="2416" y="792"/>
                    </a:lnTo>
                    <a:lnTo>
                      <a:pt x="2416" y="792"/>
                    </a:lnTo>
                    <a:lnTo>
                      <a:pt x="2416" y="792"/>
                    </a:lnTo>
                    <a:lnTo>
                      <a:pt x="2416" y="792"/>
                    </a:lnTo>
                    <a:lnTo>
                      <a:pt x="2416" y="792"/>
                    </a:lnTo>
                    <a:lnTo>
                      <a:pt x="2416" y="792"/>
                    </a:lnTo>
                    <a:lnTo>
                      <a:pt x="2417" y="792"/>
                    </a:lnTo>
                    <a:lnTo>
                      <a:pt x="2417" y="792"/>
                    </a:lnTo>
                    <a:lnTo>
                      <a:pt x="2416" y="792"/>
                    </a:lnTo>
                    <a:lnTo>
                      <a:pt x="2416" y="792"/>
                    </a:lnTo>
                    <a:lnTo>
                      <a:pt x="2417" y="792"/>
                    </a:lnTo>
                    <a:lnTo>
                      <a:pt x="2417" y="792"/>
                    </a:lnTo>
                    <a:lnTo>
                      <a:pt x="2417" y="793"/>
                    </a:lnTo>
                    <a:lnTo>
                      <a:pt x="2417" y="793"/>
                    </a:lnTo>
                    <a:lnTo>
                      <a:pt x="2417" y="793"/>
                    </a:lnTo>
                    <a:lnTo>
                      <a:pt x="2417" y="794"/>
                    </a:lnTo>
                    <a:lnTo>
                      <a:pt x="2417" y="794"/>
                    </a:lnTo>
                    <a:lnTo>
                      <a:pt x="2416" y="794"/>
                    </a:lnTo>
                    <a:lnTo>
                      <a:pt x="2416" y="794"/>
                    </a:lnTo>
                    <a:lnTo>
                      <a:pt x="2416" y="794"/>
                    </a:lnTo>
                    <a:lnTo>
                      <a:pt x="2416" y="794"/>
                    </a:lnTo>
                    <a:lnTo>
                      <a:pt x="2416" y="795"/>
                    </a:lnTo>
                    <a:lnTo>
                      <a:pt x="2416" y="795"/>
                    </a:lnTo>
                    <a:lnTo>
                      <a:pt x="2416" y="795"/>
                    </a:lnTo>
                    <a:lnTo>
                      <a:pt x="2416" y="795"/>
                    </a:lnTo>
                    <a:lnTo>
                      <a:pt x="2416" y="796"/>
                    </a:lnTo>
                    <a:lnTo>
                      <a:pt x="2417" y="796"/>
                    </a:lnTo>
                    <a:lnTo>
                      <a:pt x="2417" y="796"/>
                    </a:lnTo>
                    <a:lnTo>
                      <a:pt x="2417" y="796"/>
                    </a:lnTo>
                    <a:lnTo>
                      <a:pt x="2417" y="796"/>
                    </a:lnTo>
                    <a:lnTo>
                      <a:pt x="2419" y="796"/>
                    </a:lnTo>
                    <a:lnTo>
                      <a:pt x="2419" y="796"/>
                    </a:lnTo>
                    <a:lnTo>
                      <a:pt x="2419" y="796"/>
                    </a:lnTo>
                    <a:lnTo>
                      <a:pt x="2419" y="796"/>
                    </a:lnTo>
                    <a:lnTo>
                      <a:pt x="2419" y="796"/>
                    </a:lnTo>
                    <a:lnTo>
                      <a:pt x="2419" y="797"/>
                    </a:lnTo>
                    <a:lnTo>
                      <a:pt x="2419" y="796"/>
                    </a:lnTo>
                    <a:lnTo>
                      <a:pt x="2419" y="797"/>
                    </a:lnTo>
                    <a:lnTo>
                      <a:pt x="2420" y="797"/>
                    </a:lnTo>
                    <a:lnTo>
                      <a:pt x="2420" y="797"/>
                    </a:lnTo>
                    <a:lnTo>
                      <a:pt x="2420" y="797"/>
                    </a:lnTo>
                    <a:lnTo>
                      <a:pt x="2420" y="797"/>
                    </a:lnTo>
                    <a:lnTo>
                      <a:pt x="2421" y="797"/>
                    </a:lnTo>
                    <a:lnTo>
                      <a:pt x="2421" y="799"/>
                    </a:lnTo>
                    <a:lnTo>
                      <a:pt x="2420" y="799"/>
                    </a:lnTo>
                    <a:lnTo>
                      <a:pt x="2420" y="797"/>
                    </a:lnTo>
                    <a:lnTo>
                      <a:pt x="2420" y="799"/>
                    </a:lnTo>
                    <a:lnTo>
                      <a:pt x="2420" y="799"/>
                    </a:lnTo>
                    <a:lnTo>
                      <a:pt x="2420" y="799"/>
                    </a:lnTo>
                    <a:lnTo>
                      <a:pt x="2420" y="799"/>
                    </a:lnTo>
                    <a:lnTo>
                      <a:pt x="2420" y="799"/>
                    </a:lnTo>
                    <a:lnTo>
                      <a:pt x="2420" y="799"/>
                    </a:lnTo>
                    <a:lnTo>
                      <a:pt x="2420" y="799"/>
                    </a:lnTo>
                    <a:lnTo>
                      <a:pt x="2419" y="799"/>
                    </a:lnTo>
                    <a:lnTo>
                      <a:pt x="2419" y="799"/>
                    </a:lnTo>
                    <a:lnTo>
                      <a:pt x="2419" y="799"/>
                    </a:lnTo>
                    <a:lnTo>
                      <a:pt x="2419" y="799"/>
                    </a:lnTo>
                    <a:lnTo>
                      <a:pt x="2419" y="799"/>
                    </a:lnTo>
                    <a:lnTo>
                      <a:pt x="2419" y="800"/>
                    </a:lnTo>
                    <a:lnTo>
                      <a:pt x="2417" y="799"/>
                    </a:lnTo>
                    <a:lnTo>
                      <a:pt x="2419" y="799"/>
                    </a:lnTo>
                    <a:lnTo>
                      <a:pt x="2419" y="799"/>
                    </a:lnTo>
                    <a:lnTo>
                      <a:pt x="2419" y="799"/>
                    </a:lnTo>
                    <a:lnTo>
                      <a:pt x="2419" y="797"/>
                    </a:lnTo>
                    <a:lnTo>
                      <a:pt x="2419" y="797"/>
                    </a:lnTo>
                    <a:lnTo>
                      <a:pt x="2419" y="797"/>
                    </a:lnTo>
                    <a:lnTo>
                      <a:pt x="2417" y="797"/>
                    </a:lnTo>
                    <a:lnTo>
                      <a:pt x="2417" y="797"/>
                    </a:lnTo>
                    <a:lnTo>
                      <a:pt x="2417" y="797"/>
                    </a:lnTo>
                    <a:lnTo>
                      <a:pt x="2417" y="797"/>
                    </a:lnTo>
                    <a:lnTo>
                      <a:pt x="2417" y="797"/>
                    </a:lnTo>
                    <a:lnTo>
                      <a:pt x="2417" y="797"/>
                    </a:lnTo>
                    <a:lnTo>
                      <a:pt x="2417" y="797"/>
                    </a:lnTo>
                    <a:lnTo>
                      <a:pt x="2417" y="799"/>
                    </a:lnTo>
                    <a:lnTo>
                      <a:pt x="2417" y="797"/>
                    </a:lnTo>
                    <a:lnTo>
                      <a:pt x="2417" y="797"/>
                    </a:lnTo>
                    <a:lnTo>
                      <a:pt x="2416" y="799"/>
                    </a:lnTo>
                    <a:lnTo>
                      <a:pt x="2415" y="799"/>
                    </a:lnTo>
                    <a:lnTo>
                      <a:pt x="2415" y="799"/>
                    </a:lnTo>
                    <a:lnTo>
                      <a:pt x="2414" y="799"/>
                    </a:lnTo>
                    <a:lnTo>
                      <a:pt x="2414" y="797"/>
                    </a:lnTo>
                    <a:lnTo>
                      <a:pt x="2414" y="797"/>
                    </a:lnTo>
                    <a:lnTo>
                      <a:pt x="2414" y="797"/>
                    </a:lnTo>
                    <a:lnTo>
                      <a:pt x="2415" y="797"/>
                    </a:lnTo>
                    <a:lnTo>
                      <a:pt x="2415" y="796"/>
                    </a:lnTo>
                    <a:lnTo>
                      <a:pt x="2415" y="796"/>
                    </a:lnTo>
                    <a:lnTo>
                      <a:pt x="2415" y="796"/>
                    </a:lnTo>
                    <a:lnTo>
                      <a:pt x="2415" y="796"/>
                    </a:lnTo>
                    <a:lnTo>
                      <a:pt x="2414" y="796"/>
                    </a:lnTo>
                    <a:lnTo>
                      <a:pt x="2414" y="796"/>
                    </a:lnTo>
                    <a:lnTo>
                      <a:pt x="2414" y="797"/>
                    </a:lnTo>
                    <a:lnTo>
                      <a:pt x="2414" y="797"/>
                    </a:lnTo>
                    <a:lnTo>
                      <a:pt x="2414" y="797"/>
                    </a:lnTo>
                    <a:lnTo>
                      <a:pt x="2414" y="797"/>
                    </a:lnTo>
                    <a:lnTo>
                      <a:pt x="2414" y="799"/>
                    </a:lnTo>
                    <a:lnTo>
                      <a:pt x="2413" y="799"/>
                    </a:lnTo>
                    <a:lnTo>
                      <a:pt x="2413" y="799"/>
                    </a:lnTo>
                    <a:lnTo>
                      <a:pt x="2413" y="799"/>
                    </a:lnTo>
                    <a:lnTo>
                      <a:pt x="2413" y="800"/>
                    </a:lnTo>
                    <a:lnTo>
                      <a:pt x="2413" y="800"/>
                    </a:lnTo>
                    <a:lnTo>
                      <a:pt x="2413" y="800"/>
                    </a:lnTo>
                    <a:lnTo>
                      <a:pt x="2412" y="800"/>
                    </a:lnTo>
                    <a:lnTo>
                      <a:pt x="2412" y="801"/>
                    </a:lnTo>
                    <a:lnTo>
                      <a:pt x="2413" y="801"/>
                    </a:lnTo>
                    <a:lnTo>
                      <a:pt x="2413" y="802"/>
                    </a:lnTo>
                    <a:lnTo>
                      <a:pt x="2413" y="802"/>
                    </a:lnTo>
                    <a:lnTo>
                      <a:pt x="2413" y="803"/>
                    </a:lnTo>
                    <a:lnTo>
                      <a:pt x="2413" y="803"/>
                    </a:lnTo>
                    <a:lnTo>
                      <a:pt x="2413" y="802"/>
                    </a:lnTo>
                    <a:lnTo>
                      <a:pt x="2414" y="802"/>
                    </a:lnTo>
                    <a:lnTo>
                      <a:pt x="2414" y="802"/>
                    </a:lnTo>
                    <a:lnTo>
                      <a:pt x="2414" y="802"/>
                    </a:lnTo>
                    <a:lnTo>
                      <a:pt x="2414" y="801"/>
                    </a:lnTo>
                    <a:lnTo>
                      <a:pt x="2413" y="801"/>
                    </a:lnTo>
                    <a:lnTo>
                      <a:pt x="2413" y="801"/>
                    </a:lnTo>
                    <a:lnTo>
                      <a:pt x="2414" y="801"/>
                    </a:lnTo>
                    <a:lnTo>
                      <a:pt x="2414" y="801"/>
                    </a:lnTo>
                    <a:lnTo>
                      <a:pt x="2414" y="801"/>
                    </a:lnTo>
                    <a:lnTo>
                      <a:pt x="2415" y="801"/>
                    </a:lnTo>
                    <a:lnTo>
                      <a:pt x="2415" y="801"/>
                    </a:lnTo>
                    <a:lnTo>
                      <a:pt x="2416" y="801"/>
                    </a:lnTo>
                    <a:lnTo>
                      <a:pt x="2416" y="802"/>
                    </a:lnTo>
                    <a:lnTo>
                      <a:pt x="2416" y="802"/>
                    </a:lnTo>
                    <a:lnTo>
                      <a:pt x="2416" y="802"/>
                    </a:lnTo>
                    <a:lnTo>
                      <a:pt x="2417" y="802"/>
                    </a:lnTo>
                    <a:lnTo>
                      <a:pt x="2417" y="802"/>
                    </a:lnTo>
                    <a:lnTo>
                      <a:pt x="2417" y="802"/>
                    </a:lnTo>
                    <a:lnTo>
                      <a:pt x="2417" y="802"/>
                    </a:lnTo>
                    <a:lnTo>
                      <a:pt x="2419" y="802"/>
                    </a:lnTo>
                    <a:lnTo>
                      <a:pt x="2417" y="802"/>
                    </a:lnTo>
                    <a:lnTo>
                      <a:pt x="2419" y="802"/>
                    </a:lnTo>
                    <a:lnTo>
                      <a:pt x="2419" y="803"/>
                    </a:lnTo>
                    <a:lnTo>
                      <a:pt x="2419" y="803"/>
                    </a:lnTo>
                    <a:lnTo>
                      <a:pt x="2419" y="803"/>
                    </a:lnTo>
                    <a:lnTo>
                      <a:pt x="2419" y="803"/>
                    </a:lnTo>
                    <a:lnTo>
                      <a:pt x="2419" y="803"/>
                    </a:lnTo>
                    <a:lnTo>
                      <a:pt x="2419" y="803"/>
                    </a:lnTo>
                    <a:lnTo>
                      <a:pt x="2419" y="803"/>
                    </a:lnTo>
                    <a:lnTo>
                      <a:pt x="2419" y="803"/>
                    </a:lnTo>
                    <a:lnTo>
                      <a:pt x="2419" y="804"/>
                    </a:lnTo>
                    <a:lnTo>
                      <a:pt x="2419" y="804"/>
                    </a:lnTo>
                    <a:lnTo>
                      <a:pt x="2419" y="803"/>
                    </a:lnTo>
                    <a:lnTo>
                      <a:pt x="2420" y="803"/>
                    </a:lnTo>
                    <a:lnTo>
                      <a:pt x="2420" y="804"/>
                    </a:lnTo>
                    <a:lnTo>
                      <a:pt x="2419" y="804"/>
                    </a:lnTo>
                    <a:lnTo>
                      <a:pt x="2420" y="804"/>
                    </a:lnTo>
                    <a:lnTo>
                      <a:pt x="2420" y="804"/>
                    </a:lnTo>
                    <a:lnTo>
                      <a:pt x="2420" y="804"/>
                    </a:lnTo>
                    <a:lnTo>
                      <a:pt x="2420" y="805"/>
                    </a:lnTo>
                    <a:lnTo>
                      <a:pt x="2420" y="805"/>
                    </a:lnTo>
                    <a:lnTo>
                      <a:pt x="2420" y="805"/>
                    </a:lnTo>
                    <a:lnTo>
                      <a:pt x="2420" y="805"/>
                    </a:lnTo>
                    <a:lnTo>
                      <a:pt x="2420" y="805"/>
                    </a:lnTo>
                    <a:lnTo>
                      <a:pt x="2420" y="804"/>
                    </a:lnTo>
                    <a:lnTo>
                      <a:pt x="2421" y="804"/>
                    </a:lnTo>
                    <a:lnTo>
                      <a:pt x="2421" y="804"/>
                    </a:lnTo>
                    <a:lnTo>
                      <a:pt x="2421" y="804"/>
                    </a:lnTo>
                    <a:lnTo>
                      <a:pt x="2421" y="804"/>
                    </a:lnTo>
                    <a:lnTo>
                      <a:pt x="2421" y="804"/>
                    </a:lnTo>
                    <a:lnTo>
                      <a:pt x="2421" y="806"/>
                    </a:lnTo>
                    <a:lnTo>
                      <a:pt x="2421" y="806"/>
                    </a:lnTo>
                    <a:lnTo>
                      <a:pt x="2421" y="806"/>
                    </a:lnTo>
                    <a:lnTo>
                      <a:pt x="2421" y="806"/>
                    </a:lnTo>
                    <a:lnTo>
                      <a:pt x="2421" y="806"/>
                    </a:lnTo>
                    <a:lnTo>
                      <a:pt x="2421" y="806"/>
                    </a:lnTo>
                    <a:lnTo>
                      <a:pt x="2421" y="806"/>
                    </a:lnTo>
                    <a:lnTo>
                      <a:pt x="2422" y="806"/>
                    </a:lnTo>
                    <a:lnTo>
                      <a:pt x="2422" y="806"/>
                    </a:lnTo>
                    <a:lnTo>
                      <a:pt x="2423" y="806"/>
                    </a:lnTo>
                    <a:lnTo>
                      <a:pt x="2423" y="806"/>
                    </a:lnTo>
                    <a:lnTo>
                      <a:pt x="2423" y="806"/>
                    </a:lnTo>
                    <a:lnTo>
                      <a:pt x="2423" y="808"/>
                    </a:lnTo>
                    <a:lnTo>
                      <a:pt x="2423" y="808"/>
                    </a:lnTo>
                    <a:lnTo>
                      <a:pt x="2423" y="808"/>
                    </a:lnTo>
                    <a:lnTo>
                      <a:pt x="2423" y="808"/>
                    </a:lnTo>
                    <a:lnTo>
                      <a:pt x="2423" y="808"/>
                    </a:lnTo>
                    <a:lnTo>
                      <a:pt x="2424" y="809"/>
                    </a:lnTo>
                    <a:lnTo>
                      <a:pt x="2424" y="809"/>
                    </a:lnTo>
                    <a:lnTo>
                      <a:pt x="2424" y="809"/>
                    </a:lnTo>
                    <a:lnTo>
                      <a:pt x="2424" y="809"/>
                    </a:lnTo>
                    <a:lnTo>
                      <a:pt x="2424" y="809"/>
                    </a:lnTo>
                    <a:lnTo>
                      <a:pt x="2424" y="809"/>
                    </a:lnTo>
                    <a:lnTo>
                      <a:pt x="2424" y="809"/>
                    </a:lnTo>
                    <a:lnTo>
                      <a:pt x="2424" y="809"/>
                    </a:lnTo>
                    <a:lnTo>
                      <a:pt x="2424" y="809"/>
                    </a:lnTo>
                    <a:lnTo>
                      <a:pt x="2424" y="809"/>
                    </a:lnTo>
                    <a:lnTo>
                      <a:pt x="2424" y="810"/>
                    </a:lnTo>
                    <a:lnTo>
                      <a:pt x="2424" y="810"/>
                    </a:lnTo>
                    <a:lnTo>
                      <a:pt x="2423" y="810"/>
                    </a:lnTo>
                    <a:lnTo>
                      <a:pt x="2423" y="811"/>
                    </a:lnTo>
                    <a:lnTo>
                      <a:pt x="2423" y="811"/>
                    </a:lnTo>
                    <a:lnTo>
                      <a:pt x="2423" y="812"/>
                    </a:lnTo>
                    <a:lnTo>
                      <a:pt x="2423" y="812"/>
                    </a:lnTo>
                    <a:lnTo>
                      <a:pt x="2423" y="812"/>
                    </a:lnTo>
                    <a:lnTo>
                      <a:pt x="2423" y="812"/>
                    </a:lnTo>
                    <a:lnTo>
                      <a:pt x="2423" y="813"/>
                    </a:lnTo>
                    <a:lnTo>
                      <a:pt x="2422" y="813"/>
                    </a:lnTo>
                    <a:lnTo>
                      <a:pt x="2422" y="814"/>
                    </a:lnTo>
                    <a:lnTo>
                      <a:pt x="2422" y="814"/>
                    </a:lnTo>
                    <a:lnTo>
                      <a:pt x="2422" y="816"/>
                    </a:lnTo>
                    <a:lnTo>
                      <a:pt x="2422" y="816"/>
                    </a:lnTo>
                    <a:lnTo>
                      <a:pt x="2422" y="817"/>
                    </a:lnTo>
                    <a:lnTo>
                      <a:pt x="2423" y="817"/>
                    </a:lnTo>
                    <a:lnTo>
                      <a:pt x="2423" y="818"/>
                    </a:lnTo>
                    <a:lnTo>
                      <a:pt x="2423" y="818"/>
                    </a:lnTo>
                    <a:lnTo>
                      <a:pt x="2423" y="818"/>
                    </a:lnTo>
                    <a:lnTo>
                      <a:pt x="2423" y="820"/>
                    </a:lnTo>
                    <a:lnTo>
                      <a:pt x="2422" y="821"/>
                    </a:lnTo>
                    <a:lnTo>
                      <a:pt x="2422" y="821"/>
                    </a:lnTo>
                    <a:lnTo>
                      <a:pt x="2422" y="821"/>
                    </a:lnTo>
                    <a:lnTo>
                      <a:pt x="2422" y="822"/>
                    </a:lnTo>
                    <a:lnTo>
                      <a:pt x="2422" y="822"/>
                    </a:lnTo>
                    <a:lnTo>
                      <a:pt x="2422" y="826"/>
                    </a:lnTo>
                    <a:lnTo>
                      <a:pt x="2422" y="826"/>
                    </a:lnTo>
                    <a:lnTo>
                      <a:pt x="2422" y="827"/>
                    </a:lnTo>
                    <a:lnTo>
                      <a:pt x="2422" y="828"/>
                    </a:lnTo>
                    <a:lnTo>
                      <a:pt x="2422" y="829"/>
                    </a:lnTo>
                    <a:lnTo>
                      <a:pt x="2423" y="829"/>
                    </a:lnTo>
                    <a:lnTo>
                      <a:pt x="2423" y="830"/>
                    </a:lnTo>
                    <a:lnTo>
                      <a:pt x="2423" y="830"/>
                    </a:lnTo>
                    <a:lnTo>
                      <a:pt x="2423" y="830"/>
                    </a:lnTo>
                    <a:lnTo>
                      <a:pt x="2423" y="831"/>
                    </a:lnTo>
                    <a:lnTo>
                      <a:pt x="2423" y="834"/>
                    </a:lnTo>
                    <a:lnTo>
                      <a:pt x="2423" y="834"/>
                    </a:lnTo>
                    <a:lnTo>
                      <a:pt x="2423" y="835"/>
                    </a:lnTo>
                    <a:lnTo>
                      <a:pt x="2424" y="835"/>
                    </a:lnTo>
                    <a:lnTo>
                      <a:pt x="2424" y="835"/>
                    </a:lnTo>
                    <a:lnTo>
                      <a:pt x="2424" y="836"/>
                    </a:lnTo>
                    <a:lnTo>
                      <a:pt x="2424" y="837"/>
                    </a:lnTo>
                    <a:lnTo>
                      <a:pt x="2424" y="837"/>
                    </a:lnTo>
                    <a:lnTo>
                      <a:pt x="2424" y="838"/>
                    </a:lnTo>
                    <a:lnTo>
                      <a:pt x="2424" y="838"/>
                    </a:lnTo>
                    <a:lnTo>
                      <a:pt x="2424" y="838"/>
                    </a:lnTo>
                    <a:lnTo>
                      <a:pt x="2424" y="838"/>
                    </a:lnTo>
                    <a:lnTo>
                      <a:pt x="2424" y="839"/>
                    </a:lnTo>
                    <a:lnTo>
                      <a:pt x="2424" y="839"/>
                    </a:lnTo>
                    <a:lnTo>
                      <a:pt x="2424" y="839"/>
                    </a:lnTo>
                    <a:lnTo>
                      <a:pt x="2425" y="839"/>
                    </a:lnTo>
                    <a:lnTo>
                      <a:pt x="2425" y="842"/>
                    </a:lnTo>
                    <a:lnTo>
                      <a:pt x="2424" y="842"/>
                    </a:lnTo>
                    <a:lnTo>
                      <a:pt x="2424" y="842"/>
                    </a:lnTo>
                    <a:lnTo>
                      <a:pt x="2421" y="842"/>
                    </a:lnTo>
                    <a:lnTo>
                      <a:pt x="2421" y="842"/>
                    </a:lnTo>
                    <a:lnTo>
                      <a:pt x="2420" y="842"/>
                    </a:lnTo>
                    <a:lnTo>
                      <a:pt x="2420" y="842"/>
                    </a:lnTo>
                    <a:lnTo>
                      <a:pt x="2420" y="842"/>
                    </a:lnTo>
                    <a:lnTo>
                      <a:pt x="2420" y="842"/>
                    </a:lnTo>
                    <a:lnTo>
                      <a:pt x="2420" y="840"/>
                    </a:lnTo>
                    <a:lnTo>
                      <a:pt x="2420" y="840"/>
                    </a:lnTo>
                    <a:lnTo>
                      <a:pt x="2420" y="840"/>
                    </a:lnTo>
                    <a:lnTo>
                      <a:pt x="2416" y="840"/>
                    </a:lnTo>
                    <a:lnTo>
                      <a:pt x="2416" y="840"/>
                    </a:lnTo>
                    <a:lnTo>
                      <a:pt x="2415" y="840"/>
                    </a:lnTo>
                    <a:lnTo>
                      <a:pt x="2415" y="842"/>
                    </a:lnTo>
                    <a:lnTo>
                      <a:pt x="2414" y="842"/>
                    </a:lnTo>
                    <a:lnTo>
                      <a:pt x="2413" y="842"/>
                    </a:lnTo>
                    <a:lnTo>
                      <a:pt x="2413" y="842"/>
                    </a:lnTo>
                    <a:lnTo>
                      <a:pt x="2413" y="842"/>
                    </a:lnTo>
                    <a:lnTo>
                      <a:pt x="2412" y="842"/>
                    </a:lnTo>
                    <a:lnTo>
                      <a:pt x="2412" y="842"/>
                    </a:lnTo>
                    <a:lnTo>
                      <a:pt x="2411" y="842"/>
                    </a:lnTo>
                    <a:lnTo>
                      <a:pt x="2411" y="843"/>
                    </a:lnTo>
                    <a:lnTo>
                      <a:pt x="2411" y="843"/>
                    </a:lnTo>
                    <a:lnTo>
                      <a:pt x="2410" y="843"/>
                    </a:lnTo>
                    <a:lnTo>
                      <a:pt x="2410" y="843"/>
                    </a:lnTo>
                    <a:lnTo>
                      <a:pt x="2408" y="843"/>
                    </a:lnTo>
                    <a:lnTo>
                      <a:pt x="2408" y="843"/>
                    </a:lnTo>
                    <a:lnTo>
                      <a:pt x="2408" y="843"/>
                    </a:lnTo>
                    <a:lnTo>
                      <a:pt x="2406" y="843"/>
                    </a:lnTo>
                    <a:lnTo>
                      <a:pt x="2406" y="844"/>
                    </a:lnTo>
                    <a:lnTo>
                      <a:pt x="2406" y="844"/>
                    </a:lnTo>
                    <a:lnTo>
                      <a:pt x="2405" y="844"/>
                    </a:lnTo>
                    <a:lnTo>
                      <a:pt x="2404" y="844"/>
                    </a:lnTo>
                    <a:lnTo>
                      <a:pt x="2404" y="844"/>
                    </a:lnTo>
                    <a:lnTo>
                      <a:pt x="2403" y="844"/>
                    </a:lnTo>
                    <a:lnTo>
                      <a:pt x="2402" y="844"/>
                    </a:lnTo>
                    <a:lnTo>
                      <a:pt x="2402" y="844"/>
                    </a:lnTo>
                    <a:lnTo>
                      <a:pt x="2402" y="844"/>
                    </a:lnTo>
                    <a:lnTo>
                      <a:pt x="2400" y="844"/>
                    </a:lnTo>
                    <a:lnTo>
                      <a:pt x="2400" y="845"/>
                    </a:lnTo>
                    <a:lnTo>
                      <a:pt x="2399" y="845"/>
                    </a:lnTo>
                    <a:lnTo>
                      <a:pt x="2399" y="845"/>
                    </a:lnTo>
                    <a:lnTo>
                      <a:pt x="2399" y="845"/>
                    </a:lnTo>
                    <a:lnTo>
                      <a:pt x="2398" y="845"/>
                    </a:lnTo>
                    <a:lnTo>
                      <a:pt x="2398" y="845"/>
                    </a:lnTo>
                    <a:lnTo>
                      <a:pt x="2397" y="845"/>
                    </a:lnTo>
                    <a:lnTo>
                      <a:pt x="2395" y="845"/>
                    </a:lnTo>
                    <a:lnTo>
                      <a:pt x="2395" y="845"/>
                    </a:lnTo>
                    <a:lnTo>
                      <a:pt x="2394" y="845"/>
                    </a:lnTo>
                    <a:lnTo>
                      <a:pt x="2394" y="845"/>
                    </a:lnTo>
                    <a:lnTo>
                      <a:pt x="2394" y="845"/>
                    </a:lnTo>
                    <a:lnTo>
                      <a:pt x="2393" y="845"/>
                    </a:lnTo>
                    <a:lnTo>
                      <a:pt x="2391" y="845"/>
                    </a:lnTo>
                    <a:lnTo>
                      <a:pt x="2391" y="844"/>
                    </a:lnTo>
                    <a:lnTo>
                      <a:pt x="2390" y="844"/>
                    </a:lnTo>
                    <a:lnTo>
                      <a:pt x="2390" y="844"/>
                    </a:lnTo>
                    <a:lnTo>
                      <a:pt x="2389" y="844"/>
                    </a:lnTo>
                    <a:lnTo>
                      <a:pt x="2389" y="844"/>
                    </a:lnTo>
                    <a:lnTo>
                      <a:pt x="2389" y="844"/>
                    </a:lnTo>
                    <a:lnTo>
                      <a:pt x="2388" y="844"/>
                    </a:lnTo>
                    <a:lnTo>
                      <a:pt x="2387" y="844"/>
                    </a:lnTo>
                    <a:lnTo>
                      <a:pt x="2387" y="844"/>
                    </a:lnTo>
                    <a:lnTo>
                      <a:pt x="2386" y="844"/>
                    </a:lnTo>
                    <a:lnTo>
                      <a:pt x="2385" y="843"/>
                    </a:lnTo>
                    <a:lnTo>
                      <a:pt x="2385" y="843"/>
                    </a:lnTo>
                    <a:lnTo>
                      <a:pt x="2385" y="843"/>
                    </a:lnTo>
                    <a:lnTo>
                      <a:pt x="2383" y="843"/>
                    </a:lnTo>
                    <a:lnTo>
                      <a:pt x="2383" y="843"/>
                    </a:lnTo>
                    <a:lnTo>
                      <a:pt x="2383" y="843"/>
                    </a:lnTo>
                    <a:lnTo>
                      <a:pt x="2383" y="843"/>
                    </a:lnTo>
                    <a:lnTo>
                      <a:pt x="2383" y="843"/>
                    </a:lnTo>
                    <a:lnTo>
                      <a:pt x="2382" y="842"/>
                    </a:lnTo>
                    <a:lnTo>
                      <a:pt x="2382" y="842"/>
                    </a:lnTo>
                    <a:lnTo>
                      <a:pt x="2382" y="842"/>
                    </a:lnTo>
                    <a:lnTo>
                      <a:pt x="2381" y="842"/>
                    </a:lnTo>
                    <a:lnTo>
                      <a:pt x="2381" y="842"/>
                    </a:lnTo>
                    <a:lnTo>
                      <a:pt x="2381" y="842"/>
                    </a:lnTo>
                    <a:lnTo>
                      <a:pt x="2381" y="840"/>
                    </a:lnTo>
                    <a:lnTo>
                      <a:pt x="2380" y="840"/>
                    </a:lnTo>
                    <a:lnTo>
                      <a:pt x="2380" y="840"/>
                    </a:lnTo>
                    <a:lnTo>
                      <a:pt x="2380" y="840"/>
                    </a:lnTo>
                    <a:lnTo>
                      <a:pt x="2380" y="840"/>
                    </a:lnTo>
                    <a:lnTo>
                      <a:pt x="2379" y="840"/>
                    </a:lnTo>
                    <a:lnTo>
                      <a:pt x="2379" y="839"/>
                    </a:lnTo>
                    <a:lnTo>
                      <a:pt x="2379" y="839"/>
                    </a:lnTo>
                    <a:lnTo>
                      <a:pt x="2379" y="839"/>
                    </a:lnTo>
                    <a:lnTo>
                      <a:pt x="2379" y="839"/>
                    </a:lnTo>
                    <a:lnTo>
                      <a:pt x="2378" y="839"/>
                    </a:lnTo>
                    <a:lnTo>
                      <a:pt x="2378" y="839"/>
                    </a:lnTo>
                    <a:lnTo>
                      <a:pt x="2378" y="839"/>
                    </a:lnTo>
                    <a:lnTo>
                      <a:pt x="2377" y="838"/>
                    </a:lnTo>
                    <a:lnTo>
                      <a:pt x="2377" y="838"/>
                    </a:lnTo>
                    <a:lnTo>
                      <a:pt x="2376" y="838"/>
                    </a:lnTo>
                    <a:lnTo>
                      <a:pt x="2376" y="838"/>
                    </a:lnTo>
                    <a:lnTo>
                      <a:pt x="2376" y="838"/>
                    </a:lnTo>
                    <a:lnTo>
                      <a:pt x="2376" y="837"/>
                    </a:lnTo>
                    <a:lnTo>
                      <a:pt x="2376" y="837"/>
                    </a:lnTo>
                    <a:lnTo>
                      <a:pt x="2376" y="837"/>
                    </a:lnTo>
                    <a:lnTo>
                      <a:pt x="2374" y="837"/>
                    </a:lnTo>
                    <a:lnTo>
                      <a:pt x="2374" y="837"/>
                    </a:lnTo>
                    <a:lnTo>
                      <a:pt x="2374" y="837"/>
                    </a:lnTo>
                    <a:lnTo>
                      <a:pt x="2374" y="836"/>
                    </a:lnTo>
                    <a:lnTo>
                      <a:pt x="2374" y="836"/>
                    </a:lnTo>
                    <a:lnTo>
                      <a:pt x="2374" y="836"/>
                    </a:lnTo>
                    <a:lnTo>
                      <a:pt x="2373" y="836"/>
                    </a:lnTo>
                    <a:lnTo>
                      <a:pt x="2373" y="835"/>
                    </a:lnTo>
                    <a:lnTo>
                      <a:pt x="2373" y="835"/>
                    </a:lnTo>
                    <a:lnTo>
                      <a:pt x="2373" y="835"/>
                    </a:lnTo>
                    <a:lnTo>
                      <a:pt x="2373" y="835"/>
                    </a:lnTo>
                    <a:lnTo>
                      <a:pt x="2373" y="835"/>
                    </a:lnTo>
                    <a:lnTo>
                      <a:pt x="2373" y="834"/>
                    </a:lnTo>
                    <a:lnTo>
                      <a:pt x="2373" y="833"/>
                    </a:lnTo>
                    <a:lnTo>
                      <a:pt x="2372" y="833"/>
                    </a:lnTo>
                    <a:lnTo>
                      <a:pt x="2372" y="833"/>
                    </a:lnTo>
                    <a:lnTo>
                      <a:pt x="2372" y="833"/>
                    </a:lnTo>
                    <a:lnTo>
                      <a:pt x="2372" y="833"/>
                    </a:lnTo>
                    <a:lnTo>
                      <a:pt x="2371" y="833"/>
                    </a:lnTo>
                    <a:lnTo>
                      <a:pt x="2371" y="833"/>
                    </a:lnTo>
                    <a:lnTo>
                      <a:pt x="2370" y="833"/>
                    </a:lnTo>
                    <a:lnTo>
                      <a:pt x="2370" y="831"/>
                    </a:lnTo>
                    <a:lnTo>
                      <a:pt x="2369" y="831"/>
                    </a:lnTo>
                    <a:lnTo>
                      <a:pt x="2369" y="831"/>
                    </a:lnTo>
                    <a:lnTo>
                      <a:pt x="2369" y="831"/>
                    </a:lnTo>
                    <a:lnTo>
                      <a:pt x="2369" y="831"/>
                    </a:lnTo>
                    <a:lnTo>
                      <a:pt x="2369" y="831"/>
                    </a:lnTo>
                    <a:lnTo>
                      <a:pt x="2369" y="831"/>
                    </a:lnTo>
                    <a:lnTo>
                      <a:pt x="2366" y="831"/>
                    </a:lnTo>
                    <a:lnTo>
                      <a:pt x="2365" y="831"/>
                    </a:lnTo>
                    <a:lnTo>
                      <a:pt x="2363" y="831"/>
                    </a:lnTo>
                    <a:lnTo>
                      <a:pt x="2363" y="831"/>
                    </a:lnTo>
                    <a:lnTo>
                      <a:pt x="2362" y="831"/>
                    </a:lnTo>
                    <a:lnTo>
                      <a:pt x="2362" y="830"/>
                    </a:lnTo>
                    <a:lnTo>
                      <a:pt x="2361" y="830"/>
                    </a:lnTo>
                    <a:lnTo>
                      <a:pt x="2361" y="830"/>
                    </a:lnTo>
                    <a:lnTo>
                      <a:pt x="2361" y="830"/>
                    </a:lnTo>
                    <a:lnTo>
                      <a:pt x="2360" y="830"/>
                    </a:lnTo>
                    <a:lnTo>
                      <a:pt x="2360" y="830"/>
                    </a:lnTo>
                    <a:lnTo>
                      <a:pt x="2359" y="830"/>
                    </a:lnTo>
                    <a:lnTo>
                      <a:pt x="2359" y="829"/>
                    </a:lnTo>
                    <a:lnTo>
                      <a:pt x="2359" y="829"/>
                    </a:lnTo>
                    <a:lnTo>
                      <a:pt x="2359" y="829"/>
                    </a:lnTo>
                    <a:lnTo>
                      <a:pt x="2359" y="829"/>
                    </a:lnTo>
                    <a:lnTo>
                      <a:pt x="2359" y="829"/>
                    </a:lnTo>
                    <a:lnTo>
                      <a:pt x="2357" y="829"/>
                    </a:lnTo>
                    <a:lnTo>
                      <a:pt x="2357" y="829"/>
                    </a:lnTo>
                    <a:lnTo>
                      <a:pt x="2357" y="829"/>
                    </a:lnTo>
                    <a:lnTo>
                      <a:pt x="2357" y="828"/>
                    </a:lnTo>
                    <a:lnTo>
                      <a:pt x="2356" y="828"/>
                    </a:lnTo>
                    <a:lnTo>
                      <a:pt x="2356" y="828"/>
                    </a:lnTo>
                    <a:lnTo>
                      <a:pt x="2356" y="827"/>
                    </a:lnTo>
                    <a:lnTo>
                      <a:pt x="2356" y="827"/>
                    </a:lnTo>
                    <a:lnTo>
                      <a:pt x="2356" y="827"/>
                    </a:lnTo>
                    <a:lnTo>
                      <a:pt x="2356" y="826"/>
                    </a:lnTo>
                    <a:lnTo>
                      <a:pt x="2355" y="826"/>
                    </a:lnTo>
                    <a:lnTo>
                      <a:pt x="2355" y="825"/>
                    </a:lnTo>
                    <a:lnTo>
                      <a:pt x="2355" y="825"/>
                    </a:lnTo>
                    <a:lnTo>
                      <a:pt x="2355" y="823"/>
                    </a:lnTo>
                    <a:lnTo>
                      <a:pt x="2355" y="823"/>
                    </a:lnTo>
                    <a:lnTo>
                      <a:pt x="2355" y="822"/>
                    </a:lnTo>
                    <a:lnTo>
                      <a:pt x="2355" y="822"/>
                    </a:lnTo>
                    <a:lnTo>
                      <a:pt x="2355" y="821"/>
                    </a:lnTo>
                    <a:lnTo>
                      <a:pt x="2354" y="821"/>
                    </a:lnTo>
                    <a:lnTo>
                      <a:pt x="2354" y="819"/>
                    </a:lnTo>
                    <a:lnTo>
                      <a:pt x="2354" y="819"/>
                    </a:lnTo>
                    <a:lnTo>
                      <a:pt x="2354" y="817"/>
                    </a:lnTo>
                    <a:lnTo>
                      <a:pt x="2354" y="817"/>
                    </a:lnTo>
                    <a:lnTo>
                      <a:pt x="2354" y="816"/>
                    </a:lnTo>
                    <a:lnTo>
                      <a:pt x="2354" y="816"/>
                    </a:lnTo>
                    <a:lnTo>
                      <a:pt x="2354" y="816"/>
                    </a:lnTo>
                    <a:lnTo>
                      <a:pt x="2354" y="816"/>
                    </a:lnTo>
                    <a:lnTo>
                      <a:pt x="2354" y="816"/>
                    </a:lnTo>
                    <a:lnTo>
                      <a:pt x="2354" y="814"/>
                    </a:lnTo>
                    <a:lnTo>
                      <a:pt x="2354" y="811"/>
                    </a:lnTo>
                    <a:lnTo>
                      <a:pt x="2354" y="811"/>
                    </a:lnTo>
                    <a:lnTo>
                      <a:pt x="2354" y="810"/>
                    </a:lnTo>
                    <a:lnTo>
                      <a:pt x="2354" y="810"/>
                    </a:lnTo>
                    <a:lnTo>
                      <a:pt x="2354" y="809"/>
                    </a:lnTo>
                    <a:lnTo>
                      <a:pt x="2354" y="809"/>
                    </a:lnTo>
                    <a:lnTo>
                      <a:pt x="2354" y="809"/>
                    </a:lnTo>
                    <a:lnTo>
                      <a:pt x="2354" y="809"/>
                    </a:lnTo>
                    <a:lnTo>
                      <a:pt x="2355" y="809"/>
                    </a:lnTo>
                    <a:lnTo>
                      <a:pt x="2355" y="809"/>
                    </a:lnTo>
                    <a:lnTo>
                      <a:pt x="2355" y="809"/>
                    </a:lnTo>
                    <a:lnTo>
                      <a:pt x="2355" y="808"/>
                    </a:lnTo>
                    <a:lnTo>
                      <a:pt x="2355" y="808"/>
                    </a:lnTo>
                    <a:lnTo>
                      <a:pt x="2355" y="806"/>
                    </a:lnTo>
                    <a:lnTo>
                      <a:pt x="2355" y="806"/>
                    </a:lnTo>
                    <a:lnTo>
                      <a:pt x="2355" y="805"/>
                    </a:lnTo>
                    <a:lnTo>
                      <a:pt x="2355" y="805"/>
                    </a:lnTo>
                    <a:lnTo>
                      <a:pt x="2355" y="804"/>
                    </a:lnTo>
                    <a:lnTo>
                      <a:pt x="2355" y="804"/>
                    </a:lnTo>
                    <a:lnTo>
                      <a:pt x="2356" y="804"/>
                    </a:lnTo>
                    <a:lnTo>
                      <a:pt x="2356" y="804"/>
                    </a:lnTo>
                    <a:lnTo>
                      <a:pt x="2356" y="804"/>
                    </a:lnTo>
                    <a:lnTo>
                      <a:pt x="2357" y="804"/>
                    </a:lnTo>
                    <a:lnTo>
                      <a:pt x="2357" y="805"/>
                    </a:lnTo>
                    <a:lnTo>
                      <a:pt x="2357" y="805"/>
                    </a:lnTo>
                    <a:lnTo>
                      <a:pt x="2359" y="805"/>
                    </a:lnTo>
                    <a:lnTo>
                      <a:pt x="2359" y="806"/>
                    </a:lnTo>
                    <a:lnTo>
                      <a:pt x="2357" y="806"/>
                    </a:lnTo>
                    <a:lnTo>
                      <a:pt x="2356" y="806"/>
                    </a:lnTo>
                    <a:lnTo>
                      <a:pt x="2356" y="808"/>
                    </a:lnTo>
                    <a:lnTo>
                      <a:pt x="2357" y="808"/>
                    </a:lnTo>
                    <a:lnTo>
                      <a:pt x="2357" y="808"/>
                    </a:lnTo>
                    <a:lnTo>
                      <a:pt x="2356" y="808"/>
                    </a:lnTo>
                    <a:lnTo>
                      <a:pt x="2357" y="808"/>
                    </a:lnTo>
                    <a:lnTo>
                      <a:pt x="2357" y="808"/>
                    </a:lnTo>
                    <a:lnTo>
                      <a:pt x="2357" y="808"/>
                    </a:lnTo>
                    <a:lnTo>
                      <a:pt x="2359" y="808"/>
                    </a:lnTo>
                    <a:lnTo>
                      <a:pt x="2359" y="808"/>
                    </a:lnTo>
                    <a:lnTo>
                      <a:pt x="2359" y="806"/>
                    </a:lnTo>
                    <a:lnTo>
                      <a:pt x="2359" y="806"/>
                    </a:lnTo>
                    <a:lnTo>
                      <a:pt x="2359" y="805"/>
                    </a:lnTo>
                    <a:lnTo>
                      <a:pt x="2359" y="805"/>
                    </a:lnTo>
                    <a:lnTo>
                      <a:pt x="2359" y="805"/>
                    </a:lnTo>
                    <a:lnTo>
                      <a:pt x="2360" y="804"/>
                    </a:lnTo>
                    <a:lnTo>
                      <a:pt x="2360" y="802"/>
                    </a:lnTo>
                    <a:lnTo>
                      <a:pt x="2360" y="802"/>
                    </a:lnTo>
                    <a:lnTo>
                      <a:pt x="2360" y="802"/>
                    </a:lnTo>
                    <a:lnTo>
                      <a:pt x="2361" y="802"/>
                    </a:lnTo>
                    <a:lnTo>
                      <a:pt x="2361" y="802"/>
                    </a:lnTo>
                    <a:lnTo>
                      <a:pt x="2361" y="802"/>
                    </a:lnTo>
                    <a:lnTo>
                      <a:pt x="2361" y="802"/>
                    </a:lnTo>
                    <a:lnTo>
                      <a:pt x="2361" y="802"/>
                    </a:lnTo>
                    <a:lnTo>
                      <a:pt x="2362" y="802"/>
                    </a:lnTo>
                    <a:lnTo>
                      <a:pt x="2361" y="802"/>
                    </a:lnTo>
                    <a:lnTo>
                      <a:pt x="2361" y="802"/>
                    </a:lnTo>
                    <a:lnTo>
                      <a:pt x="2361" y="802"/>
                    </a:lnTo>
                    <a:lnTo>
                      <a:pt x="2361" y="802"/>
                    </a:lnTo>
                    <a:lnTo>
                      <a:pt x="2362" y="802"/>
                    </a:lnTo>
                    <a:lnTo>
                      <a:pt x="2362" y="801"/>
                    </a:lnTo>
                    <a:lnTo>
                      <a:pt x="2362" y="801"/>
                    </a:lnTo>
                    <a:lnTo>
                      <a:pt x="2362" y="801"/>
                    </a:lnTo>
                    <a:lnTo>
                      <a:pt x="2362" y="801"/>
                    </a:lnTo>
                    <a:lnTo>
                      <a:pt x="2361" y="801"/>
                    </a:lnTo>
                    <a:lnTo>
                      <a:pt x="2361" y="800"/>
                    </a:lnTo>
                    <a:lnTo>
                      <a:pt x="2361" y="800"/>
                    </a:lnTo>
                    <a:lnTo>
                      <a:pt x="2361" y="800"/>
                    </a:lnTo>
                    <a:lnTo>
                      <a:pt x="2361" y="800"/>
                    </a:lnTo>
                    <a:lnTo>
                      <a:pt x="2360" y="800"/>
                    </a:lnTo>
                    <a:lnTo>
                      <a:pt x="2360" y="800"/>
                    </a:lnTo>
                    <a:lnTo>
                      <a:pt x="2360" y="800"/>
                    </a:lnTo>
                    <a:lnTo>
                      <a:pt x="2360" y="799"/>
                    </a:lnTo>
                    <a:lnTo>
                      <a:pt x="2360" y="799"/>
                    </a:lnTo>
                    <a:lnTo>
                      <a:pt x="2360" y="797"/>
                    </a:lnTo>
                    <a:lnTo>
                      <a:pt x="2361" y="797"/>
                    </a:lnTo>
                    <a:lnTo>
                      <a:pt x="2361" y="797"/>
                    </a:lnTo>
                    <a:lnTo>
                      <a:pt x="2361" y="796"/>
                    </a:lnTo>
                    <a:lnTo>
                      <a:pt x="2361" y="796"/>
                    </a:lnTo>
                    <a:lnTo>
                      <a:pt x="2361" y="796"/>
                    </a:lnTo>
                    <a:lnTo>
                      <a:pt x="2361" y="796"/>
                    </a:lnTo>
                    <a:lnTo>
                      <a:pt x="2361" y="796"/>
                    </a:lnTo>
                    <a:lnTo>
                      <a:pt x="2362" y="796"/>
                    </a:lnTo>
                    <a:lnTo>
                      <a:pt x="2362" y="795"/>
                    </a:lnTo>
                    <a:lnTo>
                      <a:pt x="2362" y="795"/>
                    </a:lnTo>
                    <a:lnTo>
                      <a:pt x="2362" y="794"/>
                    </a:lnTo>
                    <a:lnTo>
                      <a:pt x="2362" y="794"/>
                    </a:lnTo>
                    <a:lnTo>
                      <a:pt x="2362" y="794"/>
                    </a:lnTo>
                    <a:lnTo>
                      <a:pt x="2362" y="793"/>
                    </a:lnTo>
                    <a:lnTo>
                      <a:pt x="2362" y="793"/>
                    </a:lnTo>
                    <a:lnTo>
                      <a:pt x="2362" y="793"/>
                    </a:lnTo>
                    <a:lnTo>
                      <a:pt x="2362" y="793"/>
                    </a:lnTo>
                    <a:lnTo>
                      <a:pt x="2362" y="793"/>
                    </a:lnTo>
                    <a:lnTo>
                      <a:pt x="2362" y="792"/>
                    </a:lnTo>
                    <a:lnTo>
                      <a:pt x="2362" y="792"/>
                    </a:lnTo>
                    <a:lnTo>
                      <a:pt x="2362" y="792"/>
                    </a:lnTo>
                    <a:lnTo>
                      <a:pt x="2362" y="792"/>
                    </a:lnTo>
                    <a:lnTo>
                      <a:pt x="2363" y="792"/>
                    </a:lnTo>
                    <a:lnTo>
                      <a:pt x="2363" y="791"/>
                    </a:lnTo>
                    <a:lnTo>
                      <a:pt x="2362" y="791"/>
                    </a:lnTo>
                    <a:lnTo>
                      <a:pt x="2362" y="791"/>
                    </a:lnTo>
                    <a:lnTo>
                      <a:pt x="2362" y="791"/>
                    </a:lnTo>
                    <a:lnTo>
                      <a:pt x="2362" y="789"/>
                    </a:lnTo>
                    <a:lnTo>
                      <a:pt x="2362" y="789"/>
                    </a:lnTo>
                    <a:lnTo>
                      <a:pt x="2362" y="789"/>
                    </a:lnTo>
                    <a:lnTo>
                      <a:pt x="2363" y="789"/>
                    </a:lnTo>
                    <a:lnTo>
                      <a:pt x="2363" y="788"/>
                    </a:lnTo>
                    <a:lnTo>
                      <a:pt x="2363" y="788"/>
                    </a:lnTo>
                    <a:lnTo>
                      <a:pt x="2363" y="788"/>
                    </a:lnTo>
                    <a:lnTo>
                      <a:pt x="2363" y="788"/>
                    </a:lnTo>
                    <a:lnTo>
                      <a:pt x="2363" y="787"/>
                    </a:lnTo>
                    <a:lnTo>
                      <a:pt x="2364" y="787"/>
                    </a:lnTo>
                    <a:lnTo>
                      <a:pt x="2364" y="787"/>
                    </a:lnTo>
                    <a:lnTo>
                      <a:pt x="2364" y="787"/>
                    </a:lnTo>
                    <a:lnTo>
                      <a:pt x="2364" y="787"/>
                    </a:lnTo>
                    <a:lnTo>
                      <a:pt x="2365" y="787"/>
                    </a:lnTo>
                    <a:lnTo>
                      <a:pt x="2365" y="787"/>
                    </a:lnTo>
                    <a:lnTo>
                      <a:pt x="2365" y="787"/>
                    </a:lnTo>
                    <a:lnTo>
                      <a:pt x="2365" y="787"/>
                    </a:lnTo>
                    <a:lnTo>
                      <a:pt x="2366" y="787"/>
                    </a:lnTo>
                    <a:lnTo>
                      <a:pt x="2366" y="786"/>
                    </a:lnTo>
                    <a:lnTo>
                      <a:pt x="2368" y="786"/>
                    </a:lnTo>
                    <a:lnTo>
                      <a:pt x="2368" y="786"/>
                    </a:lnTo>
                    <a:lnTo>
                      <a:pt x="2368" y="786"/>
                    </a:lnTo>
                    <a:lnTo>
                      <a:pt x="2368" y="786"/>
                    </a:lnTo>
                    <a:lnTo>
                      <a:pt x="2368" y="785"/>
                    </a:lnTo>
                    <a:lnTo>
                      <a:pt x="2368" y="785"/>
                    </a:lnTo>
                    <a:lnTo>
                      <a:pt x="2368" y="785"/>
                    </a:lnTo>
                    <a:lnTo>
                      <a:pt x="2369" y="785"/>
                    </a:lnTo>
                    <a:lnTo>
                      <a:pt x="2369" y="785"/>
                    </a:lnTo>
                    <a:lnTo>
                      <a:pt x="2369" y="785"/>
                    </a:lnTo>
                    <a:lnTo>
                      <a:pt x="2370" y="786"/>
                    </a:lnTo>
                    <a:lnTo>
                      <a:pt x="2370" y="786"/>
                    </a:lnTo>
                    <a:lnTo>
                      <a:pt x="2370" y="786"/>
                    </a:lnTo>
                    <a:lnTo>
                      <a:pt x="2370" y="786"/>
                    </a:lnTo>
                    <a:lnTo>
                      <a:pt x="2370" y="786"/>
                    </a:lnTo>
                    <a:lnTo>
                      <a:pt x="2370" y="785"/>
                    </a:lnTo>
                    <a:lnTo>
                      <a:pt x="2371" y="785"/>
                    </a:lnTo>
                    <a:lnTo>
                      <a:pt x="2371" y="786"/>
                    </a:lnTo>
                    <a:lnTo>
                      <a:pt x="2371" y="786"/>
                    </a:lnTo>
                    <a:lnTo>
                      <a:pt x="2371" y="785"/>
                    </a:lnTo>
                    <a:lnTo>
                      <a:pt x="2372" y="785"/>
                    </a:lnTo>
                    <a:lnTo>
                      <a:pt x="2372" y="786"/>
                    </a:lnTo>
                    <a:lnTo>
                      <a:pt x="2373" y="786"/>
                    </a:lnTo>
                    <a:lnTo>
                      <a:pt x="2373" y="786"/>
                    </a:lnTo>
                    <a:lnTo>
                      <a:pt x="2373" y="786"/>
                    </a:lnTo>
                    <a:lnTo>
                      <a:pt x="2374" y="786"/>
                    </a:lnTo>
                    <a:lnTo>
                      <a:pt x="2374" y="786"/>
                    </a:lnTo>
                    <a:lnTo>
                      <a:pt x="2374" y="786"/>
                    </a:lnTo>
                    <a:lnTo>
                      <a:pt x="2374" y="786"/>
                    </a:lnTo>
                    <a:lnTo>
                      <a:pt x="2374" y="787"/>
                    </a:lnTo>
                    <a:lnTo>
                      <a:pt x="2374" y="787"/>
                    </a:lnTo>
                    <a:lnTo>
                      <a:pt x="2374" y="787"/>
                    </a:lnTo>
                    <a:lnTo>
                      <a:pt x="2376" y="787"/>
                    </a:lnTo>
                    <a:lnTo>
                      <a:pt x="2376" y="787"/>
                    </a:lnTo>
                    <a:lnTo>
                      <a:pt x="2374" y="787"/>
                    </a:lnTo>
                    <a:lnTo>
                      <a:pt x="2374" y="785"/>
                    </a:lnTo>
                    <a:lnTo>
                      <a:pt x="2374" y="785"/>
                    </a:lnTo>
                    <a:lnTo>
                      <a:pt x="2374" y="785"/>
                    </a:lnTo>
                    <a:lnTo>
                      <a:pt x="2374" y="785"/>
                    </a:lnTo>
                    <a:lnTo>
                      <a:pt x="2374" y="784"/>
                    </a:lnTo>
                    <a:lnTo>
                      <a:pt x="2373" y="784"/>
                    </a:lnTo>
                    <a:lnTo>
                      <a:pt x="2373" y="784"/>
                    </a:lnTo>
                    <a:lnTo>
                      <a:pt x="2373" y="784"/>
                    </a:lnTo>
                    <a:lnTo>
                      <a:pt x="2373" y="784"/>
                    </a:lnTo>
                    <a:lnTo>
                      <a:pt x="2373" y="784"/>
                    </a:lnTo>
                    <a:lnTo>
                      <a:pt x="2373" y="783"/>
                    </a:lnTo>
                    <a:lnTo>
                      <a:pt x="2373" y="783"/>
                    </a:lnTo>
                    <a:lnTo>
                      <a:pt x="2372" y="783"/>
                    </a:lnTo>
                    <a:lnTo>
                      <a:pt x="2372" y="783"/>
                    </a:lnTo>
                    <a:lnTo>
                      <a:pt x="2371" y="783"/>
                    </a:lnTo>
                    <a:lnTo>
                      <a:pt x="2371" y="783"/>
                    </a:lnTo>
                    <a:lnTo>
                      <a:pt x="2371" y="783"/>
                    </a:lnTo>
                    <a:lnTo>
                      <a:pt x="2371" y="783"/>
                    </a:lnTo>
                    <a:lnTo>
                      <a:pt x="2371" y="782"/>
                    </a:lnTo>
                    <a:lnTo>
                      <a:pt x="2371" y="782"/>
                    </a:lnTo>
                    <a:lnTo>
                      <a:pt x="2369" y="782"/>
                    </a:lnTo>
                    <a:lnTo>
                      <a:pt x="2368" y="782"/>
                    </a:lnTo>
                    <a:lnTo>
                      <a:pt x="2366" y="782"/>
                    </a:lnTo>
                    <a:lnTo>
                      <a:pt x="2366" y="782"/>
                    </a:lnTo>
                    <a:lnTo>
                      <a:pt x="2365" y="782"/>
                    </a:lnTo>
                    <a:lnTo>
                      <a:pt x="2365" y="782"/>
                    </a:lnTo>
                    <a:lnTo>
                      <a:pt x="2365" y="782"/>
                    </a:lnTo>
                    <a:lnTo>
                      <a:pt x="2365" y="782"/>
                    </a:lnTo>
                    <a:lnTo>
                      <a:pt x="2364" y="782"/>
                    </a:lnTo>
                    <a:lnTo>
                      <a:pt x="2364" y="780"/>
                    </a:lnTo>
                    <a:lnTo>
                      <a:pt x="2364" y="780"/>
                    </a:lnTo>
                    <a:lnTo>
                      <a:pt x="2363" y="780"/>
                    </a:lnTo>
                    <a:lnTo>
                      <a:pt x="2363" y="780"/>
                    </a:lnTo>
                    <a:lnTo>
                      <a:pt x="2363" y="780"/>
                    </a:lnTo>
                    <a:lnTo>
                      <a:pt x="2363" y="779"/>
                    </a:lnTo>
                    <a:lnTo>
                      <a:pt x="2363" y="779"/>
                    </a:lnTo>
                    <a:lnTo>
                      <a:pt x="2363" y="778"/>
                    </a:lnTo>
                    <a:lnTo>
                      <a:pt x="2363" y="778"/>
                    </a:lnTo>
                    <a:lnTo>
                      <a:pt x="2363" y="778"/>
                    </a:lnTo>
                    <a:lnTo>
                      <a:pt x="2363" y="778"/>
                    </a:lnTo>
                    <a:lnTo>
                      <a:pt x="2363" y="778"/>
                    </a:lnTo>
                    <a:lnTo>
                      <a:pt x="2362" y="778"/>
                    </a:lnTo>
                    <a:lnTo>
                      <a:pt x="2362" y="777"/>
                    </a:lnTo>
                    <a:lnTo>
                      <a:pt x="2362" y="777"/>
                    </a:lnTo>
                    <a:lnTo>
                      <a:pt x="2362" y="777"/>
                    </a:lnTo>
                    <a:lnTo>
                      <a:pt x="2361" y="777"/>
                    </a:lnTo>
                    <a:lnTo>
                      <a:pt x="2361" y="777"/>
                    </a:lnTo>
                    <a:lnTo>
                      <a:pt x="2361" y="777"/>
                    </a:lnTo>
                    <a:lnTo>
                      <a:pt x="2361" y="776"/>
                    </a:lnTo>
                    <a:lnTo>
                      <a:pt x="2361" y="776"/>
                    </a:lnTo>
                    <a:lnTo>
                      <a:pt x="2361" y="776"/>
                    </a:lnTo>
                    <a:lnTo>
                      <a:pt x="2361" y="776"/>
                    </a:lnTo>
                    <a:lnTo>
                      <a:pt x="2360" y="776"/>
                    </a:lnTo>
                    <a:lnTo>
                      <a:pt x="2360" y="776"/>
                    </a:lnTo>
                    <a:lnTo>
                      <a:pt x="2360" y="776"/>
                    </a:lnTo>
                    <a:lnTo>
                      <a:pt x="2360" y="775"/>
                    </a:lnTo>
                    <a:lnTo>
                      <a:pt x="2360" y="775"/>
                    </a:lnTo>
                    <a:lnTo>
                      <a:pt x="2360" y="775"/>
                    </a:lnTo>
                    <a:lnTo>
                      <a:pt x="2360" y="775"/>
                    </a:lnTo>
                    <a:lnTo>
                      <a:pt x="2359" y="775"/>
                    </a:lnTo>
                    <a:lnTo>
                      <a:pt x="2359" y="775"/>
                    </a:lnTo>
                    <a:lnTo>
                      <a:pt x="2359" y="774"/>
                    </a:lnTo>
                    <a:lnTo>
                      <a:pt x="2359" y="774"/>
                    </a:lnTo>
                    <a:lnTo>
                      <a:pt x="2359" y="774"/>
                    </a:lnTo>
                    <a:lnTo>
                      <a:pt x="2359" y="772"/>
                    </a:lnTo>
                    <a:lnTo>
                      <a:pt x="2359" y="772"/>
                    </a:lnTo>
                    <a:lnTo>
                      <a:pt x="2357" y="769"/>
                    </a:lnTo>
                    <a:lnTo>
                      <a:pt x="2357" y="769"/>
                    </a:lnTo>
                    <a:lnTo>
                      <a:pt x="2357" y="769"/>
                    </a:lnTo>
                    <a:lnTo>
                      <a:pt x="2357" y="769"/>
                    </a:lnTo>
                    <a:lnTo>
                      <a:pt x="2356" y="768"/>
                    </a:lnTo>
                    <a:lnTo>
                      <a:pt x="2356" y="768"/>
                    </a:lnTo>
                    <a:lnTo>
                      <a:pt x="2356" y="768"/>
                    </a:lnTo>
                    <a:lnTo>
                      <a:pt x="2356" y="768"/>
                    </a:lnTo>
                    <a:lnTo>
                      <a:pt x="2356" y="768"/>
                    </a:lnTo>
                    <a:lnTo>
                      <a:pt x="2356" y="768"/>
                    </a:lnTo>
                    <a:lnTo>
                      <a:pt x="2356" y="768"/>
                    </a:lnTo>
                    <a:lnTo>
                      <a:pt x="2355" y="768"/>
                    </a:lnTo>
                    <a:lnTo>
                      <a:pt x="2355" y="767"/>
                    </a:lnTo>
                    <a:lnTo>
                      <a:pt x="2355" y="767"/>
                    </a:lnTo>
                    <a:lnTo>
                      <a:pt x="2355" y="767"/>
                    </a:lnTo>
                    <a:lnTo>
                      <a:pt x="2355" y="767"/>
                    </a:lnTo>
                    <a:lnTo>
                      <a:pt x="2355" y="767"/>
                    </a:lnTo>
                    <a:lnTo>
                      <a:pt x="2355" y="767"/>
                    </a:lnTo>
                    <a:lnTo>
                      <a:pt x="2354" y="766"/>
                    </a:lnTo>
                    <a:lnTo>
                      <a:pt x="2354" y="766"/>
                    </a:lnTo>
                    <a:lnTo>
                      <a:pt x="2354" y="766"/>
                    </a:lnTo>
                    <a:lnTo>
                      <a:pt x="2354" y="766"/>
                    </a:lnTo>
                    <a:lnTo>
                      <a:pt x="2354" y="766"/>
                    </a:lnTo>
                    <a:lnTo>
                      <a:pt x="2354" y="765"/>
                    </a:lnTo>
                    <a:lnTo>
                      <a:pt x="2354" y="765"/>
                    </a:lnTo>
                    <a:lnTo>
                      <a:pt x="2354" y="765"/>
                    </a:lnTo>
                    <a:lnTo>
                      <a:pt x="2353" y="765"/>
                    </a:lnTo>
                    <a:lnTo>
                      <a:pt x="2353" y="763"/>
                    </a:lnTo>
                    <a:lnTo>
                      <a:pt x="2353" y="763"/>
                    </a:lnTo>
                    <a:lnTo>
                      <a:pt x="2353" y="763"/>
                    </a:lnTo>
                    <a:lnTo>
                      <a:pt x="2353" y="763"/>
                    </a:lnTo>
                    <a:lnTo>
                      <a:pt x="2353" y="763"/>
                    </a:lnTo>
                    <a:lnTo>
                      <a:pt x="2352" y="761"/>
                    </a:lnTo>
                    <a:lnTo>
                      <a:pt x="2352" y="761"/>
                    </a:lnTo>
                    <a:lnTo>
                      <a:pt x="2352" y="761"/>
                    </a:lnTo>
                    <a:lnTo>
                      <a:pt x="2351" y="761"/>
                    </a:lnTo>
                    <a:lnTo>
                      <a:pt x="2351" y="761"/>
                    </a:lnTo>
                    <a:lnTo>
                      <a:pt x="2351" y="761"/>
                    </a:lnTo>
                    <a:lnTo>
                      <a:pt x="2351" y="761"/>
                    </a:lnTo>
                    <a:lnTo>
                      <a:pt x="2351" y="761"/>
                    </a:lnTo>
                    <a:lnTo>
                      <a:pt x="2349" y="761"/>
                    </a:lnTo>
                    <a:lnTo>
                      <a:pt x="2349" y="760"/>
                    </a:lnTo>
                    <a:lnTo>
                      <a:pt x="2349" y="760"/>
                    </a:lnTo>
                    <a:lnTo>
                      <a:pt x="2349" y="760"/>
                    </a:lnTo>
                    <a:lnTo>
                      <a:pt x="2349" y="760"/>
                    </a:lnTo>
                    <a:lnTo>
                      <a:pt x="2349" y="760"/>
                    </a:lnTo>
                    <a:lnTo>
                      <a:pt x="2348" y="760"/>
                    </a:lnTo>
                    <a:lnTo>
                      <a:pt x="2347" y="759"/>
                    </a:lnTo>
                    <a:lnTo>
                      <a:pt x="2347" y="759"/>
                    </a:lnTo>
                    <a:lnTo>
                      <a:pt x="2347" y="759"/>
                    </a:lnTo>
                    <a:lnTo>
                      <a:pt x="2347" y="759"/>
                    </a:lnTo>
                    <a:lnTo>
                      <a:pt x="2347" y="758"/>
                    </a:lnTo>
                    <a:lnTo>
                      <a:pt x="2347" y="758"/>
                    </a:lnTo>
                    <a:lnTo>
                      <a:pt x="2347" y="757"/>
                    </a:lnTo>
                    <a:lnTo>
                      <a:pt x="2346" y="757"/>
                    </a:lnTo>
                    <a:lnTo>
                      <a:pt x="2346" y="757"/>
                    </a:lnTo>
                    <a:lnTo>
                      <a:pt x="2346" y="757"/>
                    </a:lnTo>
                    <a:lnTo>
                      <a:pt x="2346" y="757"/>
                    </a:lnTo>
                    <a:lnTo>
                      <a:pt x="2346" y="757"/>
                    </a:lnTo>
                    <a:lnTo>
                      <a:pt x="2345" y="757"/>
                    </a:lnTo>
                    <a:lnTo>
                      <a:pt x="2345" y="756"/>
                    </a:lnTo>
                    <a:lnTo>
                      <a:pt x="2345" y="756"/>
                    </a:lnTo>
                    <a:lnTo>
                      <a:pt x="2345" y="756"/>
                    </a:lnTo>
                    <a:lnTo>
                      <a:pt x="2345" y="756"/>
                    </a:lnTo>
                    <a:lnTo>
                      <a:pt x="2345" y="754"/>
                    </a:lnTo>
                    <a:lnTo>
                      <a:pt x="2345" y="754"/>
                    </a:lnTo>
                    <a:lnTo>
                      <a:pt x="2345" y="754"/>
                    </a:lnTo>
                    <a:lnTo>
                      <a:pt x="2345" y="754"/>
                    </a:lnTo>
                    <a:lnTo>
                      <a:pt x="2344" y="753"/>
                    </a:lnTo>
                    <a:lnTo>
                      <a:pt x="2344" y="753"/>
                    </a:lnTo>
                    <a:lnTo>
                      <a:pt x="2344" y="753"/>
                    </a:lnTo>
                    <a:lnTo>
                      <a:pt x="2344" y="753"/>
                    </a:lnTo>
                    <a:lnTo>
                      <a:pt x="2344" y="753"/>
                    </a:lnTo>
                    <a:lnTo>
                      <a:pt x="2344" y="752"/>
                    </a:lnTo>
                    <a:lnTo>
                      <a:pt x="2343" y="752"/>
                    </a:lnTo>
                    <a:lnTo>
                      <a:pt x="2343" y="752"/>
                    </a:lnTo>
                    <a:lnTo>
                      <a:pt x="2343" y="752"/>
                    </a:lnTo>
                    <a:lnTo>
                      <a:pt x="2343" y="752"/>
                    </a:lnTo>
                    <a:lnTo>
                      <a:pt x="2343" y="752"/>
                    </a:lnTo>
                    <a:lnTo>
                      <a:pt x="2343" y="752"/>
                    </a:lnTo>
                    <a:lnTo>
                      <a:pt x="2342" y="751"/>
                    </a:lnTo>
                    <a:lnTo>
                      <a:pt x="2342" y="751"/>
                    </a:lnTo>
                    <a:lnTo>
                      <a:pt x="2342" y="751"/>
                    </a:lnTo>
                    <a:lnTo>
                      <a:pt x="2342" y="751"/>
                    </a:lnTo>
                    <a:lnTo>
                      <a:pt x="2342" y="751"/>
                    </a:lnTo>
                    <a:lnTo>
                      <a:pt x="2342" y="751"/>
                    </a:lnTo>
                    <a:lnTo>
                      <a:pt x="2342" y="750"/>
                    </a:lnTo>
                    <a:lnTo>
                      <a:pt x="2340" y="750"/>
                    </a:lnTo>
                    <a:lnTo>
                      <a:pt x="2340" y="750"/>
                    </a:lnTo>
                    <a:lnTo>
                      <a:pt x="2340" y="749"/>
                    </a:lnTo>
                    <a:lnTo>
                      <a:pt x="2340" y="749"/>
                    </a:lnTo>
                    <a:lnTo>
                      <a:pt x="2340" y="749"/>
                    </a:lnTo>
                    <a:lnTo>
                      <a:pt x="2340" y="749"/>
                    </a:lnTo>
                    <a:lnTo>
                      <a:pt x="2340" y="749"/>
                    </a:lnTo>
                    <a:lnTo>
                      <a:pt x="2339" y="749"/>
                    </a:lnTo>
                    <a:lnTo>
                      <a:pt x="2339" y="748"/>
                    </a:lnTo>
                    <a:lnTo>
                      <a:pt x="2339" y="748"/>
                    </a:lnTo>
                    <a:lnTo>
                      <a:pt x="2338" y="748"/>
                    </a:lnTo>
                    <a:lnTo>
                      <a:pt x="2338" y="748"/>
                    </a:lnTo>
                    <a:lnTo>
                      <a:pt x="2338" y="748"/>
                    </a:lnTo>
                    <a:lnTo>
                      <a:pt x="2338" y="746"/>
                    </a:lnTo>
                    <a:lnTo>
                      <a:pt x="2338" y="746"/>
                    </a:lnTo>
                    <a:lnTo>
                      <a:pt x="2338" y="746"/>
                    </a:lnTo>
                    <a:lnTo>
                      <a:pt x="2338" y="745"/>
                    </a:lnTo>
                    <a:lnTo>
                      <a:pt x="2337" y="744"/>
                    </a:lnTo>
                    <a:lnTo>
                      <a:pt x="2337" y="744"/>
                    </a:lnTo>
                    <a:lnTo>
                      <a:pt x="2337" y="744"/>
                    </a:lnTo>
                    <a:lnTo>
                      <a:pt x="2337" y="744"/>
                    </a:lnTo>
                    <a:lnTo>
                      <a:pt x="2337" y="744"/>
                    </a:lnTo>
                    <a:lnTo>
                      <a:pt x="2337" y="743"/>
                    </a:lnTo>
                    <a:lnTo>
                      <a:pt x="2337" y="743"/>
                    </a:lnTo>
                    <a:lnTo>
                      <a:pt x="2336" y="743"/>
                    </a:lnTo>
                    <a:lnTo>
                      <a:pt x="2336" y="742"/>
                    </a:lnTo>
                    <a:lnTo>
                      <a:pt x="2336" y="742"/>
                    </a:lnTo>
                    <a:lnTo>
                      <a:pt x="2336" y="742"/>
                    </a:lnTo>
                    <a:lnTo>
                      <a:pt x="2335" y="742"/>
                    </a:lnTo>
                    <a:lnTo>
                      <a:pt x="2335" y="742"/>
                    </a:lnTo>
                    <a:lnTo>
                      <a:pt x="2335" y="741"/>
                    </a:lnTo>
                    <a:lnTo>
                      <a:pt x="2335" y="740"/>
                    </a:lnTo>
                    <a:lnTo>
                      <a:pt x="2335" y="737"/>
                    </a:lnTo>
                    <a:lnTo>
                      <a:pt x="2335" y="735"/>
                    </a:lnTo>
                    <a:lnTo>
                      <a:pt x="2336" y="732"/>
                    </a:lnTo>
                    <a:lnTo>
                      <a:pt x="2336" y="729"/>
                    </a:lnTo>
                    <a:lnTo>
                      <a:pt x="2337" y="727"/>
                    </a:lnTo>
                    <a:lnTo>
                      <a:pt x="2337" y="727"/>
                    </a:lnTo>
                    <a:lnTo>
                      <a:pt x="2336" y="728"/>
                    </a:lnTo>
                    <a:lnTo>
                      <a:pt x="2336" y="729"/>
                    </a:lnTo>
                    <a:lnTo>
                      <a:pt x="2336" y="729"/>
                    </a:lnTo>
                    <a:lnTo>
                      <a:pt x="2336" y="731"/>
                    </a:lnTo>
                    <a:lnTo>
                      <a:pt x="2336" y="731"/>
                    </a:lnTo>
                    <a:lnTo>
                      <a:pt x="2336" y="731"/>
                    </a:lnTo>
                    <a:lnTo>
                      <a:pt x="2336" y="731"/>
                    </a:lnTo>
                    <a:lnTo>
                      <a:pt x="2336" y="731"/>
                    </a:lnTo>
                    <a:lnTo>
                      <a:pt x="2336" y="731"/>
                    </a:lnTo>
                    <a:lnTo>
                      <a:pt x="2335" y="731"/>
                    </a:lnTo>
                    <a:lnTo>
                      <a:pt x="2335" y="732"/>
                    </a:lnTo>
                    <a:lnTo>
                      <a:pt x="2335" y="733"/>
                    </a:lnTo>
                    <a:lnTo>
                      <a:pt x="2335" y="734"/>
                    </a:lnTo>
                    <a:lnTo>
                      <a:pt x="2335" y="734"/>
                    </a:lnTo>
                    <a:lnTo>
                      <a:pt x="2335" y="734"/>
                    </a:lnTo>
                    <a:lnTo>
                      <a:pt x="2335" y="734"/>
                    </a:lnTo>
                    <a:lnTo>
                      <a:pt x="2335" y="734"/>
                    </a:lnTo>
                    <a:lnTo>
                      <a:pt x="2334" y="734"/>
                    </a:lnTo>
                    <a:lnTo>
                      <a:pt x="2334" y="733"/>
                    </a:lnTo>
                    <a:lnTo>
                      <a:pt x="2334" y="733"/>
                    </a:lnTo>
                    <a:lnTo>
                      <a:pt x="2334" y="733"/>
                    </a:lnTo>
                    <a:lnTo>
                      <a:pt x="2334" y="732"/>
                    </a:lnTo>
                    <a:lnTo>
                      <a:pt x="2334" y="732"/>
                    </a:lnTo>
                    <a:lnTo>
                      <a:pt x="2334" y="732"/>
                    </a:lnTo>
                    <a:lnTo>
                      <a:pt x="2334" y="732"/>
                    </a:lnTo>
                    <a:lnTo>
                      <a:pt x="2334" y="732"/>
                    </a:lnTo>
                    <a:lnTo>
                      <a:pt x="2335" y="732"/>
                    </a:lnTo>
                    <a:lnTo>
                      <a:pt x="2335" y="731"/>
                    </a:lnTo>
                    <a:lnTo>
                      <a:pt x="2335" y="731"/>
                    </a:lnTo>
                    <a:lnTo>
                      <a:pt x="2335" y="731"/>
                    </a:lnTo>
                    <a:lnTo>
                      <a:pt x="2335" y="731"/>
                    </a:lnTo>
                    <a:lnTo>
                      <a:pt x="2335" y="729"/>
                    </a:lnTo>
                    <a:lnTo>
                      <a:pt x="2335" y="729"/>
                    </a:lnTo>
                    <a:lnTo>
                      <a:pt x="2335" y="729"/>
                    </a:lnTo>
                    <a:lnTo>
                      <a:pt x="2335" y="728"/>
                    </a:lnTo>
                    <a:lnTo>
                      <a:pt x="2335" y="728"/>
                    </a:lnTo>
                    <a:lnTo>
                      <a:pt x="2335" y="728"/>
                    </a:lnTo>
                    <a:lnTo>
                      <a:pt x="2335" y="728"/>
                    </a:lnTo>
                    <a:lnTo>
                      <a:pt x="2335" y="728"/>
                    </a:lnTo>
                    <a:lnTo>
                      <a:pt x="2335" y="728"/>
                    </a:lnTo>
                    <a:lnTo>
                      <a:pt x="2335" y="727"/>
                    </a:lnTo>
                    <a:lnTo>
                      <a:pt x="2335" y="727"/>
                    </a:lnTo>
                    <a:lnTo>
                      <a:pt x="2335" y="727"/>
                    </a:lnTo>
                    <a:lnTo>
                      <a:pt x="2335" y="726"/>
                    </a:lnTo>
                    <a:lnTo>
                      <a:pt x="2334" y="726"/>
                    </a:lnTo>
                    <a:lnTo>
                      <a:pt x="2334" y="726"/>
                    </a:lnTo>
                    <a:lnTo>
                      <a:pt x="2334" y="726"/>
                    </a:lnTo>
                    <a:lnTo>
                      <a:pt x="2334" y="726"/>
                    </a:lnTo>
                    <a:lnTo>
                      <a:pt x="2334" y="725"/>
                    </a:lnTo>
                    <a:lnTo>
                      <a:pt x="2334" y="725"/>
                    </a:lnTo>
                    <a:lnTo>
                      <a:pt x="2334" y="725"/>
                    </a:lnTo>
                    <a:lnTo>
                      <a:pt x="2333" y="725"/>
                    </a:lnTo>
                    <a:lnTo>
                      <a:pt x="2333" y="724"/>
                    </a:lnTo>
                    <a:lnTo>
                      <a:pt x="2333" y="724"/>
                    </a:lnTo>
                    <a:lnTo>
                      <a:pt x="2333" y="724"/>
                    </a:lnTo>
                    <a:lnTo>
                      <a:pt x="2333" y="723"/>
                    </a:lnTo>
                    <a:lnTo>
                      <a:pt x="2333" y="723"/>
                    </a:lnTo>
                    <a:lnTo>
                      <a:pt x="2333" y="723"/>
                    </a:lnTo>
                    <a:lnTo>
                      <a:pt x="2331" y="722"/>
                    </a:lnTo>
                    <a:lnTo>
                      <a:pt x="2331" y="722"/>
                    </a:lnTo>
                    <a:lnTo>
                      <a:pt x="2331" y="722"/>
                    </a:lnTo>
                    <a:lnTo>
                      <a:pt x="2331" y="722"/>
                    </a:lnTo>
                    <a:lnTo>
                      <a:pt x="2331" y="722"/>
                    </a:lnTo>
                    <a:lnTo>
                      <a:pt x="2330" y="722"/>
                    </a:lnTo>
                    <a:lnTo>
                      <a:pt x="2330" y="722"/>
                    </a:lnTo>
                    <a:lnTo>
                      <a:pt x="2330" y="722"/>
                    </a:lnTo>
                    <a:lnTo>
                      <a:pt x="2330" y="722"/>
                    </a:lnTo>
                    <a:lnTo>
                      <a:pt x="2330" y="722"/>
                    </a:lnTo>
                    <a:lnTo>
                      <a:pt x="2330" y="722"/>
                    </a:lnTo>
                    <a:lnTo>
                      <a:pt x="2329" y="722"/>
                    </a:lnTo>
                    <a:lnTo>
                      <a:pt x="2329" y="720"/>
                    </a:lnTo>
                    <a:lnTo>
                      <a:pt x="2329" y="720"/>
                    </a:lnTo>
                    <a:lnTo>
                      <a:pt x="2328" y="719"/>
                    </a:lnTo>
                    <a:lnTo>
                      <a:pt x="2328" y="719"/>
                    </a:lnTo>
                    <a:lnTo>
                      <a:pt x="2328" y="719"/>
                    </a:lnTo>
                    <a:lnTo>
                      <a:pt x="2327" y="719"/>
                    </a:lnTo>
                    <a:lnTo>
                      <a:pt x="2327" y="718"/>
                    </a:lnTo>
                    <a:lnTo>
                      <a:pt x="2326" y="718"/>
                    </a:lnTo>
                    <a:lnTo>
                      <a:pt x="2326" y="719"/>
                    </a:lnTo>
                    <a:lnTo>
                      <a:pt x="2326" y="719"/>
                    </a:lnTo>
                    <a:lnTo>
                      <a:pt x="2326" y="718"/>
                    </a:lnTo>
                    <a:lnTo>
                      <a:pt x="2326" y="718"/>
                    </a:lnTo>
                    <a:lnTo>
                      <a:pt x="2325" y="718"/>
                    </a:lnTo>
                    <a:lnTo>
                      <a:pt x="2325" y="718"/>
                    </a:lnTo>
                    <a:lnTo>
                      <a:pt x="2325" y="718"/>
                    </a:lnTo>
                    <a:lnTo>
                      <a:pt x="2325" y="717"/>
                    </a:lnTo>
                    <a:lnTo>
                      <a:pt x="2325" y="717"/>
                    </a:lnTo>
                    <a:lnTo>
                      <a:pt x="2325" y="717"/>
                    </a:lnTo>
                    <a:lnTo>
                      <a:pt x="2323" y="717"/>
                    </a:lnTo>
                    <a:lnTo>
                      <a:pt x="2325" y="716"/>
                    </a:lnTo>
                    <a:lnTo>
                      <a:pt x="2325" y="716"/>
                    </a:lnTo>
                    <a:lnTo>
                      <a:pt x="2325" y="716"/>
                    </a:lnTo>
                    <a:lnTo>
                      <a:pt x="2325" y="716"/>
                    </a:lnTo>
                    <a:lnTo>
                      <a:pt x="2325" y="716"/>
                    </a:lnTo>
                    <a:lnTo>
                      <a:pt x="2325" y="716"/>
                    </a:lnTo>
                    <a:lnTo>
                      <a:pt x="2325" y="716"/>
                    </a:lnTo>
                    <a:lnTo>
                      <a:pt x="2325" y="716"/>
                    </a:lnTo>
                    <a:lnTo>
                      <a:pt x="2325" y="715"/>
                    </a:lnTo>
                    <a:lnTo>
                      <a:pt x="2326" y="715"/>
                    </a:lnTo>
                    <a:lnTo>
                      <a:pt x="2326" y="714"/>
                    </a:lnTo>
                    <a:lnTo>
                      <a:pt x="2326" y="714"/>
                    </a:lnTo>
                    <a:lnTo>
                      <a:pt x="2327" y="714"/>
                    </a:lnTo>
                    <a:lnTo>
                      <a:pt x="2327" y="714"/>
                    </a:lnTo>
                    <a:lnTo>
                      <a:pt x="2327" y="712"/>
                    </a:lnTo>
                    <a:lnTo>
                      <a:pt x="2327" y="712"/>
                    </a:lnTo>
                    <a:lnTo>
                      <a:pt x="2327" y="712"/>
                    </a:lnTo>
                    <a:lnTo>
                      <a:pt x="2328" y="712"/>
                    </a:lnTo>
                    <a:lnTo>
                      <a:pt x="2328" y="712"/>
                    </a:lnTo>
                    <a:lnTo>
                      <a:pt x="2328" y="712"/>
                    </a:lnTo>
                    <a:lnTo>
                      <a:pt x="2328" y="712"/>
                    </a:lnTo>
                    <a:lnTo>
                      <a:pt x="2328" y="712"/>
                    </a:lnTo>
                    <a:lnTo>
                      <a:pt x="2328" y="711"/>
                    </a:lnTo>
                    <a:lnTo>
                      <a:pt x="2329" y="711"/>
                    </a:lnTo>
                    <a:lnTo>
                      <a:pt x="2328" y="711"/>
                    </a:lnTo>
                    <a:lnTo>
                      <a:pt x="2328" y="710"/>
                    </a:lnTo>
                    <a:lnTo>
                      <a:pt x="2329" y="710"/>
                    </a:lnTo>
                    <a:lnTo>
                      <a:pt x="2329" y="711"/>
                    </a:lnTo>
                    <a:lnTo>
                      <a:pt x="2329" y="711"/>
                    </a:lnTo>
                    <a:lnTo>
                      <a:pt x="2329" y="711"/>
                    </a:lnTo>
                    <a:lnTo>
                      <a:pt x="2329" y="711"/>
                    </a:lnTo>
                    <a:lnTo>
                      <a:pt x="2329" y="711"/>
                    </a:lnTo>
                    <a:lnTo>
                      <a:pt x="2329" y="712"/>
                    </a:lnTo>
                    <a:lnTo>
                      <a:pt x="2329" y="712"/>
                    </a:lnTo>
                    <a:lnTo>
                      <a:pt x="2330" y="711"/>
                    </a:lnTo>
                    <a:lnTo>
                      <a:pt x="2330" y="711"/>
                    </a:lnTo>
                    <a:lnTo>
                      <a:pt x="2330" y="711"/>
                    </a:lnTo>
                    <a:lnTo>
                      <a:pt x="2330" y="709"/>
                    </a:lnTo>
                    <a:lnTo>
                      <a:pt x="2330" y="709"/>
                    </a:lnTo>
                    <a:lnTo>
                      <a:pt x="2330" y="709"/>
                    </a:lnTo>
                    <a:lnTo>
                      <a:pt x="2330" y="709"/>
                    </a:lnTo>
                    <a:lnTo>
                      <a:pt x="2330" y="709"/>
                    </a:lnTo>
                    <a:lnTo>
                      <a:pt x="2330" y="709"/>
                    </a:lnTo>
                    <a:lnTo>
                      <a:pt x="2331" y="709"/>
                    </a:lnTo>
                    <a:lnTo>
                      <a:pt x="2331" y="709"/>
                    </a:lnTo>
                    <a:lnTo>
                      <a:pt x="2331" y="709"/>
                    </a:lnTo>
                    <a:lnTo>
                      <a:pt x="2331" y="709"/>
                    </a:lnTo>
                    <a:lnTo>
                      <a:pt x="2331" y="709"/>
                    </a:lnTo>
                    <a:lnTo>
                      <a:pt x="2331" y="708"/>
                    </a:lnTo>
                    <a:lnTo>
                      <a:pt x="2333" y="708"/>
                    </a:lnTo>
                    <a:lnTo>
                      <a:pt x="2333" y="707"/>
                    </a:lnTo>
                    <a:lnTo>
                      <a:pt x="2333" y="707"/>
                    </a:lnTo>
                    <a:lnTo>
                      <a:pt x="2333" y="707"/>
                    </a:lnTo>
                    <a:lnTo>
                      <a:pt x="2333" y="707"/>
                    </a:lnTo>
                    <a:lnTo>
                      <a:pt x="2333" y="706"/>
                    </a:lnTo>
                    <a:lnTo>
                      <a:pt x="2334" y="706"/>
                    </a:lnTo>
                    <a:lnTo>
                      <a:pt x="2334" y="706"/>
                    </a:lnTo>
                    <a:lnTo>
                      <a:pt x="2334" y="706"/>
                    </a:lnTo>
                    <a:lnTo>
                      <a:pt x="2334" y="703"/>
                    </a:lnTo>
                    <a:lnTo>
                      <a:pt x="2334" y="703"/>
                    </a:lnTo>
                    <a:lnTo>
                      <a:pt x="2334" y="703"/>
                    </a:lnTo>
                    <a:lnTo>
                      <a:pt x="2335" y="703"/>
                    </a:lnTo>
                    <a:lnTo>
                      <a:pt x="2335" y="702"/>
                    </a:lnTo>
                    <a:lnTo>
                      <a:pt x="2335" y="702"/>
                    </a:lnTo>
                    <a:lnTo>
                      <a:pt x="2335" y="702"/>
                    </a:lnTo>
                    <a:lnTo>
                      <a:pt x="2335" y="702"/>
                    </a:lnTo>
                    <a:lnTo>
                      <a:pt x="2335" y="701"/>
                    </a:lnTo>
                    <a:lnTo>
                      <a:pt x="2335" y="702"/>
                    </a:lnTo>
                    <a:lnTo>
                      <a:pt x="2334" y="702"/>
                    </a:lnTo>
                    <a:lnTo>
                      <a:pt x="2334" y="701"/>
                    </a:lnTo>
                    <a:lnTo>
                      <a:pt x="2334" y="701"/>
                    </a:lnTo>
                    <a:lnTo>
                      <a:pt x="2334" y="701"/>
                    </a:lnTo>
                    <a:lnTo>
                      <a:pt x="2336" y="701"/>
                    </a:lnTo>
                    <a:lnTo>
                      <a:pt x="2336" y="700"/>
                    </a:lnTo>
                    <a:lnTo>
                      <a:pt x="2336" y="700"/>
                    </a:lnTo>
                    <a:lnTo>
                      <a:pt x="2336" y="700"/>
                    </a:lnTo>
                    <a:lnTo>
                      <a:pt x="2336" y="700"/>
                    </a:lnTo>
                    <a:lnTo>
                      <a:pt x="2336" y="700"/>
                    </a:lnTo>
                    <a:lnTo>
                      <a:pt x="2336" y="700"/>
                    </a:lnTo>
                    <a:lnTo>
                      <a:pt x="2336" y="699"/>
                    </a:lnTo>
                    <a:lnTo>
                      <a:pt x="2336" y="699"/>
                    </a:lnTo>
                    <a:lnTo>
                      <a:pt x="2336" y="699"/>
                    </a:lnTo>
                    <a:lnTo>
                      <a:pt x="2335" y="699"/>
                    </a:lnTo>
                    <a:lnTo>
                      <a:pt x="2336" y="699"/>
                    </a:lnTo>
                    <a:lnTo>
                      <a:pt x="2335" y="698"/>
                    </a:lnTo>
                    <a:lnTo>
                      <a:pt x="2335" y="697"/>
                    </a:lnTo>
                    <a:lnTo>
                      <a:pt x="2335" y="697"/>
                    </a:lnTo>
                    <a:lnTo>
                      <a:pt x="2335" y="697"/>
                    </a:lnTo>
                    <a:lnTo>
                      <a:pt x="2335" y="697"/>
                    </a:lnTo>
                    <a:lnTo>
                      <a:pt x="2334" y="697"/>
                    </a:lnTo>
                    <a:lnTo>
                      <a:pt x="2334" y="697"/>
                    </a:lnTo>
                    <a:lnTo>
                      <a:pt x="2334" y="695"/>
                    </a:lnTo>
                    <a:lnTo>
                      <a:pt x="2334" y="695"/>
                    </a:lnTo>
                    <a:lnTo>
                      <a:pt x="2334" y="695"/>
                    </a:lnTo>
                    <a:lnTo>
                      <a:pt x="2334" y="695"/>
                    </a:lnTo>
                    <a:lnTo>
                      <a:pt x="2335" y="695"/>
                    </a:lnTo>
                    <a:lnTo>
                      <a:pt x="2335" y="695"/>
                    </a:lnTo>
                    <a:lnTo>
                      <a:pt x="2336" y="697"/>
                    </a:lnTo>
                    <a:lnTo>
                      <a:pt x="2336" y="697"/>
                    </a:lnTo>
                    <a:lnTo>
                      <a:pt x="2336" y="697"/>
                    </a:lnTo>
                    <a:lnTo>
                      <a:pt x="2336" y="694"/>
                    </a:lnTo>
                    <a:lnTo>
                      <a:pt x="2337" y="695"/>
                    </a:lnTo>
                    <a:lnTo>
                      <a:pt x="2337" y="695"/>
                    </a:lnTo>
                    <a:lnTo>
                      <a:pt x="2337" y="695"/>
                    </a:lnTo>
                    <a:lnTo>
                      <a:pt x="2337" y="695"/>
                    </a:lnTo>
                    <a:lnTo>
                      <a:pt x="2337" y="695"/>
                    </a:lnTo>
                    <a:lnTo>
                      <a:pt x="2337" y="695"/>
                    </a:lnTo>
                    <a:lnTo>
                      <a:pt x="2337" y="697"/>
                    </a:lnTo>
                    <a:lnTo>
                      <a:pt x="2338" y="697"/>
                    </a:lnTo>
                    <a:lnTo>
                      <a:pt x="2338" y="697"/>
                    </a:lnTo>
                    <a:lnTo>
                      <a:pt x="2339" y="697"/>
                    </a:lnTo>
                    <a:lnTo>
                      <a:pt x="2339" y="698"/>
                    </a:lnTo>
                    <a:lnTo>
                      <a:pt x="2339" y="698"/>
                    </a:lnTo>
                    <a:lnTo>
                      <a:pt x="2339" y="698"/>
                    </a:lnTo>
                    <a:lnTo>
                      <a:pt x="2339" y="698"/>
                    </a:lnTo>
                    <a:lnTo>
                      <a:pt x="2340" y="698"/>
                    </a:lnTo>
                    <a:lnTo>
                      <a:pt x="2340" y="698"/>
                    </a:lnTo>
                    <a:lnTo>
                      <a:pt x="2340" y="698"/>
                    </a:lnTo>
                    <a:lnTo>
                      <a:pt x="2340" y="698"/>
                    </a:lnTo>
                    <a:lnTo>
                      <a:pt x="2340" y="698"/>
                    </a:lnTo>
                    <a:lnTo>
                      <a:pt x="2340" y="697"/>
                    </a:lnTo>
                    <a:lnTo>
                      <a:pt x="2340" y="697"/>
                    </a:lnTo>
                    <a:lnTo>
                      <a:pt x="2340" y="697"/>
                    </a:lnTo>
                    <a:lnTo>
                      <a:pt x="2340" y="697"/>
                    </a:lnTo>
                    <a:lnTo>
                      <a:pt x="2340" y="697"/>
                    </a:lnTo>
                    <a:lnTo>
                      <a:pt x="2340" y="697"/>
                    </a:lnTo>
                    <a:lnTo>
                      <a:pt x="2342" y="697"/>
                    </a:lnTo>
                    <a:lnTo>
                      <a:pt x="2342" y="697"/>
                    </a:lnTo>
                    <a:lnTo>
                      <a:pt x="2342" y="695"/>
                    </a:lnTo>
                    <a:lnTo>
                      <a:pt x="2342" y="695"/>
                    </a:lnTo>
                    <a:lnTo>
                      <a:pt x="2342" y="697"/>
                    </a:lnTo>
                    <a:lnTo>
                      <a:pt x="2343" y="697"/>
                    </a:lnTo>
                    <a:lnTo>
                      <a:pt x="2343" y="697"/>
                    </a:lnTo>
                    <a:lnTo>
                      <a:pt x="2343" y="697"/>
                    </a:lnTo>
                    <a:lnTo>
                      <a:pt x="2343" y="697"/>
                    </a:lnTo>
                    <a:lnTo>
                      <a:pt x="2343" y="695"/>
                    </a:lnTo>
                    <a:lnTo>
                      <a:pt x="2344" y="695"/>
                    </a:lnTo>
                    <a:lnTo>
                      <a:pt x="2344" y="695"/>
                    </a:lnTo>
                    <a:lnTo>
                      <a:pt x="2344" y="695"/>
                    </a:lnTo>
                    <a:lnTo>
                      <a:pt x="2344" y="697"/>
                    </a:lnTo>
                    <a:lnTo>
                      <a:pt x="2344" y="695"/>
                    </a:lnTo>
                    <a:lnTo>
                      <a:pt x="2345" y="695"/>
                    </a:lnTo>
                    <a:lnTo>
                      <a:pt x="2345" y="697"/>
                    </a:lnTo>
                    <a:lnTo>
                      <a:pt x="2345" y="697"/>
                    </a:lnTo>
                    <a:lnTo>
                      <a:pt x="2345" y="695"/>
                    </a:lnTo>
                    <a:lnTo>
                      <a:pt x="2345" y="695"/>
                    </a:lnTo>
                    <a:lnTo>
                      <a:pt x="2345" y="695"/>
                    </a:lnTo>
                    <a:lnTo>
                      <a:pt x="2346" y="695"/>
                    </a:lnTo>
                    <a:lnTo>
                      <a:pt x="2346" y="695"/>
                    </a:lnTo>
                    <a:lnTo>
                      <a:pt x="2346" y="694"/>
                    </a:lnTo>
                    <a:lnTo>
                      <a:pt x="2346" y="694"/>
                    </a:lnTo>
                    <a:lnTo>
                      <a:pt x="2346" y="694"/>
                    </a:lnTo>
                    <a:lnTo>
                      <a:pt x="2346" y="694"/>
                    </a:lnTo>
                    <a:lnTo>
                      <a:pt x="2347" y="694"/>
                    </a:lnTo>
                    <a:lnTo>
                      <a:pt x="2347" y="694"/>
                    </a:lnTo>
                    <a:lnTo>
                      <a:pt x="2348" y="694"/>
                    </a:lnTo>
                    <a:lnTo>
                      <a:pt x="2348" y="694"/>
                    </a:lnTo>
                    <a:lnTo>
                      <a:pt x="2347" y="694"/>
                    </a:lnTo>
                    <a:lnTo>
                      <a:pt x="2347" y="694"/>
                    </a:lnTo>
                    <a:lnTo>
                      <a:pt x="2347" y="694"/>
                    </a:lnTo>
                    <a:lnTo>
                      <a:pt x="2347" y="693"/>
                    </a:lnTo>
                    <a:lnTo>
                      <a:pt x="2348" y="693"/>
                    </a:lnTo>
                    <a:lnTo>
                      <a:pt x="2348" y="693"/>
                    </a:lnTo>
                    <a:lnTo>
                      <a:pt x="2348" y="693"/>
                    </a:lnTo>
                    <a:lnTo>
                      <a:pt x="2348" y="693"/>
                    </a:lnTo>
                    <a:lnTo>
                      <a:pt x="2348" y="693"/>
                    </a:lnTo>
                    <a:lnTo>
                      <a:pt x="2348" y="692"/>
                    </a:lnTo>
                    <a:lnTo>
                      <a:pt x="2349" y="692"/>
                    </a:lnTo>
                    <a:lnTo>
                      <a:pt x="2349" y="692"/>
                    </a:lnTo>
                    <a:lnTo>
                      <a:pt x="2349" y="692"/>
                    </a:lnTo>
                    <a:lnTo>
                      <a:pt x="2349" y="692"/>
                    </a:lnTo>
                    <a:lnTo>
                      <a:pt x="2349" y="692"/>
                    </a:lnTo>
                    <a:lnTo>
                      <a:pt x="2351" y="692"/>
                    </a:lnTo>
                    <a:lnTo>
                      <a:pt x="2351" y="692"/>
                    </a:lnTo>
                    <a:lnTo>
                      <a:pt x="2351" y="692"/>
                    </a:lnTo>
                    <a:lnTo>
                      <a:pt x="2351" y="693"/>
                    </a:lnTo>
                    <a:lnTo>
                      <a:pt x="2351" y="693"/>
                    </a:lnTo>
                    <a:lnTo>
                      <a:pt x="2351" y="693"/>
                    </a:lnTo>
                    <a:lnTo>
                      <a:pt x="2352" y="693"/>
                    </a:lnTo>
                    <a:lnTo>
                      <a:pt x="2352" y="693"/>
                    </a:lnTo>
                    <a:lnTo>
                      <a:pt x="2352" y="693"/>
                    </a:lnTo>
                    <a:lnTo>
                      <a:pt x="2352" y="692"/>
                    </a:lnTo>
                    <a:lnTo>
                      <a:pt x="2352" y="692"/>
                    </a:lnTo>
                    <a:lnTo>
                      <a:pt x="2352" y="692"/>
                    </a:lnTo>
                    <a:lnTo>
                      <a:pt x="2351" y="692"/>
                    </a:lnTo>
                    <a:lnTo>
                      <a:pt x="2351" y="692"/>
                    </a:lnTo>
                    <a:lnTo>
                      <a:pt x="2352" y="692"/>
                    </a:lnTo>
                    <a:lnTo>
                      <a:pt x="2352" y="692"/>
                    </a:lnTo>
                    <a:lnTo>
                      <a:pt x="2352" y="692"/>
                    </a:lnTo>
                    <a:lnTo>
                      <a:pt x="2352" y="691"/>
                    </a:lnTo>
                    <a:lnTo>
                      <a:pt x="2352" y="691"/>
                    </a:lnTo>
                    <a:lnTo>
                      <a:pt x="2352" y="691"/>
                    </a:lnTo>
                    <a:lnTo>
                      <a:pt x="2352" y="691"/>
                    </a:lnTo>
                    <a:lnTo>
                      <a:pt x="2352" y="691"/>
                    </a:lnTo>
                    <a:lnTo>
                      <a:pt x="2351" y="690"/>
                    </a:lnTo>
                    <a:lnTo>
                      <a:pt x="2351" y="690"/>
                    </a:lnTo>
                    <a:lnTo>
                      <a:pt x="2351" y="690"/>
                    </a:lnTo>
                    <a:lnTo>
                      <a:pt x="2351" y="690"/>
                    </a:lnTo>
                    <a:lnTo>
                      <a:pt x="2352" y="690"/>
                    </a:lnTo>
                    <a:lnTo>
                      <a:pt x="2352" y="690"/>
                    </a:lnTo>
                    <a:lnTo>
                      <a:pt x="2352" y="690"/>
                    </a:lnTo>
                    <a:lnTo>
                      <a:pt x="2352" y="690"/>
                    </a:lnTo>
                    <a:lnTo>
                      <a:pt x="2352" y="690"/>
                    </a:lnTo>
                    <a:lnTo>
                      <a:pt x="2352" y="690"/>
                    </a:lnTo>
                    <a:lnTo>
                      <a:pt x="2353" y="690"/>
                    </a:lnTo>
                    <a:lnTo>
                      <a:pt x="2353" y="690"/>
                    </a:lnTo>
                    <a:lnTo>
                      <a:pt x="2353" y="690"/>
                    </a:lnTo>
                    <a:lnTo>
                      <a:pt x="2353" y="690"/>
                    </a:lnTo>
                    <a:lnTo>
                      <a:pt x="2353" y="690"/>
                    </a:lnTo>
                    <a:lnTo>
                      <a:pt x="2353" y="691"/>
                    </a:lnTo>
                    <a:lnTo>
                      <a:pt x="2354" y="691"/>
                    </a:lnTo>
                    <a:lnTo>
                      <a:pt x="2354" y="691"/>
                    </a:lnTo>
                    <a:lnTo>
                      <a:pt x="2354" y="690"/>
                    </a:lnTo>
                    <a:lnTo>
                      <a:pt x="2354" y="690"/>
                    </a:lnTo>
                    <a:lnTo>
                      <a:pt x="2353" y="690"/>
                    </a:lnTo>
                    <a:lnTo>
                      <a:pt x="2353" y="690"/>
                    </a:lnTo>
                    <a:lnTo>
                      <a:pt x="2354" y="690"/>
                    </a:lnTo>
                    <a:lnTo>
                      <a:pt x="2354" y="690"/>
                    </a:lnTo>
                    <a:lnTo>
                      <a:pt x="2354" y="690"/>
                    </a:lnTo>
                    <a:lnTo>
                      <a:pt x="2354" y="690"/>
                    </a:lnTo>
                    <a:lnTo>
                      <a:pt x="2354" y="690"/>
                    </a:lnTo>
                    <a:lnTo>
                      <a:pt x="2354" y="690"/>
                    </a:lnTo>
                    <a:lnTo>
                      <a:pt x="2354" y="690"/>
                    </a:lnTo>
                    <a:lnTo>
                      <a:pt x="2354" y="690"/>
                    </a:lnTo>
                    <a:lnTo>
                      <a:pt x="2354" y="690"/>
                    </a:lnTo>
                    <a:lnTo>
                      <a:pt x="2354" y="689"/>
                    </a:lnTo>
                    <a:lnTo>
                      <a:pt x="2354" y="689"/>
                    </a:lnTo>
                    <a:lnTo>
                      <a:pt x="2354" y="690"/>
                    </a:lnTo>
                    <a:lnTo>
                      <a:pt x="2354" y="690"/>
                    </a:lnTo>
                    <a:lnTo>
                      <a:pt x="2354" y="689"/>
                    </a:lnTo>
                    <a:lnTo>
                      <a:pt x="2354" y="689"/>
                    </a:lnTo>
                    <a:lnTo>
                      <a:pt x="2354" y="689"/>
                    </a:lnTo>
                    <a:lnTo>
                      <a:pt x="2355" y="689"/>
                    </a:lnTo>
                    <a:lnTo>
                      <a:pt x="2355" y="690"/>
                    </a:lnTo>
                    <a:lnTo>
                      <a:pt x="2355" y="690"/>
                    </a:lnTo>
                    <a:lnTo>
                      <a:pt x="2355" y="690"/>
                    </a:lnTo>
                    <a:lnTo>
                      <a:pt x="2355" y="690"/>
                    </a:lnTo>
                    <a:lnTo>
                      <a:pt x="2355" y="690"/>
                    </a:lnTo>
                    <a:lnTo>
                      <a:pt x="2355" y="690"/>
                    </a:lnTo>
                    <a:lnTo>
                      <a:pt x="2355" y="689"/>
                    </a:lnTo>
                    <a:lnTo>
                      <a:pt x="2355" y="689"/>
                    </a:lnTo>
                    <a:lnTo>
                      <a:pt x="2355" y="689"/>
                    </a:lnTo>
                    <a:lnTo>
                      <a:pt x="2355" y="689"/>
                    </a:lnTo>
                    <a:lnTo>
                      <a:pt x="2355" y="689"/>
                    </a:lnTo>
                    <a:lnTo>
                      <a:pt x="2356" y="689"/>
                    </a:lnTo>
                    <a:lnTo>
                      <a:pt x="2356" y="688"/>
                    </a:lnTo>
                    <a:lnTo>
                      <a:pt x="2356" y="688"/>
                    </a:lnTo>
                    <a:lnTo>
                      <a:pt x="2356" y="689"/>
                    </a:lnTo>
                    <a:lnTo>
                      <a:pt x="2357" y="689"/>
                    </a:lnTo>
                    <a:lnTo>
                      <a:pt x="2357" y="689"/>
                    </a:lnTo>
                    <a:lnTo>
                      <a:pt x="2357" y="689"/>
                    </a:lnTo>
                    <a:lnTo>
                      <a:pt x="2357" y="689"/>
                    </a:lnTo>
                    <a:lnTo>
                      <a:pt x="2357" y="689"/>
                    </a:lnTo>
                    <a:lnTo>
                      <a:pt x="2357" y="689"/>
                    </a:lnTo>
                    <a:lnTo>
                      <a:pt x="2357" y="688"/>
                    </a:lnTo>
                    <a:lnTo>
                      <a:pt x="2356" y="688"/>
                    </a:lnTo>
                    <a:lnTo>
                      <a:pt x="2357" y="686"/>
                    </a:lnTo>
                    <a:lnTo>
                      <a:pt x="2357" y="686"/>
                    </a:lnTo>
                    <a:lnTo>
                      <a:pt x="2357" y="686"/>
                    </a:lnTo>
                    <a:lnTo>
                      <a:pt x="2357" y="686"/>
                    </a:lnTo>
                    <a:lnTo>
                      <a:pt x="2357" y="686"/>
                    </a:lnTo>
                    <a:lnTo>
                      <a:pt x="2357" y="686"/>
                    </a:lnTo>
                    <a:lnTo>
                      <a:pt x="2357" y="686"/>
                    </a:lnTo>
                    <a:lnTo>
                      <a:pt x="2357" y="685"/>
                    </a:lnTo>
                    <a:lnTo>
                      <a:pt x="2359" y="685"/>
                    </a:lnTo>
                    <a:lnTo>
                      <a:pt x="2359" y="684"/>
                    </a:lnTo>
                    <a:lnTo>
                      <a:pt x="2359" y="684"/>
                    </a:lnTo>
                    <a:lnTo>
                      <a:pt x="2359" y="683"/>
                    </a:lnTo>
                    <a:lnTo>
                      <a:pt x="2359" y="683"/>
                    </a:lnTo>
                    <a:lnTo>
                      <a:pt x="2359" y="683"/>
                    </a:lnTo>
                    <a:lnTo>
                      <a:pt x="2360" y="683"/>
                    </a:lnTo>
                    <a:lnTo>
                      <a:pt x="2360" y="683"/>
                    </a:lnTo>
                    <a:lnTo>
                      <a:pt x="2360" y="683"/>
                    </a:lnTo>
                    <a:lnTo>
                      <a:pt x="2361" y="683"/>
                    </a:lnTo>
                    <a:lnTo>
                      <a:pt x="2362" y="683"/>
                    </a:lnTo>
                    <a:lnTo>
                      <a:pt x="2361" y="683"/>
                    </a:lnTo>
                    <a:lnTo>
                      <a:pt x="2361" y="683"/>
                    </a:lnTo>
                    <a:lnTo>
                      <a:pt x="2361" y="683"/>
                    </a:lnTo>
                    <a:lnTo>
                      <a:pt x="2361" y="683"/>
                    </a:lnTo>
                    <a:lnTo>
                      <a:pt x="2361" y="682"/>
                    </a:lnTo>
                    <a:lnTo>
                      <a:pt x="2361" y="682"/>
                    </a:lnTo>
                    <a:lnTo>
                      <a:pt x="2360" y="682"/>
                    </a:lnTo>
                    <a:lnTo>
                      <a:pt x="2360" y="682"/>
                    </a:lnTo>
                    <a:lnTo>
                      <a:pt x="2361" y="682"/>
                    </a:lnTo>
                    <a:lnTo>
                      <a:pt x="2361" y="682"/>
                    </a:lnTo>
                    <a:lnTo>
                      <a:pt x="2361" y="682"/>
                    </a:lnTo>
                    <a:lnTo>
                      <a:pt x="2361" y="682"/>
                    </a:lnTo>
                    <a:lnTo>
                      <a:pt x="2362" y="682"/>
                    </a:lnTo>
                    <a:lnTo>
                      <a:pt x="2362" y="683"/>
                    </a:lnTo>
                    <a:lnTo>
                      <a:pt x="2362" y="683"/>
                    </a:lnTo>
                    <a:lnTo>
                      <a:pt x="2362" y="682"/>
                    </a:lnTo>
                    <a:lnTo>
                      <a:pt x="2362" y="682"/>
                    </a:lnTo>
                    <a:lnTo>
                      <a:pt x="2362" y="682"/>
                    </a:lnTo>
                    <a:lnTo>
                      <a:pt x="2362" y="683"/>
                    </a:lnTo>
                    <a:lnTo>
                      <a:pt x="2362" y="683"/>
                    </a:lnTo>
                    <a:lnTo>
                      <a:pt x="2363" y="683"/>
                    </a:lnTo>
                    <a:lnTo>
                      <a:pt x="2363" y="683"/>
                    </a:lnTo>
                    <a:lnTo>
                      <a:pt x="2363" y="682"/>
                    </a:lnTo>
                    <a:lnTo>
                      <a:pt x="2363" y="682"/>
                    </a:lnTo>
                    <a:lnTo>
                      <a:pt x="2363" y="682"/>
                    </a:lnTo>
                    <a:lnTo>
                      <a:pt x="2363" y="682"/>
                    </a:lnTo>
                    <a:lnTo>
                      <a:pt x="2363" y="682"/>
                    </a:lnTo>
                    <a:lnTo>
                      <a:pt x="2363" y="682"/>
                    </a:lnTo>
                    <a:lnTo>
                      <a:pt x="2364" y="682"/>
                    </a:lnTo>
                    <a:lnTo>
                      <a:pt x="2364" y="682"/>
                    </a:lnTo>
                    <a:lnTo>
                      <a:pt x="2364" y="682"/>
                    </a:lnTo>
                    <a:lnTo>
                      <a:pt x="2364" y="682"/>
                    </a:lnTo>
                    <a:lnTo>
                      <a:pt x="2365" y="682"/>
                    </a:lnTo>
                    <a:lnTo>
                      <a:pt x="2365" y="682"/>
                    </a:lnTo>
                    <a:lnTo>
                      <a:pt x="2365" y="682"/>
                    </a:lnTo>
                    <a:lnTo>
                      <a:pt x="2365" y="682"/>
                    </a:lnTo>
                    <a:lnTo>
                      <a:pt x="2365" y="682"/>
                    </a:lnTo>
                    <a:lnTo>
                      <a:pt x="2366" y="682"/>
                    </a:lnTo>
                    <a:lnTo>
                      <a:pt x="2366" y="682"/>
                    </a:lnTo>
                    <a:lnTo>
                      <a:pt x="2366" y="682"/>
                    </a:lnTo>
                    <a:lnTo>
                      <a:pt x="2366" y="682"/>
                    </a:lnTo>
                    <a:lnTo>
                      <a:pt x="2366" y="683"/>
                    </a:lnTo>
                    <a:lnTo>
                      <a:pt x="2366" y="683"/>
                    </a:lnTo>
                    <a:lnTo>
                      <a:pt x="2368" y="682"/>
                    </a:lnTo>
                    <a:lnTo>
                      <a:pt x="2368" y="682"/>
                    </a:lnTo>
                    <a:lnTo>
                      <a:pt x="2368" y="682"/>
                    </a:lnTo>
                    <a:lnTo>
                      <a:pt x="2368" y="682"/>
                    </a:lnTo>
                    <a:lnTo>
                      <a:pt x="2369" y="682"/>
                    </a:lnTo>
                    <a:lnTo>
                      <a:pt x="2369" y="681"/>
                    </a:lnTo>
                    <a:lnTo>
                      <a:pt x="2369" y="681"/>
                    </a:lnTo>
                    <a:lnTo>
                      <a:pt x="2369" y="681"/>
                    </a:lnTo>
                    <a:lnTo>
                      <a:pt x="2370" y="681"/>
                    </a:lnTo>
                    <a:lnTo>
                      <a:pt x="2370" y="681"/>
                    </a:lnTo>
                    <a:lnTo>
                      <a:pt x="2370" y="681"/>
                    </a:lnTo>
                    <a:lnTo>
                      <a:pt x="2371" y="681"/>
                    </a:lnTo>
                    <a:lnTo>
                      <a:pt x="2371" y="680"/>
                    </a:lnTo>
                    <a:lnTo>
                      <a:pt x="2371" y="680"/>
                    </a:lnTo>
                    <a:lnTo>
                      <a:pt x="2371" y="680"/>
                    </a:lnTo>
                    <a:lnTo>
                      <a:pt x="2371" y="680"/>
                    </a:lnTo>
                    <a:lnTo>
                      <a:pt x="2371" y="680"/>
                    </a:lnTo>
                    <a:lnTo>
                      <a:pt x="2371" y="678"/>
                    </a:lnTo>
                    <a:lnTo>
                      <a:pt x="2372" y="678"/>
                    </a:lnTo>
                    <a:lnTo>
                      <a:pt x="2372" y="678"/>
                    </a:lnTo>
                    <a:lnTo>
                      <a:pt x="2372" y="678"/>
                    </a:lnTo>
                    <a:lnTo>
                      <a:pt x="2372" y="678"/>
                    </a:lnTo>
                    <a:lnTo>
                      <a:pt x="2372" y="678"/>
                    </a:lnTo>
                    <a:lnTo>
                      <a:pt x="2372" y="680"/>
                    </a:lnTo>
                    <a:lnTo>
                      <a:pt x="2372" y="680"/>
                    </a:lnTo>
                    <a:lnTo>
                      <a:pt x="2373" y="680"/>
                    </a:lnTo>
                    <a:lnTo>
                      <a:pt x="2373" y="678"/>
                    </a:lnTo>
                    <a:lnTo>
                      <a:pt x="2373" y="678"/>
                    </a:lnTo>
                    <a:lnTo>
                      <a:pt x="2373" y="678"/>
                    </a:lnTo>
                    <a:lnTo>
                      <a:pt x="2373" y="678"/>
                    </a:lnTo>
                    <a:lnTo>
                      <a:pt x="2373" y="678"/>
                    </a:lnTo>
                    <a:lnTo>
                      <a:pt x="2373" y="677"/>
                    </a:lnTo>
                    <a:lnTo>
                      <a:pt x="2374" y="677"/>
                    </a:lnTo>
                    <a:lnTo>
                      <a:pt x="2374" y="677"/>
                    </a:lnTo>
                    <a:lnTo>
                      <a:pt x="2374" y="677"/>
                    </a:lnTo>
                    <a:lnTo>
                      <a:pt x="2374" y="677"/>
                    </a:lnTo>
                    <a:lnTo>
                      <a:pt x="2374" y="677"/>
                    </a:lnTo>
                    <a:lnTo>
                      <a:pt x="2376" y="677"/>
                    </a:lnTo>
                    <a:lnTo>
                      <a:pt x="2376" y="677"/>
                    </a:lnTo>
                    <a:lnTo>
                      <a:pt x="2376" y="677"/>
                    </a:lnTo>
                    <a:lnTo>
                      <a:pt x="2376" y="677"/>
                    </a:lnTo>
                    <a:lnTo>
                      <a:pt x="2376" y="676"/>
                    </a:lnTo>
                    <a:lnTo>
                      <a:pt x="2376" y="676"/>
                    </a:lnTo>
                    <a:lnTo>
                      <a:pt x="2376" y="676"/>
                    </a:lnTo>
                    <a:lnTo>
                      <a:pt x="2376" y="676"/>
                    </a:lnTo>
                    <a:lnTo>
                      <a:pt x="2376" y="676"/>
                    </a:lnTo>
                    <a:lnTo>
                      <a:pt x="2377" y="676"/>
                    </a:lnTo>
                    <a:lnTo>
                      <a:pt x="2377" y="676"/>
                    </a:lnTo>
                    <a:lnTo>
                      <a:pt x="2378" y="676"/>
                    </a:lnTo>
                    <a:lnTo>
                      <a:pt x="2378" y="676"/>
                    </a:lnTo>
                    <a:lnTo>
                      <a:pt x="2378" y="675"/>
                    </a:lnTo>
                    <a:lnTo>
                      <a:pt x="2379" y="675"/>
                    </a:lnTo>
                    <a:lnTo>
                      <a:pt x="2379" y="675"/>
                    </a:lnTo>
                    <a:lnTo>
                      <a:pt x="2380" y="675"/>
                    </a:lnTo>
                    <a:lnTo>
                      <a:pt x="2380" y="675"/>
                    </a:lnTo>
                    <a:lnTo>
                      <a:pt x="2380" y="675"/>
                    </a:lnTo>
                    <a:lnTo>
                      <a:pt x="2380" y="675"/>
                    </a:lnTo>
                    <a:lnTo>
                      <a:pt x="2380" y="675"/>
                    </a:lnTo>
                    <a:lnTo>
                      <a:pt x="2380" y="675"/>
                    </a:lnTo>
                    <a:lnTo>
                      <a:pt x="2381" y="675"/>
                    </a:lnTo>
                    <a:lnTo>
                      <a:pt x="2381" y="674"/>
                    </a:lnTo>
                    <a:lnTo>
                      <a:pt x="2381" y="674"/>
                    </a:lnTo>
                    <a:lnTo>
                      <a:pt x="2381" y="674"/>
                    </a:lnTo>
                    <a:lnTo>
                      <a:pt x="2381" y="674"/>
                    </a:lnTo>
                    <a:lnTo>
                      <a:pt x="2381" y="674"/>
                    </a:lnTo>
                    <a:lnTo>
                      <a:pt x="2381" y="674"/>
                    </a:lnTo>
                    <a:lnTo>
                      <a:pt x="2381" y="674"/>
                    </a:lnTo>
                    <a:lnTo>
                      <a:pt x="2382" y="674"/>
                    </a:lnTo>
                    <a:lnTo>
                      <a:pt x="2382" y="674"/>
                    </a:lnTo>
                    <a:lnTo>
                      <a:pt x="2382" y="674"/>
                    </a:lnTo>
                    <a:lnTo>
                      <a:pt x="2382" y="674"/>
                    </a:lnTo>
                    <a:lnTo>
                      <a:pt x="2382" y="674"/>
                    </a:lnTo>
                    <a:lnTo>
                      <a:pt x="2382" y="674"/>
                    </a:lnTo>
                    <a:lnTo>
                      <a:pt x="2383" y="674"/>
                    </a:lnTo>
                    <a:lnTo>
                      <a:pt x="2383" y="673"/>
                    </a:lnTo>
                    <a:lnTo>
                      <a:pt x="2385" y="673"/>
                    </a:lnTo>
                    <a:lnTo>
                      <a:pt x="2385" y="673"/>
                    </a:lnTo>
                    <a:lnTo>
                      <a:pt x="2386" y="673"/>
                    </a:lnTo>
                    <a:lnTo>
                      <a:pt x="2386" y="673"/>
                    </a:lnTo>
                    <a:lnTo>
                      <a:pt x="2386" y="673"/>
                    </a:lnTo>
                    <a:lnTo>
                      <a:pt x="2387" y="673"/>
                    </a:lnTo>
                    <a:lnTo>
                      <a:pt x="2387" y="673"/>
                    </a:lnTo>
                    <a:lnTo>
                      <a:pt x="2388" y="673"/>
                    </a:lnTo>
                    <a:lnTo>
                      <a:pt x="2388" y="673"/>
                    </a:lnTo>
                    <a:lnTo>
                      <a:pt x="2389" y="673"/>
                    </a:lnTo>
                    <a:lnTo>
                      <a:pt x="2389" y="673"/>
                    </a:lnTo>
                    <a:lnTo>
                      <a:pt x="2389" y="673"/>
                    </a:lnTo>
                    <a:lnTo>
                      <a:pt x="2389" y="674"/>
                    </a:lnTo>
                    <a:lnTo>
                      <a:pt x="2390" y="674"/>
                    </a:lnTo>
                    <a:lnTo>
                      <a:pt x="2390" y="674"/>
                    </a:lnTo>
                    <a:lnTo>
                      <a:pt x="2391" y="674"/>
                    </a:lnTo>
                    <a:lnTo>
                      <a:pt x="2391" y="674"/>
                    </a:lnTo>
                    <a:lnTo>
                      <a:pt x="2391" y="675"/>
                    </a:lnTo>
                    <a:lnTo>
                      <a:pt x="2391" y="675"/>
                    </a:lnTo>
                    <a:lnTo>
                      <a:pt x="2391" y="674"/>
                    </a:lnTo>
                    <a:lnTo>
                      <a:pt x="2393" y="674"/>
                    </a:lnTo>
                    <a:lnTo>
                      <a:pt x="2393" y="674"/>
                    </a:lnTo>
                    <a:lnTo>
                      <a:pt x="2393" y="674"/>
                    </a:lnTo>
                    <a:lnTo>
                      <a:pt x="2393" y="674"/>
                    </a:lnTo>
                    <a:lnTo>
                      <a:pt x="2393" y="674"/>
                    </a:lnTo>
                    <a:lnTo>
                      <a:pt x="2393" y="675"/>
                    </a:lnTo>
                    <a:lnTo>
                      <a:pt x="2393" y="675"/>
                    </a:lnTo>
                    <a:lnTo>
                      <a:pt x="2394" y="675"/>
                    </a:lnTo>
                    <a:lnTo>
                      <a:pt x="2394" y="675"/>
                    </a:lnTo>
                    <a:lnTo>
                      <a:pt x="2394" y="676"/>
                    </a:lnTo>
                    <a:lnTo>
                      <a:pt x="2394" y="676"/>
                    </a:lnTo>
                    <a:lnTo>
                      <a:pt x="2394" y="676"/>
                    </a:lnTo>
                    <a:lnTo>
                      <a:pt x="2394" y="676"/>
                    </a:lnTo>
                    <a:lnTo>
                      <a:pt x="2395" y="676"/>
                    </a:lnTo>
                    <a:lnTo>
                      <a:pt x="2395" y="676"/>
                    </a:lnTo>
                    <a:lnTo>
                      <a:pt x="2395" y="676"/>
                    </a:lnTo>
                    <a:lnTo>
                      <a:pt x="2395" y="675"/>
                    </a:lnTo>
                    <a:lnTo>
                      <a:pt x="2396" y="675"/>
                    </a:lnTo>
                    <a:lnTo>
                      <a:pt x="2396" y="676"/>
                    </a:lnTo>
                    <a:lnTo>
                      <a:pt x="2395" y="676"/>
                    </a:lnTo>
                    <a:lnTo>
                      <a:pt x="2395" y="676"/>
                    </a:lnTo>
                    <a:lnTo>
                      <a:pt x="2396" y="676"/>
                    </a:lnTo>
                    <a:lnTo>
                      <a:pt x="2396" y="676"/>
                    </a:lnTo>
                    <a:lnTo>
                      <a:pt x="2396" y="676"/>
                    </a:lnTo>
                    <a:lnTo>
                      <a:pt x="2396" y="676"/>
                    </a:lnTo>
                    <a:lnTo>
                      <a:pt x="2397" y="676"/>
                    </a:lnTo>
                    <a:lnTo>
                      <a:pt x="2397" y="676"/>
                    </a:lnTo>
                    <a:lnTo>
                      <a:pt x="2397" y="676"/>
                    </a:lnTo>
                    <a:lnTo>
                      <a:pt x="2397" y="675"/>
                    </a:lnTo>
                    <a:lnTo>
                      <a:pt x="2397" y="675"/>
                    </a:lnTo>
                    <a:lnTo>
                      <a:pt x="2397" y="676"/>
                    </a:lnTo>
                    <a:lnTo>
                      <a:pt x="2397" y="676"/>
                    </a:lnTo>
                    <a:lnTo>
                      <a:pt x="2397" y="676"/>
                    </a:lnTo>
                    <a:lnTo>
                      <a:pt x="2397" y="676"/>
                    </a:lnTo>
                    <a:lnTo>
                      <a:pt x="2397" y="677"/>
                    </a:lnTo>
                    <a:lnTo>
                      <a:pt x="2398" y="677"/>
                    </a:lnTo>
                    <a:lnTo>
                      <a:pt x="2398" y="677"/>
                    </a:lnTo>
                    <a:lnTo>
                      <a:pt x="2398" y="677"/>
                    </a:lnTo>
                    <a:lnTo>
                      <a:pt x="2398" y="677"/>
                    </a:lnTo>
                    <a:lnTo>
                      <a:pt x="2399" y="677"/>
                    </a:lnTo>
                    <a:lnTo>
                      <a:pt x="2400" y="677"/>
                    </a:lnTo>
                    <a:lnTo>
                      <a:pt x="2400" y="677"/>
                    </a:lnTo>
                    <a:lnTo>
                      <a:pt x="2400" y="677"/>
                    </a:lnTo>
                    <a:lnTo>
                      <a:pt x="2400" y="677"/>
                    </a:lnTo>
                    <a:lnTo>
                      <a:pt x="2399" y="677"/>
                    </a:lnTo>
                    <a:lnTo>
                      <a:pt x="2399" y="676"/>
                    </a:lnTo>
                    <a:lnTo>
                      <a:pt x="2402" y="676"/>
                    </a:lnTo>
                    <a:lnTo>
                      <a:pt x="2402" y="676"/>
                    </a:lnTo>
                    <a:lnTo>
                      <a:pt x="2402" y="676"/>
                    </a:lnTo>
                    <a:lnTo>
                      <a:pt x="2402" y="676"/>
                    </a:lnTo>
                    <a:lnTo>
                      <a:pt x="2403" y="676"/>
                    </a:lnTo>
                    <a:lnTo>
                      <a:pt x="2403" y="676"/>
                    </a:lnTo>
                    <a:lnTo>
                      <a:pt x="2403" y="675"/>
                    </a:lnTo>
                    <a:lnTo>
                      <a:pt x="2403" y="675"/>
                    </a:lnTo>
                    <a:lnTo>
                      <a:pt x="2403" y="675"/>
                    </a:lnTo>
                    <a:lnTo>
                      <a:pt x="2403" y="675"/>
                    </a:lnTo>
                    <a:lnTo>
                      <a:pt x="2403" y="675"/>
                    </a:lnTo>
                    <a:lnTo>
                      <a:pt x="2403" y="674"/>
                    </a:lnTo>
                    <a:lnTo>
                      <a:pt x="2404" y="674"/>
                    </a:lnTo>
                    <a:lnTo>
                      <a:pt x="2404" y="675"/>
                    </a:lnTo>
                    <a:lnTo>
                      <a:pt x="2405" y="675"/>
                    </a:lnTo>
                    <a:lnTo>
                      <a:pt x="2405" y="675"/>
                    </a:lnTo>
                    <a:lnTo>
                      <a:pt x="2405" y="675"/>
                    </a:lnTo>
                    <a:lnTo>
                      <a:pt x="2407" y="675"/>
                    </a:lnTo>
                    <a:lnTo>
                      <a:pt x="2407" y="675"/>
                    </a:lnTo>
                    <a:lnTo>
                      <a:pt x="2408" y="675"/>
                    </a:lnTo>
                    <a:lnTo>
                      <a:pt x="2408" y="675"/>
                    </a:lnTo>
                    <a:lnTo>
                      <a:pt x="2408" y="675"/>
                    </a:lnTo>
                    <a:lnTo>
                      <a:pt x="2410" y="675"/>
                    </a:lnTo>
                    <a:lnTo>
                      <a:pt x="2410" y="675"/>
                    </a:lnTo>
                    <a:lnTo>
                      <a:pt x="2410" y="676"/>
                    </a:lnTo>
                    <a:lnTo>
                      <a:pt x="2411" y="676"/>
                    </a:lnTo>
                    <a:lnTo>
                      <a:pt x="2411" y="676"/>
                    </a:lnTo>
                    <a:lnTo>
                      <a:pt x="2412" y="677"/>
                    </a:lnTo>
                    <a:lnTo>
                      <a:pt x="2412" y="677"/>
                    </a:lnTo>
                    <a:lnTo>
                      <a:pt x="2412" y="677"/>
                    </a:lnTo>
                    <a:lnTo>
                      <a:pt x="2412" y="678"/>
                    </a:lnTo>
                    <a:lnTo>
                      <a:pt x="2412" y="678"/>
                    </a:lnTo>
                    <a:lnTo>
                      <a:pt x="2412" y="680"/>
                    </a:lnTo>
                    <a:lnTo>
                      <a:pt x="2412" y="680"/>
                    </a:lnTo>
                    <a:lnTo>
                      <a:pt x="2413" y="681"/>
                    </a:lnTo>
                    <a:lnTo>
                      <a:pt x="2413" y="681"/>
                    </a:lnTo>
                    <a:lnTo>
                      <a:pt x="2413" y="682"/>
                    </a:lnTo>
                    <a:lnTo>
                      <a:pt x="2413" y="682"/>
                    </a:lnTo>
                    <a:lnTo>
                      <a:pt x="2414" y="683"/>
                    </a:lnTo>
                    <a:lnTo>
                      <a:pt x="2414" y="683"/>
                    </a:lnTo>
                    <a:lnTo>
                      <a:pt x="2414" y="684"/>
                    </a:lnTo>
                    <a:lnTo>
                      <a:pt x="2414" y="684"/>
                    </a:lnTo>
                    <a:lnTo>
                      <a:pt x="2414" y="684"/>
                    </a:lnTo>
                    <a:lnTo>
                      <a:pt x="2414" y="685"/>
                    </a:lnTo>
                    <a:lnTo>
                      <a:pt x="2415" y="686"/>
                    </a:lnTo>
                    <a:lnTo>
                      <a:pt x="2415" y="686"/>
                    </a:lnTo>
                    <a:lnTo>
                      <a:pt x="2415" y="688"/>
                    </a:lnTo>
                    <a:lnTo>
                      <a:pt x="2415" y="688"/>
                    </a:lnTo>
                    <a:lnTo>
                      <a:pt x="2415" y="689"/>
                    </a:lnTo>
                    <a:lnTo>
                      <a:pt x="2414" y="690"/>
                    </a:lnTo>
                    <a:lnTo>
                      <a:pt x="2414" y="690"/>
                    </a:lnTo>
                    <a:lnTo>
                      <a:pt x="2414" y="691"/>
                    </a:lnTo>
                    <a:lnTo>
                      <a:pt x="2414" y="691"/>
                    </a:lnTo>
                    <a:lnTo>
                      <a:pt x="2414" y="691"/>
                    </a:lnTo>
                    <a:lnTo>
                      <a:pt x="2414" y="692"/>
                    </a:lnTo>
                    <a:lnTo>
                      <a:pt x="2413" y="693"/>
                    </a:lnTo>
                    <a:lnTo>
                      <a:pt x="2413" y="693"/>
                    </a:lnTo>
                    <a:lnTo>
                      <a:pt x="2413" y="694"/>
                    </a:lnTo>
                    <a:lnTo>
                      <a:pt x="2412" y="694"/>
                    </a:lnTo>
                    <a:lnTo>
                      <a:pt x="2412" y="694"/>
                    </a:lnTo>
                    <a:lnTo>
                      <a:pt x="2412" y="695"/>
                    </a:lnTo>
                    <a:lnTo>
                      <a:pt x="2412" y="697"/>
                    </a:lnTo>
                    <a:lnTo>
                      <a:pt x="2412" y="697"/>
                    </a:lnTo>
                    <a:lnTo>
                      <a:pt x="2412" y="698"/>
                    </a:lnTo>
                    <a:lnTo>
                      <a:pt x="2411" y="698"/>
                    </a:lnTo>
                    <a:lnTo>
                      <a:pt x="2411" y="698"/>
                    </a:lnTo>
                    <a:lnTo>
                      <a:pt x="2411" y="698"/>
                    </a:lnTo>
                    <a:lnTo>
                      <a:pt x="2411" y="699"/>
                    </a:lnTo>
                    <a:lnTo>
                      <a:pt x="2411" y="699"/>
                    </a:lnTo>
                    <a:lnTo>
                      <a:pt x="2412" y="699"/>
                    </a:lnTo>
                    <a:lnTo>
                      <a:pt x="2412" y="699"/>
                    </a:lnTo>
                    <a:lnTo>
                      <a:pt x="2412" y="700"/>
                    </a:lnTo>
                    <a:lnTo>
                      <a:pt x="2412" y="700"/>
                    </a:lnTo>
                    <a:lnTo>
                      <a:pt x="2412" y="701"/>
                    </a:lnTo>
                    <a:lnTo>
                      <a:pt x="2413" y="701"/>
                    </a:lnTo>
                    <a:lnTo>
                      <a:pt x="2413" y="702"/>
                    </a:lnTo>
                    <a:lnTo>
                      <a:pt x="2413" y="702"/>
                    </a:lnTo>
                    <a:lnTo>
                      <a:pt x="2414" y="702"/>
                    </a:lnTo>
                    <a:lnTo>
                      <a:pt x="2414" y="702"/>
                    </a:lnTo>
                    <a:lnTo>
                      <a:pt x="2415" y="702"/>
                    </a:lnTo>
                    <a:lnTo>
                      <a:pt x="2415" y="702"/>
                    </a:lnTo>
                    <a:lnTo>
                      <a:pt x="2415" y="702"/>
                    </a:lnTo>
                    <a:lnTo>
                      <a:pt x="2415" y="702"/>
                    </a:lnTo>
                    <a:lnTo>
                      <a:pt x="2416" y="703"/>
                    </a:lnTo>
                    <a:lnTo>
                      <a:pt x="2416" y="703"/>
                    </a:lnTo>
                    <a:lnTo>
                      <a:pt x="2417" y="703"/>
                    </a:lnTo>
                    <a:lnTo>
                      <a:pt x="2419" y="703"/>
                    </a:lnTo>
                    <a:lnTo>
                      <a:pt x="2421" y="703"/>
                    </a:lnTo>
                    <a:lnTo>
                      <a:pt x="2422" y="702"/>
                    </a:lnTo>
                    <a:lnTo>
                      <a:pt x="2422" y="702"/>
                    </a:lnTo>
                    <a:lnTo>
                      <a:pt x="2423" y="702"/>
                    </a:lnTo>
                    <a:lnTo>
                      <a:pt x="2423" y="702"/>
                    </a:lnTo>
                    <a:lnTo>
                      <a:pt x="2423" y="701"/>
                    </a:lnTo>
                    <a:lnTo>
                      <a:pt x="2424" y="701"/>
                    </a:lnTo>
                    <a:lnTo>
                      <a:pt x="2424" y="701"/>
                    </a:lnTo>
                    <a:lnTo>
                      <a:pt x="2424" y="700"/>
                    </a:lnTo>
                    <a:lnTo>
                      <a:pt x="2424" y="700"/>
                    </a:lnTo>
                    <a:lnTo>
                      <a:pt x="2424" y="700"/>
                    </a:lnTo>
                    <a:lnTo>
                      <a:pt x="2425" y="700"/>
                    </a:lnTo>
                    <a:lnTo>
                      <a:pt x="2425" y="700"/>
                    </a:lnTo>
                    <a:lnTo>
                      <a:pt x="2427" y="700"/>
                    </a:lnTo>
                    <a:lnTo>
                      <a:pt x="2428" y="701"/>
                    </a:lnTo>
                    <a:lnTo>
                      <a:pt x="2428" y="701"/>
                    </a:lnTo>
                    <a:lnTo>
                      <a:pt x="2428" y="701"/>
                    </a:lnTo>
                    <a:lnTo>
                      <a:pt x="2428" y="701"/>
                    </a:lnTo>
                    <a:lnTo>
                      <a:pt x="2428" y="702"/>
                    </a:lnTo>
                    <a:lnTo>
                      <a:pt x="2427" y="702"/>
                    </a:lnTo>
                    <a:lnTo>
                      <a:pt x="2427" y="702"/>
                    </a:lnTo>
                    <a:lnTo>
                      <a:pt x="2427" y="702"/>
                    </a:lnTo>
                    <a:lnTo>
                      <a:pt x="2427" y="703"/>
                    </a:lnTo>
                    <a:lnTo>
                      <a:pt x="2427" y="703"/>
                    </a:lnTo>
                    <a:lnTo>
                      <a:pt x="2427" y="705"/>
                    </a:lnTo>
                    <a:lnTo>
                      <a:pt x="2428" y="705"/>
                    </a:lnTo>
                    <a:lnTo>
                      <a:pt x="2428" y="705"/>
                    </a:lnTo>
                    <a:lnTo>
                      <a:pt x="2428" y="706"/>
                    </a:lnTo>
                    <a:lnTo>
                      <a:pt x="2429" y="706"/>
                    </a:lnTo>
                    <a:lnTo>
                      <a:pt x="2429" y="706"/>
                    </a:lnTo>
                    <a:lnTo>
                      <a:pt x="2429" y="707"/>
                    </a:lnTo>
                    <a:lnTo>
                      <a:pt x="2429" y="707"/>
                    </a:lnTo>
                    <a:lnTo>
                      <a:pt x="2429" y="707"/>
                    </a:lnTo>
                    <a:lnTo>
                      <a:pt x="2430" y="708"/>
                    </a:lnTo>
                    <a:lnTo>
                      <a:pt x="2429" y="708"/>
                    </a:lnTo>
                    <a:lnTo>
                      <a:pt x="2429" y="709"/>
                    </a:lnTo>
                    <a:lnTo>
                      <a:pt x="2429" y="709"/>
                    </a:lnTo>
                    <a:lnTo>
                      <a:pt x="2429" y="709"/>
                    </a:lnTo>
                    <a:lnTo>
                      <a:pt x="2429" y="709"/>
                    </a:lnTo>
                    <a:lnTo>
                      <a:pt x="2429" y="709"/>
                    </a:lnTo>
                    <a:lnTo>
                      <a:pt x="2428" y="709"/>
                    </a:lnTo>
                    <a:lnTo>
                      <a:pt x="2428" y="709"/>
                    </a:lnTo>
                    <a:lnTo>
                      <a:pt x="2427" y="709"/>
                    </a:lnTo>
                    <a:lnTo>
                      <a:pt x="2425" y="709"/>
                    </a:lnTo>
                    <a:lnTo>
                      <a:pt x="2424" y="709"/>
                    </a:lnTo>
                    <a:lnTo>
                      <a:pt x="2424" y="709"/>
                    </a:lnTo>
                    <a:lnTo>
                      <a:pt x="2424" y="709"/>
                    </a:lnTo>
                    <a:lnTo>
                      <a:pt x="2421" y="709"/>
                    </a:lnTo>
                    <a:lnTo>
                      <a:pt x="2420" y="709"/>
                    </a:lnTo>
                    <a:lnTo>
                      <a:pt x="2420" y="710"/>
                    </a:lnTo>
                    <a:lnTo>
                      <a:pt x="2420" y="710"/>
                    </a:lnTo>
                    <a:lnTo>
                      <a:pt x="2420" y="710"/>
                    </a:lnTo>
                    <a:lnTo>
                      <a:pt x="2419" y="711"/>
                    </a:lnTo>
                    <a:lnTo>
                      <a:pt x="2419" y="711"/>
                    </a:lnTo>
                    <a:lnTo>
                      <a:pt x="2417" y="711"/>
                    </a:lnTo>
                    <a:lnTo>
                      <a:pt x="2417" y="712"/>
                    </a:lnTo>
                    <a:lnTo>
                      <a:pt x="2417" y="714"/>
                    </a:lnTo>
                    <a:lnTo>
                      <a:pt x="2417" y="714"/>
                    </a:lnTo>
                    <a:lnTo>
                      <a:pt x="2417" y="714"/>
                    </a:lnTo>
                    <a:lnTo>
                      <a:pt x="2417" y="715"/>
                    </a:lnTo>
                    <a:lnTo>
                      <a:pt x="2416" y="715"/>
                    </a:lnTo>
                    <a:lnTo>
                      <a:pt x="2416" y="716"/>
                    </a:lnTo>
                    <a:lnTo>
                      <a:pt x="2416" y="716"/>
                    </a:lnTo>
                    <a:lnTo>
                      <a:pt x="2416" y="717"/>
                    </a:lnTo>
                    <a:lnTo>
                      <a:pt x="2415" y="717"/>
                    </a:lnTo>
                    <a:lnTo>
                      <a:pt x="2415" y="717"/>
                    </a:lnTo>
                    <a:lnTo>
                      <a:pt x="2415" y="718"/>
                    </a:lnTo>
                    <a:lnTo>
                      <a:pt x="2415" y="718"/>
                    </a:lnTo>
                    <a:lnTo>
                      <a:pt x="2415" y="718"/>
                    </a:lnTo>
                    <a:lnTo>
                      <a:pt x="2414" y="718"/>
                    </a:lnTo>
                    <a:lnTo>
                      <a:pt x="2414" y="718"/>
                    </a:lnTo>
                    <a:lnTo>
                      <a:pt x="2414" y="718"/>
                    </a:lnTo>
                    <a:lnTo>
                      <a:pt x="2414" y="718"/>
                    </a:lnTo>
                    <a:lnTo>
                      <a:pt x="2413" y="718"/>
                    </a:lnTo>
                    <a:lnTo>
                      <a:pt x="2413" y="717"/>
                    </a:lnTo>
                    <a:lnTo>
                      <a:pt x="2413" y="717"/>
                    </a:lnTo>
                    <a:lnTo>
                      <a:pt x="2413" y="717"/>
                    </a:lnTo>
                    <a:lnTo>
                      <a:pt x="2414" y="717"/>
                    </a:lnTo>
                    <a:lnTo>
                      <a:pt x="2414" y="716"/>
                    </a:lnTo>
                    <a:lnTo>
                      <a:pt x="2414" y="716"/>
                    </a:lnTo>
                    <a:lnTo>
                      <a:pt x="2414" y="715"/>
                    </a:lnTo>
                    <a:lnTo>
                      <a:pt x="2415" y="715"/>
                    </a:lnTo>
                    <a:lnTo>
                      <a:pt x="2415" y="714"/>
                    </a:lnTo>
                    <a:lnTo>
                      <a:pt x="2415" y="714"/>
                    </a:lnTo>
                    <a:lnTo>
                      <a:pt x="2415" y="712"/>
                    </a:lnTo>
                    <a:lnTo>
                      <a:pt x="2416" y="712"/>
                    </a:lnTo>
                    <a:lnTo>
                      <a:pt x="2416" y="712"/>
                    </a:lnTo>
                    <a:lnTo>
                      <a:pt x="2416" y="711"/>
                    </a:lnTo>
                    <a:lnTo>
                      <a:pt x="2416" y="711"/>
                    </a:lnTo>
                    <a:lnTo>
                      <a:pt x="2417" y="710"/>
                    </a:lnTo>
                    <a:lnTo>
                      <a:pt x="2417" y="710"/>
                    </a:lnTo>
                    <a:lnTo>
                      <a:pt x="2417" y="710"/>
                    </a:lnTo>
                    <a:lnTo>
                      <a:pt x="2419" y="709"/>
                    </a:lnTo>
                    <a:lnTo>
                      <a:pt x="2419" y="709"/>
                    </a:lnTo>
                    <a:lnTo>
                      <a:pt x="2419" y="709"/>
                    </a:lnTo>
                    <a:lnTo>
                      <a:pt x="2420" y="709"/>
                    </a:lnTo>
                    <a:lnTo>
                      <a:pt x="2420" y="709"/>
                    </a:lnTo>
                    <a:lnTo>
                      <a:pt x="2420" y="708"/>
                    </a:lnTo>
                    <a:lnTo>
                      <a:pt x="2422" y="708"/>
                    </a:lnTo>
                    <a:lnTo>
                      <a:pt x="2423" y="708"/>
                    </a:lnTo>
                    <a:lnTo>
                      <a:pt x="2423" y="708"/>
                    </a:lnTo>
                    <a:lnTo>
                      <a:pt x="2424" y="708"/>
                    </a:lnTo>
                    <a:lnTo>
                      <a:pt x="2424" y="708"/>
                    </a:lnTo>
                    <a:lnTo>
                      <a:pt x="2425" y="707"/>
                    </a:lnTo>
                    <a:lnTo>
                      <a:pt x="2425" y="707"/>
                    </a:lnTo>
                    <a:lnTo>
                      <a:pt x="2425" y="706"/>
                    </a:lnTo>
                    <a:lnTo>
                      <a:pt x="2425" y="706"/>
                    </a:lnTo>
                    <a:lnTo>
                      <a:pt x="2425" y="705"/>
                    </a:lnTo>
                    <a:lnTo>
                      <a:pt x="2424" y="705"/>
                    </a:lnTo>
                    <a:lnTo>
                      <a:pt x="2424" y="705"/>
                    </a:lnTo>
                    <a:lnTo>
                      <a:pt x="2423" y="705"/>
                    </a:lnTo>
                    <a:lnTo>
                      <a:pt x="2423" y="705"/>
                    </a:lnTo>
                    <a:lnTo>
                      <a:pt x="2423" y="705"/>
                    </a:lnTo>
                    <a:lnTo>
                      <a:pt x="2422" y="705"/>
                    </a:lnTo>
                    <a:lnTo>
                      <a:pt x="2422" y="705"/>
                    </a:lnTo>
                    <a:lnTo>
                      <a:pt x="2421" y="705"/>
                    </a:lnTo>
                    <a:lnTo>
                      <a:pt x="2421" y="705"/>
                    </a:lnTo>
                    <a:lnTo>
                      <a:pt x="2420" y="706"/>
                    </a:lnTo>
                    <a:lnTo>
                      <a:pt x="2420" y="706"/>
                    </a:lnTo>
                    <a:lnTo>
                      <a:pt x="2420" y="706"/>
                    </a:lnTo>
                    <a:lnTo>
                      <a:pt x="2419" y="706"/>
                    </a:lnTo>
                    <a:lnTo>
                      <a:pt x="2419" y="705"/>
                    </a:lnTo>
                    <a:lnTo>
                      <a:pt x="2417" y="705"/>
                    </a:lnTo>
                    <a:lnTo>
                      <a:pt x="2416" y="705"/>
                    </a:lnTo>
                    <a:lnTo>
                      <a:pt x="2413" y="705"/>
                    </a:lnTo>
                    <a:lnTo>
                      <a:pt x="2412" y="705"/>
                    </a:lnTo>
                    <a:lnTo>
                      <a:pt x="2408" y="705"/>
                    </a:lnTo>
                    <a:lnTo>
                      <a:pt x="2407" y="705"/>
                    </a:lnTo>
                    <a:lnTo>
                      <a:pt x="2407" y="703"/>
                    </a:lnTo>
                    <a:lnTo>
                      <a:pt x="2406" y="703"/>
                    </a:lnTo>
                    <a:lnTo>
                      <a:pt x="2405" y="703"/>
                    </a:lnTo>
                    <a:lnTo>
                      <a:pt x="2405" y="703"/>
                    </a:lnTo>
                    <a:lnTo>
                      <a:pt x="2403" y="703"/>
                    </a:lnTo>
                    <a:lnTo>
                      <a:pt x="2403" y="703"/>
                    </a:lnTo>
                    <a:lnTo>
                      <a:pt x="2399" y="703"/>
                    </a:lnTo>
                    <a:lnTo>
                      <a:pt x="2398" y="702"/>
                    </a:lnTo>
                    <a:lnTo>
                      <a:pt x="2398" y="702"/>
                    </a:lnTo>
                    <a:lnTo>
                      <a:pt x="2398" y="702"/>
                    </a:lnTo>
                    <a:lnTo>
                      <a:pt x="2398" y="702"/>
                    </a:lnTo>
                    <a:lnTo>
                      <a:pt x="2397" y="702"/>
                    </a:lnTo>
                    <a:lnTo>
                      <a:pt x="2397" y="702"/>
                    </a:lnTo>
                    <a:lnTo>
                      <a:pt x="2396" y="702"/>
                    </a:lnTo>
                    <a:lnTo>
                      <a:pt x="2396" y="702"/>
                    </a:lnTo>
                    <a:lnTo>
                      <a:pt x="2396" y="702"/>
                    </a:lnTo>
                    <a:lnTo>
                      <a:pt x="2396" y="702"/>
                    </a:lnTo>
                    <a:lnTo>
                      <a:pt x="2394" y="702"/>
                    </a:lnTo>
                    <a:lnTo>
                      <a:pt x="2394" y="701"/>
                    </a:lnTo>
                    <a:lnTo>
                      <a:pt x="2394" y="701"/>
                    </a:lnTo>
                    <a:lnTo>
                      <a:pt x="2394" y="701"/>
                    </a:lnTo>
                    <a:lnTo>
                      <a:pt x="2394" y="701"/>
                    </a:lnTo>
                    <a:lnTo>
                      <a:pt x="2394" y="701"/>
                    </a:lnTo>
                    <a:lnTo>
                      <a:pt x="2394" y="701"/>
                    </a:lnTo>
                    <a:lnTo>
                      <a:pt x="2394" y="702"/>
                    </a:lnTo>
                    <a:lnTo>
                      <a:pt x="2393" y="702"/>
                    </a:lnTo>
                    <a:lnTo>
                      <a:pt x="2393" y="702"/>
                    </a:lnTo>
                    <a:lnTo>
                      <a:pt x="2393" y="702"/>
                    </a:lnTo>
                    <a:lnTo>
                      <a:pt x="2393" y="702"/>
                    </a:lnTo>
                    <a:lnTo>
                      <a:pt x="2391" y="702"/>
                    </a:lnTo>
                    <a:lnTo>
                      <a:pt x="2391" y="703"/>
                    </a:lnTo>
                    <a:lnTo>
                      <a:pt x="2390" y="703"/>
                    </a:lnTo>
                    <a:lnTo>
                      <a:pt x="2389" y="702"/>
                    </a:lnTo>
                    <a:lnTo>
                      <a:pt x="2389" y="702"/>
                    </a:lnTo>
                    <a:lnTo>
                      <a:pt x="2389" y="702"/>
                    </a:lnTo>
                    <a:lnTo>
                      <a:pt x="2389" y="703"/>
                    </a:lnTo>
                    <a:lnTo>
                      <a:pt x="2389" y="703"/>
                    </a:lnTo>
                    <a:lnTo>
                      <a:pt x="2388" y="703"/>
                    </a:lnTo>
                    <a:lnTo>
                      <a:pt x="2388" y="703"/>
                    </a:lnTo>
                    <a:lnTo>
                      <a:pt x="2388" y="703"/>
                    </a:lnTo>
                    <a:lnTo>
                      <a:pt x="2388" y="705"/>
                    </a:lnTo>
                    <a:lnTo>
                      <a:pt x="2388" y="705"/>
                    </a:lnTo>
                    <a:lnTo>
                      <a:pt x="2388" y="705"/>
                    </a:lnTo>
                    <a:lnTo>
                      <a:pt x="2388" y="705"/>
                    </a:lnTo>
                    <a:lnTo>
                      <a:pt x="2388" y="705"/>
                    </a:lnTo>
                    <a:lnTo>
                      <a:pt x="2387" y="705"/>
                    </a:lnTo>
                    <a:lnTo>
                      <a:pt x="2387" y="705"/>
                    </a:lnTo>
                    <a:lnTo>
                      <a:pt x="2387" y="706"/>
                    </a:lnTo>
                    <a:lnTo>
                      <a:pt x="2387" y="706"/>
                    </a:lnTo>
                    <a:lnTo>
                      <a:pt x="2387" y="706"/>
                    </a:lnTo>
                    <a:lnTo>
                      <a:pt x="2387" y="706"/>
                    </a:lnTo>
                    <a:lnTo>
                      <a:pt x="2387" y="706"/>
                    </a:lnTo>
                    <a:lnTo>
                      <a:pt x="2387" y="707"/>
                    </a:lnTo>
                    <a:lnTo>
                      <a:pt x="2387" y="707"/>
                    </a:lnTo>
                    <a:lnTo>
                      <a:pt x="2387" y="707"/>
                    </a:lnTo>
                    <a:lnTo>
                      <a:pt x="2387" y="708"/>
                    </a:lnTo>
                    <a:lnTo>
                      <a:pt x="2387" y="708"/>
                    </a:lnTo>
                    <a:lnTo>
                      <a:pt x="2387" y="708"/>
                    </a:lnTo>
                    <a:lnTo>
                      <a:pt x="2387" y="708"/>
                    </a:lnTo>
                    <a:lnTo>
                      <a:pt x="2386" y="708"/>
                    </a:lnTo>
                    <a:lnTo>
                      <a:pt x="2386" y="708"/>
                    </a:lnTo>
                    <a:lnTo>
                      <a:pt x="2386" y="708"/>
                    </a:lnTo>
                    <a:lnTo>
                      <a:pt x="2386" y="708"/>
                    </a:lnTo>
                    <a:lnTo>
                      <a:pt x="2385" y="708"/>
                    </a:lnTo>
                    <a:lnTo>
                      <a:pt x="2385" y="708"/>
                    </a:lnTo>
                    <a:lnTo>
                      <a:pt x="2385" y="709"/>
                    </a:lnTo>
                    <a:lnTo>
                      <a:pt x="2385" y="709"/>
                    </a:lnTo>
                    <a:lnTo>
                      <a:pt x="2385" y="709"/>
                    </a:lnTo>
                    <a:lnTo>
                      <a:pt x="2383" y="709"/>
                    </a:lnTo>
                    <a:lnTo>
                      <a:pt x="2383" y="709"/>
                    </a:lnTo>
                    <a:lnTo>
                      <a:pt x="2383" y="709"/>
                    </a:lnTo>
                    <a:lnTo>
                      <a:pt x="2383" y="709"/>
                    </a:lnTo>
                    <a:lnTo>
                      <a:pt x="2383" y="709"/>
                    </a:lnTo>
                    <a:lnTo>
                      <a:pt x="2383" y="709"/>
                    </a:lnTo>
                    <a:lnTo>
                      <a:pt x="2383" y="709"/>
                    </a:lnTo>
                    <a:lnTo>
                      <a:pt x="2383" y="709"/>
                    </a:lnTo>
                    <a:lnTo>
                      <a:pt x="2383" y="710"/>
                    </a:lnTo>
                    <a:lnTo>
                      <a:pt x="2383" y="710"/>
                    </a:lnTo>
                    <a:lnTo>
                      <a:pt x="2383" y="710"/>
                    </a:lnTo>
                    <a:lnTo>
                      <a:pt x="2386" y="711"/>
                    </a:lnTo>
                    <a:lnTo>
                      <a:pt x="2386" y="712"/>
                    </a:lnTo>
                    <a:lnTo>
                      <a:pt x="2387" y="712"/>
                    </a:lnTo>
                    <a:lnTo>
                      <a:pt x="2387" y="714"/>
                    </a:lnTo>
                    <a:lnTo>
                      <a:pt x="2387" y="714"/>
                    </a:lnTo>
                    <a:lnTo>
                      <a:pt x="2387" y="714"/>
                    </a:lnTo>
                    <a:lnTo>
                      <a:pt x="2387" y="714"/>
                    </a:lnTo>
                    <a:lnTo>
                      <a:pt x="2387" y="714"/>
                    </a:lnTo>
                    <a:lnTo>
                      <a:pt x="2387" y="714"/>
                    </a:lnTo>
                    <a:lnTo>
                      <a:pt x="2387" y="715"/>
                    </a:lnTo>
                    <a:lnTo>
                      <a:pt x="2387" y="715"/>
                    </a:lnTo>
                    <a:lnTo>
                      <a:pt x="2387" y="715"/>
                    </a:lnTo>
                    <a:lnTo>
                      <a:pt x="2389" y="715"/>
                    </a:lnTo>
                    <a:lnTo>
                      <a:pt x="2389" y="715"/>
                    </a:lnTo>
                    <a:lnTo>
                      <a:pt x="2390" y="716"/>
                    </a:lnTo>
                    <a:lnTo>
                      <a:pt x="2390" y="716"/>
                    </a:lnTo>
                    <a:lnTo>
                      <a:pt x="2390" y="716"/>
                    </a:lnTo>
                    <a:lnTo>
                      <a:pt x="2390" y="716"/>
                    </a:lnTo>
                    <a:lnTo>
                      <a:pt x="2391" y="716"/>
                    </a:lnTo>
                    <a:lnTo>
                      <a:pt x="2391" y="717"/>
                    </a:lnTo>
                    <a:lnTo>
                      <a:pt x="2391" y="717"/>
                    </a:lnTo>
                    <a:lnTo>
                      <a:pt x="2390" y="717"/>
                    </a:lnTo>
                    <a:lnTo>
                      <a:pt x="2390" y="717"/>
                    </a:lnTo>
                    <a:lnTo>
                      <a:pt x="2389" y="717"/>
                    </a:lnTo>
                    <a:lnTo>
                      <a:pt x="2389" y="717"/>
                    </a:lnTo>
                    <a:lnTo>
                      <a:pt x="2389" y="717"/>
                    </a:lnTo>
                    <a:lnTo>
                      <a:pt x="2389" y="717"/>
                    </a:lnTo>
                    <a:lnTo>
                      <a:pt x="2389" y="717"/>
                    </a:lnTo>
                    <a:lnTo>
                      <a:pt x="2388" y="717"/>
                    </a:lnTo>
                    <a:lnTo>
                      <a:pt x="2389" y="716"/>
                    </a:lnTo>
                    <a:lnTo>
                      <a:pt x="2389" y="716"/>
                    </a:lnTo>
                    <a:lnTo>
                      <a:pt x="2388" y="716"/>
                    </a:lnTo>
                    <a:lnTo>
                      <a:pt x="2388" y="716"/>
                    </a:lnTo>
                    <a:lnTo>
                      <a:pt x="2387" y="716"/>
                    </a:lnTo>
                    <a:lnTo>
                      <a:pt x="2387" y="717"/>
                    </a:lnTo>
                    <a:lnTo>
                      <a:pt x="2387" y="717"/>
                    </a:lnTo>
                    <a:lnTo>
                      <a:pt x="2387" y="717"/>
                    </a:lnTo>
                    <a:lnTo>
                      <a:pt x="2387" y="717"/>
                    </a:lnTo>
                    <a:lnTo>
                      <a:pt x="2387" y="717"/>
                    </a:lnTo>
                    <a:lnTo>
                      <a:pt x="2387" y="717"/>
                    </a:lnTo>
                    <a:lnTo>
                      <a:pt x="2386" y="717"/>
                    </a:lnTo>
                    <a:lnTo>
                      <a:pt x="2385" y="717"/>
                    </a:lnTo>
                    <a:lnTo>
                      <a:pt x="2385" y="717"/>
                    </a:lnTo>
                    <a:lnTo>
                      <a:pt x="2385" y="717"/>
                    </a:lnTo>
                    <a:lnTo>
                      <a:pt x="2385" y="717"/>
                    </a:lnTo>
                    <a:lnTo>
                      <a:pt x="2383" y="717"/>
                    </a:lnTo>
                    <a:lnTo>
                      <a:pt x="2383" y="717"/>
                    </a:lnTo>
                    <a:lnTo>
                      <a:pt x="2383" y="717"/>
                    </a:lnTo>
                    <a:lnTo>
                      <a:pt x="2383" y="716"/>
                    </a:lnTo>
                    <a:lnTo>
                      <a:pt x="2383" y="716"/>
                    </a:lnTo>
                    <a:lnTo>
                      <a:pt x="2383" y="716"/>
                    </a:lnTo>
                    <a:lnTo>
                      <a:pt x="2382" y="716"/>
                    </a:lnTo>
                    <a:lnTo>
                      <a:pt x="2382" y="716"/>
                    </a:lnTo>
                    <a:lnTo>
                      <a:pt x="2382" y="716"/>
                    </a:lnTo>
                    <a:lnTo>
                      <a:pt x="2382" y="716"/>
                    </a:lnTo>
                    <a:lnTo>
                      <a:pt x="2382" y="716"/>
                    </a:lnTo>
                    <a:lnTo>
                      <a:pt x="2382" y="715"/>
                    </a:lnTo>
                    <a:lnTo>
                      <a:pt x="2382" y="715"/>
                    </a:lnTo>
                    <a:lnTo>
                      <a:pt x="2382" y="715"/>
                    </a:lnTo>
                    <a:lnTo>
                      <a:pt x="2381" y="715"/>
                    </a:lnTo>
                    <a:lnTo>
                      <a:pt x="2381" y="715"/>
                    </a:lnTo>
                    <a:lnTo>
                      <a:pt x="2380" y="715"/>
                    </a:lnTo>
                    <a:lnTo>
                      <a:pt x="2380" y="715"/>
                    </a:lnTo>
                    <a:lnTo>
                      <a:pt x="2380" y="715"/>
                    </a:lnTo>
                    <a:lnTo>
                      <a:pt x="2380" y="715"/>
                    </a:lnTo>
                    <a:lnTo>
                      <a:pt x="2380" y="715"/>
                    </a:lnTo>
                    <a:lnTo>
                      <a:pt x="2379" y="715"/>
                    </a:lnTo>
                    <a:lnTo>
                      <a:pt x="2379" y="715"/>
                    </a:lnTo>
                    <a:lnTo>
                      <a:pt x="2379" y="715"/>
                    </a:lnTo>
                    <a:lnTo>
                      <a:pt x="2379" y="715"/>
                    </a:lnTo>
                    <a:lnTo>
                      <a:pt x="2379" y="715"/>
                    </a:lnTo>
                    <a:lnTo>
                      <a:pt x="2378" y="715"/>
                    </a:lnTo>
                    <a:lnTo>
                      <a:pt x="2378" y="715"/>
                    </a:lnTo>
                    <a:lnTo>
                      <a:pt x="2378" y="715"/>
                    </a:lnTo>
                    <a:lnTo>
                      <a:pt x="2378" y="715"/>
                    </a:lnTo>
                    <a:lnTo>
                      <a:pt x="2377" y="715"/>
                    </a:lnTo>
                    <a:lnTo>
                      <a:pt x="2377" y="715"/>
                    </a:lnTo>
                    <a:lnTo>
                      <a:pt x="2376" y="715"/>
                    </a:lnTo>
                    <a:lnTo>
                      <a:pt x="2376" y="715"/>
                    </a:lnTo>
                    <a:lnTo>
                      <a:pt x="2376" y="715"/>
                    </a:lnTo>
                    <a:lnTo>
                      <a:pt x="2376" y="715"/>
                    </a:lnTo>
                    <a:lnTo>
                      <a:pt x="2374" y="715"/>
                    </a:lnTo>
                    <a:lnTo>
                      <a:pt x="2374" y="715"/>
                    </a:lnTo>
                    <a:lnTo>
                      <a:pt x="2373" y="715"/>
                    </a:lnTo>
                    <a:lnTo>
                      <a:pt x="2373" y="715"/>
                    </a:lnTo>
                    <a:lnTo>
                      <a:pt x="2373" y="715"/>
                    </a:lnTo>
                    <a:lnTo>
                      <a:pt x="2373" y="716"/>
                    </a:lnTo>
                    <a:lnTo>
                      <a:pt x="2373" y="716"/>
                    </a:lnTo>
                    <a:lnTo>
                      <a:pt x="2373" y="716"/>
                    </a:lnTo>
                    <a:lnTo>
                      <a:pt x="2373" y="716"/>
                    </a:lnTo>
                    <a:lnTo>
                      <a:pt x="2373" y="716"/>
                    </a:lnTo>
                    <a:lnTo>
                      <a:pt x="2373" y="716"/>
                    </a:lnTo>
                    <a:lnTo>
                      <a:pt x="2373" y="719"/>
                    </a:lnTo>
                    <a:lnTo>
                      <a:pt x="2373" y="719"/>
                    </a:lnTo>
                    <a:lnTo>
                      <a:pt x="2373" y="719"/>
                    </a:lnTo>
                    <a:lnTo>
                      <a:pt x="2373" y="720"/>
                    </a:lnTo>
                    <a:lnTo>
                      <a:pt x="2374" y="720"/>
                    </a:lnTo>
                    <a:lnTo>
                      <a:pt x="2374" y="720"/>
                    </a:lnTo>
                    <a:lnTo>
                      <a:pt x="2376" y="720"/>
                    </a:lnTo>
                    <a:lnTo>
                      <a:pt x="2376" y="720"/>
                    </a:lnTo>
                    <a:lnTo>
                      <a:pt x="2377" y="720"/>
                    </a:lnTo>
                    <a:lnTo>
                      <a:pt x="2378" y="720"/>
                    </a:lnTo>
                    <a:lnTo>
                      <a:pt x="2379" y="720"/>
                    </a:lnTo>
                    <a:lnTo>
                      <a:pt x="2379" y="722"/>
                    </a:lnTo>
                    <a:lnTo>
                      <a:pt x="2380" y="722"/>
                    </a:lnTo>
                    <a:lnTo>
                      <a:pt x="2380" y="722"/>
                    </a:lnTo>
                    <a:lnTo>
                      <a:pt x="2380" y="722"/>
                    </a:lnTo>
                    <a:lnTo>
                      <a:pt x="2381" y="722"/>
                    </a:lnTo>
                    <a:lnTo>
                      <a:pt x="2381" y="722"/>
                    </a:lnTo>
                    <a:lnTo>
                      <a:pt x="2381" y="722"/>
                    </a:lnTo>
                    <a:lnTo>
                      <a:pt x="2381" y="723"/>
                    </a:lnTo>
                    <a:lnTo>
                      <a:pt x="2381" y="725"/>
                    </a:lnTo>
                    <a:lnTo>
                      <a:pt x="2381" y="725"/>
                    </a:lnTo>
                    <a:lnTo>
                      <a:pt x="2381" y="725"/>
                    </a:lnTo>
                    <a:lnTo>
                      <a:pt x="2382" y="725"/>
                    </a:lnTo>
                    <a:lnTo>
                      <a:pt x="2382" y="726"/>
                    </a:lnTo>
                    <a:lnTo>
                      <a:pt x="2382" y="726"/>
                    </a:lnTo>
                    <a:lnTo>
                      <a:pt x="2382" y="726"/>
                    </a:lnTo>
                    <a:lnTo>
                      <a:pt x="2383" y="726"/>
                    </a:lnTo>
                    <a:lnTo>
                      <a:pt x="2383" y="727"/>
                    </a:lnTo>
                    <a:lnTo>
                      <a:pt x="2383" y="727"/>
                    </a:lnTo>
                    <a:lnTo>
                      <a:pt x="2383" y="727"/>
                    </a:lnTo>
                    <a:lnTo>
                      <a:pt x="2383" y="728"/>
                    </a:lnTo>
                    <a:lnTo>
                      <a:pt x="2383" y="728"/>
                    </a:lnTo>
                    <a:lnTo>
                      <a:pt x="2383" y="729"/>
                    </a:lnTo>
                    <a:lnTo>
                      <a:pt x="2385" y="729"/>
                    </a:lnTo>
                    <a:lnTo>
                      <a:pt x="2385" y="729"/>
                    </a:lnTo>
                    <a:lnTo>
                      <a:pt x="2385" y="729"/>
                    </a:lnTo>
                    <a:lnTo>
                      <a:pt x="2385" y="729"/>
                    </a:lnTo>
                    <a:lnTo>
                      <a:pt x="2385" y="731"/>
                    </a:lnTo>
                    <a:lnTo>
                      <a:pt x="2385" y="731"/>
                    </a:lnTo>
                    <a:lnTo>
                      <a:pt x="2385" y="731"/>
                    </a:lnTo>
                    <a:lnTo>
                      <a:pt x="2385" y="731"/>
                    </a:lnTo>
                    <a:lnTo>
                      <a:pt x="2385" y="732"/>
                    </a:lnTo>
                    <a:lnTo>
                      <a:pt x="2386" y="732"/>
                    </a:lnTo>
                    <a:lnTo>
                      <a:pt x="2386" y="732"/>
                    </a:lnTo>
                    <a:lnTo>
                      <a:pt x="2386" y="732"/>
                    </a:lnTo>
                    <a:lnTo>
                      <a:pt x="2386" y="732"/>
                    </a:lnTo>
                    <a:lnTo>
                      <a:pt x="2387" y="732"/>
                    </a:lnTo>
                    <a:lnTo>
                      <a:pt x="2387" y="733"/>
                    </a:lnTo>
                    <a:lnTo>
                      <a:pt x="2387" y="733"/>
                    </a:lnTo>
                    <a:lnTo>
                      <a:pt x="2387" y="733"/>
                    </a:lnTo>
                    <a:lnTo>
                      <a:pt x="2387" y="733"/>
                    </a:lnTo>
                    <a:lnTo>
                      <a:pt x="2387" y="734"/>
                    </a:lnTo>
                    <a:lnTo>
                      <a:pt x="2388" y="734"/>
                    </a:lnTo>
                    <a:lnTo>
                      <a:pt x="2388" y="734"/>
                    </a:lnTo>
                    <a:lnTo>
                      <a:pt x="2388" y="735"/>
                    </a:lnTo>
                    <a:lnTo>
                      <a:pt x="2388" y="737"/>
                    </a:lnTo>
                    <a:lnTo>
                      <a:pt x="2388" y="737"/>
                    </a:lnTo>
                    <a:lnTo>
                      <a:pt x="2388" y="739"/>
                    </a:lnTo>
                    <a:lnTo>
                      <a:pt x="2387" y="739"/>
                    </a:lnTo>
                    <a:lnTo>
                      <a:pt x="2387" y="739"/>
                    </a:lnTo>
                    <a:lnTo>
                      <a:pt x="2387" y="739"/>
                    </a:lnTo>
                    <a:lnTo>
                      <a:pt x="2387" y="740"/>
                    </a:lnTo>
                    <a:lnTo>
                      <a:pt x="2388" y="740"/>
                    </a:lnTo>
                    <a:lnTo>
                      <a:pt x="2388" y="740"/>
                    </a:lnTo>
                    <a:lnTo>
                      <a:pt x="2390" y="740"/>
                    </a:lnTo>
                    <a:lnTo>
                      <a:pt x="2390" y="740"/>
                    </a:lnTo>
                    <a:lnTo>
                      <a:pt x="2390" y="740"/>
                    </a:lnTo>
                    <a:lnTo>
                      <a:pt x="2390" y="739"/>
                    </a:lnTo>
                    <a:lnTo>
                      <a:pt x="2393" y="739"/>
                    </a:lnTo>
                    <a:lnTo>
                      <a:pt x="2393" y="739"/>
                    </a:lnTo>
                    <a:lnTo>
                      <a:pt x="2393" y="739"/>
                    </a:lnTo>
                    <a:lnTo>
                      <a:pt x="2393" y="739"/>
                    </a:lnTo>
                    <a:lnTo>
                      <a:pt x="2393" y="739"/>
                    </a:lnTo>
                    <a:lnTo>
                      <a:pt x="2393" y="740"/>
                    </a:lnTo>
                    <a:lnTo>
                      <a:pt x="2393" y="740"/>
                    </a:lnTo>
                    <a:lnTo>
                      <a:pt x="2393" y="740"/>
                    </a:lnTo>
                    <a:lnTo>
                      <a:pt x="2393" y="740"/>
                    </a:lnTo>
                    <a:lnTo>
                      <a:pt x="2393" y="741"/>
                    </a:lnTo>
                    <a:lnTo>
                      <a:pt x="2394" y="741"/>
                    </a:lnTo>
                    <a:lnTo>
                      <a:pt x="2394" y="741"/>
                    </a:lnTo>
                    <a:lnTo>
                      <a:pt x="2394" y="742"/>
                    </a:lnTo>
                    <a:lnTo>
                      <a:pt x="2394" y="742"/>
                    </a:lnTo>
                    <a:lnTo>
                      <a:pt x="2394" y="743"/>
                    </a:lnTo>
                    <a:lnTo>
                      <a:pt x="2395" y="743"/>
                    </a:lnTo>
                    <a:lnTo>
                      <a:pt x="2395" y="743"/>
                    </a:lnTo>
                    <a:lnTo>
                      <a:pt x="2395" y="744"/>
                    </a:lnTo>
                    <a:lnTo>
                      <a:pt x="2395" y="744"/>
                    </a:lnTo>
                    <a:lnTo>
                      <a:pt x="2395" y="744"/>
                    </a:lnTo>
                    <a:lnTo>
                      <a:pt x="2395" y="744"/>
                    </a:lnTo>
                    <a:lnTo>
                      <a:pt x="2396" y="744"/>
                    </a:lnTo>
                    <a:lnTo>
                      <a:pt x="2396" y="744"/>
                    </a:lnTo>
                    <a:lnTo>
                      <a:pt x="2397" y="744"/>
                    </a:lnTo>
                    <a:lnTo>
                      <a:pt x="2397" y="744"/>
                    </a:lnTo>
                    <a:lnTo>
                      <a:pt x="2397" y="744"/>
                    </a:lnTo>
                    <a:lnTo>
                      <a:pt x="2398" y="744"/>
                    </a:lnTo>
                    <a:lnTo>
                      <a:pt x="2398" y="744"/>
                    </a:lnTo>
                    <a:lnTo>
                      <a:pt x="2398" y="744"/>
                    </a:lnTo>
                    <a:lnTo>
                      <a:pt x="2399" y="744"/>
                    </a:lnTo>
                    <a:lnTo>
                      <a:pt x="2399" y="744"/>
                    </a:lnTo>
                    <a:lnTo>
                      <a:pt x="2400" y="744"/>
                    </a:lnTo>
                    <a:lnTo>
                      <a:pt x="2400" y="744"/>
                    </a:lnTo>
                    <a:lnTo>
                      <a:pt x="2400" y="745"/>
                    </a:lnTo>
                    <a:lnTo>
                      <a:pt x="2400" y="745"/>
                    </a:lnTo>
                    <a:lnTo>
                      <a:pt x="2400" y="745"/>
                    </a:lnTo>
                    <a:lnTo>
                      <a:pt x="2400" y="745"/>
                    </a:lnTo>
                    <a:lnTo>
                      <a:pt x="2402" y="745"/>
                    </a:lnTo>
                    <a:lnTo>
                      <a:pt x="2402" y="745"/>
                    </a:lnTo>
                    <a:lnTo>
                      <a:pt x="2402" y="745"/>
                    </a:lnTo>
                    <a:lnTo>
                      <a:pt x="2402" y="745"/>
                    </a:lnTo>
                    <a:lnTo>
                      <a:pt x="2403" y="744"/>
                    </a:lnTo>
                    <a:lnTo>
                      <a:pt x="2403" y="744"/>
                    </a:lnTo>
                    <a:lnTo>
                      <a:pt x="2403" y="745"/>
                    </a:lnTo>
                    <a:lnTo>
                      <a:pt x="2404" y="745"/>
                    </a:lnTo>
                    <a:lnTo>
                      <a:pt x="2404" y="745"/>
                    </a:lnTo>
                    <a:lnTo>
                      <a:pt x="2405" y="745"/>
                    </a:lnTo>
                    <a:lnTo>
                      <a:pt x="2405" y="745"/>
                    </a:lnTo>
                    <a:lnTo>
                      <a:pt x="2405" y="745"/>
                    </a:lnTo>
                    <a:lnTo>
                      <a:pt x="2406" y="745"/>
                    </a:lnTo>
                    <a:lnTo>
                      <a:pt x="2406" y="745"/>
                    </a:lnTo>
                    <a:lnTo>
                      <a:pt x="2406" y="746"/>
                    </a:lnTo>
                    <a:lnTo>
                      <a:pt x="2406" y="746"/>
                    </a:lnTo>
                    <a:lnTo>
                      <a:pt x="2406" y="746"/>
                    </a:lnTo>
                    <a:lnTo>
                      <a:pt x="2407" y="746"/>
                    </a:lnTo>
                    <a:lnTo>
                      <a:pt x="2407" y="746"/>
                    </a:lnTo>
                    <a:lnTo>
                      <a:pt x="2407" y="748"/>
                    </a:lnTo>
                    <a:lnTo>
                      <a:pt x="2407" y="749"/>
                    </a:lnTo>
                    <a:lnTo>
                      <a:pt x="2407" y="749"/>
                    </a:lnTo>
                    <a:lnTo>
                      <a:pt x="2406" y="749"/>
                    </a:lnTo>
                    <a:lnTo>
                      <a:pt x="2406" y="749"/>
                    </a:lnTo>
                    <a:lnTo>
                      <a:pt x="2406" y="749"/>
                    </a:lnTo>
                    <a:lnTo>
                      <a:pt x="2406" y="748"/>
                    </a:lnTo>
                    <a:lnTo>
                      <a:pt x="2406" y="748"/>
                    </a:lnTo>
                    <a:lnTo>
                      <a:pt x="2406" y="748"/>
                    </a:lnTo>
                    <a:lnTo>
                      <a:pt x="2406" y="748"/>
                    </a:lnTo>
                    <a:lnTo>
                      <a:pt x="2406" y="748"/>
                    </a:lnTo>
                    <a:lnTo>
                      <a:pt x="2406" y="748"/>
                    </a:lnTo>
                    <a:lnTo>
                      <a:pt x="2406" y="748"/>
                    </a:lnTo>
                    <a:lnTo>
                      <a:pt x="2406" y="749"/>
                    </a:lnTo>
                    <a:lnTo>
                      <a:pt x="2406" y="749"/>
                    </a:lnTo>
                    <a:lnTo>
                      <a:pt x="2406" y="751"/>
                    </a:lnTo>
                    <a:lnTo>
                      <a:pt x="2406" y="751"/>
                    </a:lnTo>
                    <a:lnTo>
                      <a:pt x="2406" y="751"/>
                    </a:lnTo>
                    <a:lnTo>
                      <a:pt x="2406" y="751"/>
                    </a:lnTo>
                    <a:lnTo>
                      <a:pt x="2406" y="752"/>
                    </a:lnTo>
                    <a:lnTo>
                      <a:pt x="2406" y="752"/>
                    </a:lnTo>
                    <a:lnTo>
                      <a:pt x="2405" y="752"/>
                    </a:lnTo>
                    <a:lnTo>
                      <a:pt x="2405" y="753"/>
                    </a:lnTo>
                    <a:lnTo>
                      <a:pt x="2405" y="753"/>
                    </a:lnTo>
                    <a:lnTo>
                      <a:pt x="2405" y="753"/>
                    </a:lnTo>
                    <a:lnTo>
                      <a:pt x="2405" y="753"/>
                    </a:lnTo>
                    <a:lnTo>
                      <a:pt x="2405" y="753"/>
                    </a:lnTo>
                    <a:lnTo>
                      <a:pt x="2405" y="754"/>
                    </a:lnTo>
                    <a:lnTo>
                      <a:pt x="2405" y="754"/>
                    </a:lnTo>
                    <a:lnTo>
                      <a:pt x="2404" y="754"/>
                    </a:lnTo>
                    <a:lnTo>
                      <a:pt x="2404" y="754"/>
                    </a:lnTo>
                    <a:lnTo>
                      <a:pt x="2404" y="754"/>
                    </a:lnTo>
                    <a:lnTo>
                      <a:pt x="2404" y="754"/>
                    </a:lnTo>
                    <a:lnTo>
                      <a:pt x="2404" y="756"/>
                    </a:lnTo>
                    <a:lnTo>
                      <a:pt x="2404" y="756"/>
                    </a:lnTo>
                    <a:lnTo>
                      <a:pt x="2404" y="756"/>
                    </a:lnTo>
                    <a:lnTo>
                      <a:pt x="2404" y="756"/>
                    </a:lnTo>
                    <a:lnTo>
                      <a:pt x="2403" y="756"/>
                    </a:lnTo>
                    <a:lnTo>
                      <a:pt x="2403" y="757"/>
                    </a:lnTo>
                    <a:lnTo>
                      <a:pt x="2403" y="757"/>
                    </a:lnTo>
                    <a:lnTo>
                      <a:pt x="2403" y="757"/>
                    </a:lnTo>
                    <a:lnTo>
                      <a:pt x="2403" y="757"/>
                    </a:lnTo>
                    <a:lnTo>
                      <a:pt x="2403" y="758"/>
                    </a:lnTo>
                    <a:lnTo>
                      <a:pt x="2403" y="758"/>
                    </a:lnTo>
                    <a:lnTo>
                      <a:pt x="2404" y="759"/>
                    </a:lnTo>
                    <a:lnTo>
                      <a:pt x="2404" y="759"/>
                    </a:lnTo>
                    <a:lnTo>
                      <a:pt x="2404" y="759"/>
                    </a:lnTo>
                    <a:lnTo>
                      <a:pt x="2404" y="759"/>
                    </a:lnTo>
                    <a:lnTo>
                      <a:pt x="2404" y="760"/>
                    </a:lnTo>
                    <a:lnTo>
                      <a:pt x="2404" y="760"/>
                    </a:lnTo>
                    <a:lnTo>
                      <a:pt x="2404" y="760"/>
                    </a:lnTo>
                    <a:lnTo>
                      <a:pt x="2404" y="761"/>
                    </a:lnTo>
                    <a:lnTo>
                      <a:pt x="2404" y="761"/>
                    </a:lnTo>
                    <a:lnTo>
                      <a:pt x="2404" y="761"/>
                    </a:lnTo>
                    <a:lnTo>
                      <a:pt x="2403" y="761"/>
                    </a:lnTo>
                    <a:lnTo>
                      <a:pt x="2403" y="762"/>
                    </a:lnTo>
                    <a:lnTo>
                      <a:pt x="2404" y="762"/>
                    </a:lnTo>
                    <a:lnTo>
                      <a:pt x="2404" y="763"/>
                    </a:lnTo>
                    <a:lnTo>
                      <a:pt x="2404" y="763"/>
                    </a:lnTo>
                    <a:lnTo>
                      <a:pt x="2404" y="763"/>
                    </a:lnTo>
                    <a:lnTo>
                      <a:pt x="2405" y="763"/>
                    </a:lnTo>
                    <a:lnTo>
                      <a:pt x="2405" y="763"/>
                    </a:lnTo>
                    <a:lnTo>
                      <a:pt x="2405" y="763"/>
                    </a:lnTo>
                    <a:lnTo>
                      <a:pt x="2405" y="765"/>
                    </a:lnTo>
                    <a:lnTo>
                      <a:pt x="2405" y="765"/>
                    </a:lnTo>
                    <a:lnTo>
                      <a:pt x="2405" y="765"/>
                    </a:lnTo>
                    <a:lnTo>
                      <a:pt x="2405" y="765"/>
                    </a:lnTo>
                    <a:lnTo>
                      <a:pt x="2405" y="766"/>
                    </a:lnTo>
                    <a:lnTo>
                      <a:pt x="2406" y="768"/>
                    </a:lnTo>
                    <a:lnTo>
                      <a:pt x="2407" y="768"/>
                    </a:lnTo>
                    <a:lnTo>
                      <a:pt x="2407" y="768"/>
                    </a:lnTo>
                    <a:lnTo>
                      <a:pt x="2407" y="768"/>
                    </a:lnTo>
                    <a:lnTo>
                      <a:pt x="2407" y="769"/>
                    </a:lnTo>
                    <a:lnTo>
                      <a:pt x="2407" y="769"/>
                    </a:lnTo>
                    <a:lnTo>
                      <a:pt x="2407" y="769"/>
                    </a:lnTo>
                    <a:lnTo>
                      <a:pt x="2407" y="769"/>
                    </a:lnTo>
                    <a:lnTo>
                      <a:pt x="2407" y="769"/>
                    </a:lnTo>
                    <a:lnTo>
                      <a:pt x="2408" y="770"/>
                    </a:lnTo>
                    <a:lnTo>
                      <a:pt x="2408" y="770"/>
                    </a:lnTo>
                    <a:lnTo>
                      <a:pt x="2408" y="770"/>
                    </a:lnTo>
                    <a:lnTo>
                      <a:pt x="2408" y="771"/>
                    </a:lnTo>
                    <a:lnTo>
                      <a:pt x="2408" y="771"/>
                    </a:lnTo>
                    <a:lnTo>
                      <a:pt x="2408" y="772"/>
                    </a:lnTo>
                    <a:lnTo>
                      <a:pt x="2408" y="772"/>
                    </a:lnTo>
                    <a:lnTo>
                      <a:pt x="2410" y="774"/>
                    </a:lnTo>
                    <a:lnTo>
                      <a:pt x="2410" y="774"/>
                    </a:lnTo>
                    <a:lnTo>
                      <a:pt x="2410" y="774"/>
                    </a:lnTo>
                    <a:lnTo>
                      <a:pt x="2410" y="774"/>
                    </a:lnTo>
                    <a:lnTo>
                      <a:pt x="2410" y="774"/>
                    </a:lnTo>
                    <a:lnTo>
                      <a:pt x="2410" y="772"/>
                    </a:lnTo>
                    <a:lnTo>
                      <a:pt x="2410" y="772"/>
                    </a:lnTo>
                    <a:lnTo>
                      <a:pt x="2410" y="772"/>
                    </a:lnTo>
                    <a:lnTo>
                      <a:pt x="2410" y="772"/>
                    </a:lnTo>
                    <a:lnTo>
                      <a:pt x="2410" y="771"/>
                    </a:lnTo>
                    <a:lnTo>
                      <a:pt x="2408" y="771"/>
                    </a:lnTo>
                    <a:lnTo>
                      <a:pt x="2408" y="771"/>
                    </a:lnTo>
                    <a:lnTo>
                      <a:pt x="2408" y="771"/>
                    </a:lnTo>
                    <a:lnTo>
                      <a:pt x="2408" y="769"/>
                    </a:lnTo>
                    <a:lnTo>
                      <a:pt x="2408" y="769"/>
                    </a:lnTo>
                    <a:lnTo>
                      <a:pt x="2408" y="768"/>
                    </a:lnTo>
                    <a:lnTo>
                      <a:pt x="2408" y="768"/>
                    </a:lnTo>
                    <a:lnTo>
                      <a:pt x="2408" y="768"/>
                    </a:lnTo>
                    <a:lnTo>
                      <a:pt x="2408" y="768"/>
                    </a:lnTo>
                    <a:lnTo>
                      <a:pt x="2408" y="767"/>
                    </a:lnTo>
                    <a:lnTo>
                      <a:pt x="2410" y="767"/>
                    </a:lnTo>
                    <a:lnTo>
                      <a:pt x="2410" y="766"/>
                    </a:lnTo>
                    <a:lnTo>
                      <a:pt x="2410" y="766"/>
                    </a:lnTo>
                    <a:lnTo>
                      <a:pt x="2410" y="766"/>
                    </a:lnTo>
                    <a:lnTo>
                      <a:pt x="2410" y="766"/>
                    </a:lnTo>
                    <a:lnTo>
                      <a:pt x="2410" y="766"/>
                    </a:lnTo>
                    <a:lnTo>
                      <a:pt x="2410" y="765"/>
                    </a:lnTo>
                    <a:lnTo>
                      <a:pt x="2410" y="765"/>
                    </a:lnTo>
                    <a:lnTo>
                      <a:pt x="2410" y="763"/>
                    </a:lnTo>
                    <a:lnTo>
                      <a:pt x="2410" y="763"/>
                    </a:lnTo>
                    <a:lnTo>
                      <a:pt x="2410" y="763"/>
                    </a:lnTo>
                    <a:lnTo>
                      <a:pt x="2408" y="763"/>
                    </a:lnTo>
                    <a:lnTo>
                      <a:pt x="2408" y="763"/>
                    </a:lnTo>
                    <a:lnTo>
                      <a:pt x="2408" y="765"/>
                    </a:lnTo>
                    <a:lnTo>
                      <a:pt x="2407" y="765"/>
                    </a:lnTo>
                    <a:lnTo>
                      <a:pt x="2407" y="763"/>
                    </a:lnTo>
                    <a:lnTo>
                      <a:pt x="2408" y="762"/>
                    </a:lnTo>
                    <a:lnTo>
                      <a:pt x="2408" y="762"/>
                    </a:lnTo>
                    <a:lnTo>
                      <a:pt x="2408" y="762"/>
                    </a:lnTo>
                    <a:lnTo>
                      <a:pt x="2408" y="762"/>
                    </a:lnTo>
                    <a:lnTo>
                      <a:pt x="2408" y="761"/>
                    </a:lnTo>
                    <a:lnTo>
                      <a:pt x="2408" y="761"/>
                    </a:lnTo>
                    <a:lnTo>
                      <a:pt x="2410" y="761"/>
                    </a:lnTo>
                    <a:lnTo>
                      <a:pt x="2410" y="761"/>
                    </a:lnTo>
                    <a:lnTo>
                      <a:pt x="2410" y="761"/>
                    </a:lnTo>
                    <a:lnTo>
                      <a:pt x="2410" y="760"/>
                    </a:lnTo>
                    <a:lnTo>
                      <a:pt x="2410" y="760"/>
                    </a:lnTo>
                    <a:lnTo>
                      <a:pt x="2410" y="760"/>
                    </a:lnTo>
                    <a:lnTo>
                      <a:pt x="2410" y="760"/>
                    </a:lnTo>
                    <a:lnTo>
                      <a:pt x="2410" y="760"/>
                    </a:lnTo>
                    <a:lnTo>
                      <a:pt x="2411" y="759"/>
                    </a:lnTo>
                    <a:lnTo>
                      <a:pt x="2411" y="759"/>
                    </a:lnTo>
                    <a:lnTo>
                      <a:pt x="2411" y="759"/>
                    </a:lnTo>
                    <a:lnTo>
                      <a:pt x="2411" y="759"/>
                    </a:lnTo>
                    <a:lnTo>
                      <a:pt x="2411" y="759"/>
                    </a:lnTo>
                    <a:lnTo>
                      <a:pt x="2411" y="758"/>
                    </a:lnTo>
                    <a:lnTo>
                      <a:pt x="2412" y="758"/>
                    </a:lnTo>
                    <a:lnTo>
                      <a:pt x="2412" y="758"/>
                    </a:lnTo>
                    <a:lnTo>
                      <a:pt x="2412" y="758"/>
                    </a:lnTo>
                    <a:lnTo>
                      <a:pt x="2412" y="758"/>
                    </a:lnTo>
                    <a:lnTo>
                      <a:pt x="2412" y="758"/>
                    </a:lnTo>
                    <a:lnTo>
                      <a:pt x="2412" y="757"/>
                    </a:lnTo>
                    <a:lnTo>
                      <a:pt x="2413" y="757"/>
                    </a:lnTo>
                    <a:lnTo>
                      <a:pt x="2413" y="757"/>
                    </a:lnTo>
                    <a:lnTo>
                      <a:pt x="2413" y="757"/>
                    </a:lnTo>
                    <a:lnTo>
                      <a:pt x="2414" y="757"/>
                    </a:lnTo>
                    <a:lnTo>
                      <a:pt x="2414" y="757"/>
                    </a:lnTo>
                    <a:lnTo>
                      <a:pt x="2414" y="758"/>
                    </a:lnTo>
                    <a:lnTo>
                      <a:pt x="2415" y="758"/>
                    </a:lnTo>
                    <a:lnTo>
                      <a:pt x="2415" y="757"/>
                    </a:lnTo>
                    <a:lnTo>
                      <a:pt x="2416" y="757"/>
                    </a:lnTo>
                    <a:lnTo>
                      <a:pt x="2416" y="757"/>
                    </a:lnTo>
                    <a:lnTo>
                      <a:pt x="2419" y="757"/>
                    </a:lnTo>
                    <a:lnTo>
                      <a:pt x="2419" y="757"/>
                    </a:lnTo>
                    <a:lnTo>
                      <a:pt x="2419" y="757"/>
                    </a:lnTo>
                    <a:lnTo>
                      <a:pt x="2420" y="757"/>
                    </a:lnTo>
                    <a:lnTo>
                      <a:pt x="2420" y="757"/>
                    </a:lnTo>
                    <a:lnTo>
                      <a:pt x="2420" y="757"/>
                    </a:lnTo>
                    <a:lnTo>
                      <a:pt x="2422" y="757"/>
                    </a:lnTo>
                    <a:lnTo>
                      <a:pt x="2422" y="757"/>
                    </a:lnTo>
                    <a:lnTo>
                      <a:pt x="2422" y="757"/>
                    </a:lnTo>
                    <a:lnTo>
                      <a:pt x="2422" y="757"/>
                    </a:lnTo>
                    <a:lnTo>
                      <a:pt x="2423" y="757"/>
                    </a:lnTo>
                    <a:lnTo>
                      <a:pt x="2423" y="757"/>
                    </a:lnTo>
                    <a:lnTo>
                      <a:pt x="2423" y="757"/>
                    </a:lnTo>
                    <a:lnTo>
                      <a:pt x="2423" y="758"/>
                    </a:lnTo>
                    <a:lnTo>
                      <a:pt x="2423" y="758"/>
                    </a:lnTo>
                    <a:lnTo>
                      <a:pt x="2423" y="758"/>
                    </a:lnTo>
                    <a:lnTo>
                      <a:pt x="2423" y="759"/>
                    </a:lnTo>
                    <a:lnTo>
                      <a:pt x="2423" y="759"/>
                    </a:lnTo>
                    <a:lnTo>
                      <a:pt x="2423" y="760"/>
                    </a:lnTo>
                    <a:lnTo>
                      <a:pt x="2423" y="760"/>
                    </a:lnTo>
                    <a:lnTo>
                      <a:pt x="2424" y="761"/>
                    </a:lnTo>
                    <a:lnTo>
                      <a:pt x="2424" y="761"/>
                    </a:lnTo>
                    <a:lnTo>
                      <a:pt x="2424" y="761"/>
                    </a:lnTo>
                    <a:lnTo>
                      <a:pt x="2424" y="761"/>
                    </a:lnTo>
                    <a:lnTo>
                      <a:pt x="2424" y="762"/>
                    </a:lnTo>
                    <a:lnTo>
                      <a:pt x="2424" y="762"/>
                    </a:lnTo>
                    <a:lnTo>
                      <a:pt x="2424" y="762"/>
                    </a:lnTo>
                    <a:lnTo>
                      <a:pt x="2424" y="766"/>
                    </a:lnTo>
                    <a:lnTo>
                      <a:pt x="2425" y="766"/>
                    </a:lnTo>
                    <a:lnTo>
                      <a:pt x="2425" y="767"/>
                    </a:lnTo>
                    <a:lnTo>
                      <a:pt x="2425" y="767"/>
                    </a:lnTo>
                    <a:lnTo>
                      <a:pt x="2425" y="767"/>
                    </a:lnTo>
                    <a:lnTo>
                      <a:pt x="2425" y="767"/>
                    </a:lnTo>
                    <a:lnTo>
                      <a:pt x="2425" y="767"/>
                    </a:lnTo>
                    <a:lnTo>
                      <a:pt x="2425" y="767"/>
                    </a:lnTo>
                    <a:lnTo>
                      <a:pt x="2427" y="768"/>
                    </a:lnTo>
                    <a:lnTo>
                      <a:pt x="2427" y="768"/>
                    </a:lnTo>
                    <a:lnTo>
                      <a:pt x="2427" y="768"/>
                    </a:lnTo>
                    <a:lnTo>
                      <a:pt x="2427" y="768"/>
                    </a:lnTo>
                    <a:lnTo>
                      <a:pt x="2428" y="768"/>
                    </a:lnTo>
                    <a:lnTo>
                      <a:pt x="2428" y="768"/>
                    </a:lnTo>
                    <a:lnTo>
                      <a:pt x="2428" y="769"/>
                    </a:lnTo>
                    <a:lnTo>
                      <a:pt x="2428" y="769"/>
                    </a:lnTo>
                    <a:lnTo>
                      <a:pt x="2428" y="769"/>
                    </a:lnTo>
                    <a:lnTo>
                      <a:pt x="2428" y="769"/>
                    </a:lnTo>
                    <a:lnTo>
                      <a:pt x="2429" y="769"/>
                    </a:lnTo>
                    <a:lnTo>
                      <a:pt x="2429" y="769"/>
                    </a:lnTo>
                    <a:lnTo>
                      <a:pt x="2429" y="769"/>
                    </a:lnTo>
                    <a:lnTo>
                      <a:pt x="2429" y="770"/>
                    </a:lnTo>
                    <a:lnTo>
                      <a:pt x="2430" y="770"/>
                    </a:lnTo>
                    <a:lnTo>
                      <a:pt x="2430" y="770"/>
                    </a:lnTo>
                    <a:lnTo>
                      <a:pt x="2430" y="770"/>
                    </a:lnTo>
                    <a:lnTo>
                      <a:pt x="2431" y="770"/>
                    </a:lnTo>
                    <a:lnTo>
                      <a:pt x="2431" y="770"/>
                    </a:lnTo>
                    <a:lnTo>
                      <a:pt x="2431" y="770"/>
                    </a:lnTo>
                    <a:lnTo>
                      <a:pt x="2432" y="771"/>
                    </a:lnTo>
                    <a:lnTo>
                      <a:pt x="2432" y="771"/>
                    </a:lnTo>
                    <a:lnTo>
                      <a:pt x="2432" y="771"/>
                    </a:lnTo>
                    <a:lnTo>
                      <a:pt x="2432" y="771"/>
                    </a:lnTo>
                    <a:lnTo>
                      <a:pt x="2432" y="771"/>
                    </a:lnTo>
                    <a:lnTo>
                      <a:pt x="2432" y="772"/>
                    </a:lnTo>
                    <a:lnTo>
                      <a:pt x="2433" y="772"/>
                    </a:lnTo>
                    <a:lnTo>
                      <a:pt x="2433" y="772"/>
                    </a:lnTo>
                    <a:lnTo>
                      <a:pt x="2433" y="772"/>
                    </a:lnTo>
                    <a:lnTo>
                      <a:pt x="2433" y="772"/>
                    </a:lnTo>
                    <a:lnTo>
                      <a:pt x="2434" y="774"/>
                    </a:lnTo>
                    <a:lnTo>
                      <a:pt x="2434" y="774"/>
                    </a:lnTo>
                    <a:lnTo>
                      <a:pt x="2434" y="774"/>
                    </a:lnTo>
                    <a:lnTo>
                      <a:pt x="2434" y="774"/>
                    </a:lnTo>
                    <a:lnTo>
                      <a:pt x="2434" y="774"/>
                    </a:lnTo>
                    <a:lnTo>
                      <a:pt x="2434" y="774"/>
                    </a:lnTo>
                    <a:lnTo>
                      <a:pt x="2434" y="774"/>
                    </a:lnTo>
                    <a:lnTo>
                      <a:pt x="2434" y="774"/>
                    </a:lnTo>
                    <a:lnTo>
                      <a:pt x="2434" y="774"/>
                    </a:lnTo>
                    <a:lnTo>
                      <a:pt x="2434" y="774"/>
                    </a:lnTo>
                    <a:lnTo>
                      <a:pt x="2434" y="774"/>
                    </a:lnTo>
                    <a:lnTo>
                      <a:pt x="2434" y="775"/>
                    </a:lnTo>
                    <a:lnTo>
                      <a:pt x="2434" y="775"/>
                    </a:lnTo>
                    <a:lnTo>
                      <a:pt x="2434" y="775"/>
                    </a:lnTo>
                    <a:lnTo>
                      <a:pt x="2434" y="775"/>
                    </a:lnTo>
                    <a:lnTo>
                      <a:pt x="2434" y="776"/>
                    </a:lnTo>
                    <a:close/>
                    <a:moveTo>
                      <a:pt x="2516" y="714"/>
                    </a:moveTo>
                    <a:lnTo>
                      <a:pt x="2516" y="714"/>
                    </a:lnTo>
                    <a:lnTo>
                      <a:pt x="2516" y="714"/>
                    </a:lnTo>
                    <a:lnTo>
                      <a:pt x="2516" y="714"/>
                    </a:lnTo>
                    <a:lnTo>
                      <a:pt x="2515" y="715"/>
                    </a:lnTo>
                    <a:lnTo>
                      <a:pt x="2515" y="715"/>
                    </a:lnTo>
                    <a:lnTo>
                      <a:pt x="2514" y="715"/>
                    </a:lnTo>
                    <a:lnTo>
                      <a:pt x="2514" y="715"/>
                    </a:lnTo>
                    <a:lnTo>
                      <a:pt x="2514" y="716"/>
                    </a:lnTo>
                    <a:lnTo>
                      <a:pt x="2514" y="716"/>
                    </a:lnTo>
                    <a:lnTo>
                      <a:pt x="2514" y="717"/>
                    </a:lnTo>
                    <a:lnTo>
                      <a:pt x="2514" y="718"/>
                    </a:lnTo>
                    <a:lnTo>
                      <a:pt x="2514" y="718"/>
                    </a:lnTo>
                    <a:lnTo>
                      <a:pt x="2513" y="718"/>
                    </a:lnTo>
                    <a:lnTo>
                      <a:pt x="2513" y="719"/>
                    </a:lnTo>
                    <a:lnTo>
                      <a:pt x="2511" y="719"/>
                    </a:lnTo>
                    <a:lnTo>
                      <a:pt x="2510" y="719"/>
                    </a:lnTo>
                    <a:lnTo>
                      <a:pt x="2510" y="719"/>
                    </a:lnTo>
                    <a:lnTo>
                      <a:pt x="2510" y="720"/>
                    </a:lnTo>
                    <a:lnTo>
                      <a:pt x="2510" y="720"/>
                    </a:lnTo>
                    <a:lnTo>
                      <a:pt x="2510" y="722"/>
                    </a:lnTo>
                    <a:lnTo>
                      <a:pt x="2509" y="723"/>
                    </a:lnTo>
                    <a:lnTo>
                      <a:pt x="2509" y="723"/>
                    </a:lnTo>
                    <a:lnTo>
                      <a:pt x="2508" y="723"/>
                    </a:lnTo>
                    <a:lnTo>
                      <a:pt x="2508" y="724"/>
                    </a:lnTo>
                    <a:lnTo>
                      <a:pt x="2507" y="724"/>
                    </a:lnTo>
                    <a:lnTo>
                      <a:pt x="2506" y="724"/>
                    </a:lnTo>
                    <a:lnTo>
                      <a:pt x="2505" y="724"/>
                    </a:lnTo>
                    <a:lnTo>
                      <a:pt x="2504" y="724"/>
                    </a:lnTo>
                    <a:lnTo>
                      <a:pt x="2504" y="724"/>
                    </a:lnTo>
                    <a:lnTo>
                      <a:pt x="2502" y="724"/>
                    </a:lnTo>
                    <a:lnTo>
                      <a:pt x="2502" y="724"/>
                    </a:lnTo>
                    <a:lnTo>
                      <a:pt x="2500" y="724"/>
                    </a:lnTo>
                    <a:lnTo>
                      <a:pt x="2500" y="724"/>
                    </a:lnTo>
                    <a:lnTo>
                      <a:pt x="2500" y="724"/>
                    </a:lnTo>
                    <a:lnTo>
                      <a:pt x="2499" y="724"/>
                    </a:lnTo>
                    <a:lnTo>
                      <a:pt x="2499" y="724"/>
                    </a:lnTo>
                    <a:lnTo>
                      <a:pt x="2497" y="724"/>
                    </a:lnTo>
                    <a:lnTo>
                      <a:pt x="2496" y="724"/>
                    </a:lnTo>
                    <a:lnTo>
                      <a:pt x="2496" y="724"/>
                    </a:lnTo>
                    <a:lnTo>
                      <a:pt x="2496" y="725"/>
                    </a:lnTo>
                    <a:lnTo>
                      <a:pt x="2496" y="725"/>
                    </a:lnTo>
                    <a:lnTo>
                      <a:pt x="2496" y="726"/>
                    </a:lnTo>
                    <a:lnTo>
                      <a:pt x="2494" y="725"/>
                    </a:lnTo>
                    <a:lnTo>
                      <a:pt x="2494" y="724"/>
                    </a:lnTo>
                    <a:lnTo>
                      <a:pt x="2496" y="724"/>
                    </a:lnTo>
                    <a:lnTo>
                      <a:pt x="2494" y="724"/>
                    </a:lnTo>
                    <a:lnTo>
                      <a:pt x="2494" y="724"/>
                    </a:lnTo>
                    <a:lnTo>
                      <a:pt x="2494" y="723"/>
                    </a:lnTo>
                    <a:lnTo>
                      <a:pt x="2493" y="723"/>
                    </a:lnTo>
                    <a:lnTo>
                      <a:pt x="2493" y="723"/>
                    </a:lnTo>
                    <a:lnTo>
                      <a:pt x="2493" y="722"/>
                    </a:lnTo>
                    <a:lnTo>
                      <a:pt x="2493" y="720"/>
                    </a:lnTo>
                    <a:lnTo>
                      <a:pt x="2493" y="720"/>
                    </a:lnTo>
                    <a:lnTo>
                      <a:pt x="2493" y="719"/>
                    </a:lnTo>
                    <a:lnTo>
                      <a:pt x="2492" y="719"/>
                    </a:lnTo>
                    <a:lnTo>
                      <a:pt x="2492" y="719"/>
                    </a:lnTo>
                    <a:lnTo>
                      <a:pt x="2491" y="719"/>
                    </a:lnTo>
                    <a:lnTo>
                      <a:pt x="2491" y="719"/>
                    </a:lnTo>
                    <a:lnTo>
                      <a:pt x="2490" y="720"/>
                    </a:lnTo>
                    <a:lnTo>
                      <a:pt x="2488" y="720"/>
                    </a:lnTo>
                    <a:lnTo>
                      <a:pt x="2487" y="719"/>
                    </a:lnTo>
                    <a:lnTo>
                      <a:pt x="2485" y="719"/>
                    </a:lnTo>
                    <a:lnTo>
                      <a:pt x="2484" y="719"/>
                    </a:lnTo>
                    <a:lnTo>
                      <a:pt x="2483" y="719"/>
                    </a:lnTo>
                    <a:lnTo>
                      <a:pt x="2483" y="719"/>
                    </a:lnTo>
                    <a:lnTo>
                      <a:pt x="2483" y="718"/>
                    </a:lnTo>
                    <a:lnTo>
                      <a:pt x="2482" y="718"/>
                    </a:lnTo>
                    <a:lnTo>
                      <a:pt x="2482" y="716"/>
                    </a:lnTo>
                    <a:lnTo>
                      <a:pt x="2483" y="715"/>
                    </a:lnTo>
                    <a:lnTo>
                      <a:pt x="2483" y="715"/>
                    </a:lnTo>
                    <a:lnTo>
                      <a:pt x="2483" y="715"/>
                    </a:lnTo>
                    <a:lnTo>
                      <a:pt x="2483" y="715"/>
                    </a:lnTo>
                    <a:lnTo>
                      <a:pt x="2483" y="714"/>
                    </a:lnTo>
                    <a:lnTo>
                      <a:pt x="2483" y="714"/>
                    </a:lnTo>
                    <a:lnTo>
                      <a:pt x="2483" y="712"/>
                    </a:lnTo>
                    <a:lnTo>
                      <a:pt x="2482" y="712"/>
                    </a:lnTo>
                    <a:lnTo>
                      <a:pt x="2482" y="711"/>
                    </a:lnTo>
                    <a:lnTo>
                      <a:pt x="2482" y="710"/>
                    </a:lnTo>
                    <a:lnTo>
                      <a:pt x="2482" y="710"/>
                    </a:lnTo>
                    <a:lnTo>
                      <a:pt x="2482" y="709"/>
                    </a:lnTo>
                    <a:lnTo>
                      <a:pt x="2483" y="709"/>
                    </a:lnTo>
                    <a:lnTo>
                      <a:pt x="2483" y="708"/>
                    </a:lnTo>
                    <a:lnTo>
                      <a:pt x="2483" y="708"/>
                    </a:lnTo>
                    <a:lnTo>
                      <a:pt x="2483" y="707"/>
                    </a:lnTo>
                    <a:lnTo>
                      <a:pt x="2483" y="707"/>
                    </a:lnTo>
                    <a:lnTo>
                      <a:pt x="2483" y="706"/>
                    </a:lnTo>
                    <a:lnTo>
                      <a:pt x="2484" y="706"/>
                    </a:lnTo>
                    <a:lnTo>
                      <a:pt x="2484" y="705"/>
                    </a:lnTo>
                    <a:lnTo>
                      <a:pt x="2484" y="705"/>
                    </a:lnTo>
                    <a:lnTo>
                      <a:pt x="2484" y="703"/>
                    </a:lnTo>
                    <a:lnTo>
                      <a:pt x="2484" y="703"/>
                    </a:lnTo>
                    <a:lnTo>
                      <a:pt x="2484" y="703"/>
                    </a:lnTo>
                    <a:lnTo>
                      <a:pt x="2485" y="702"/>
                    </a:lnTo>
                    <a:lnTo>
                      <a:pt x="2485" y="702"/>
                    </a:lnTo>
                    <a:lnTo>
                      <a:pt x="2485" y="701"/>
                    </a:lnTo>
                    <a:lnTo>
                      <a:pt x="2487" y="701"/>
                    </a:lnTo>
                    <a:lnTo>
                      <a:pt x="2487" y="701"/>
                    </a:lnTo>
                    <a:lnTo>
                      <a:pt x="2487" y="700"/>
                    </a:lnTo>
                    <a:lnTo>
                      <a:pt x="2487" y="700"/>
                    </a:lnTo>
                    <a:lnTo>
                      <a:pt x="2487" y="700"/>
                    </a:lnTo>
                    <a:lnTo>
                      <a:pt x="2487" y="699"/>
                    </a:lnTo>
                    <a:lnTo>
                      <a:pt x="2487" y="699"/>
                    </a:lnTo>
                    <a:lnTo>
                      <a:pt x="2487" y="699"/>
                    </a:lnTo>
                    <a:lnTo>
                      <a:pt x="2488" y="698"/>
                    </a:lnTo>
                    <a:lnTo>
                      <a:pt x="2488" y="698"/>
                    </a:lnTo>
                    <a:lnTo>
                      <a:pt x="2488" y="697"/>
                    </a:lnTo>
                    <a:lnTo>
                      <a:pt x="2488" y="695"/>
                    </a:lnTo>
                    <a:lnTo>
                      <a:pt x="2488" y="694"/>
                    </a:lnTo>
                    <a:lnTo>
                      <a:pt x="2488" y="694"/>
                    </a:lnTo>
                    <a:lnTo>
                      <a:pt x="2489" y="693"/>
                    </a:lnTo>
                    <a:lnTo>
                      <a:pt x="2489" y="693"/>
                    </a:lnTo>
                    <a:lnTo>
                      <a:pt x="2490" y="693"/>
                    </a:lnTo>
                    <a:lnTo>
                      <a:pt x="2490" y="692"/>
                    </a:lnTo>
                    <a:lnTo>
                      <a:pt x="2491" y="692"/>
                    </a:lnTo>
                    <a:lnTo>
                      <a:pt x="2491" y="693"/>
                    </a:lnTo>
                    <a:lnTo>
                      <a:pt x="2492" y="693"/>
                    </a:lnTo>
                    <a:lnTo>
                      <a:pt x="2492" y="692"/>
                    </a:lnTo>
                    <a:lnTo>
                      <a:pt x="2492" y="692"/>
                    </a:lnTo>
                    <a:lnTo>
                      <a:pt x="2492" y="692"/>
                    </a:lnTo>
                    <a:lnTo>
                      <a:pt x="2492" y="692"/>
                    </a:lnTo>
                    <a:lnTo>
                      <a:pt x="2496" y="692"/>
                    </a:lnTo>
                    <a:lnTo>
                      <a:pt x="2496" y="692"/>
                    </a:lnTo>
                    <a:lnTo>
                      <a:pt x="2496" y="691"/>
                    </a:lnTo>
                    <a:lnTo>
                      <a:pt x="2497" y="691"/>
                    </a:lnTo>
                    <a:lnTo>
                      <a:pt x="2497" y="692"/>
                    </a:lnTo>
                    <a:lnTo>
                      <a:pt x="2497" y="692"/>
                    </a:lnTo>
                    <a:lnTo>
                      <a:pt x="2497" y="693"/>
                    </a:lnTo>
                    <a:lnTo>
                      <a:pt x="2497" y="693"/>
                    </a:lnTo>
                    <a:lnTo>
                      <a:pt x="2496" y="693"/>
                    </a:lnTo>
                    <a:lnTo>
                      <a:pt x="2496" y="693"/>
                    </a:lnTo>
                    <a:lnTo>
                      <a:pt x="2496" y="694"/>
                    </a:lnTo>
                    <a:lnTo>
                      <a:pt x="2496" y="695"/>
                    </a:lnTo>
                    <a:lnTo>
                      <a:pt x="2496" y="695"/>
                    </a:lnTo>
                    <a:lnTo>
                      <a:pt x="2497" y="695"/>
                    </a:lnTo>
                    <a:lnTo>
                      <a:pt x="2497" y="695"/>
                    </a:lnTo>
                    <a:lnTo>
                      <a:pt x="2499" y="695"/>
                    </a:lnTo>
                    <a:lnTo>
                      <a:pt x="2499" y="695"/>
                    </a:lnTo>
                    <a:lnTo>
                      <a:pt x="2499" y="695"/>
                    </a:lnTo>
                    <a:lnTo>
                      <a:pt x="2499" y="695"/>
                    </a:lnTo>
                    <a:lnTo>
                      <a:pt x="2499" y="695"/>
                    </a:lnTo>
                    <a:lnTo>
                      <a:pt x="2500" y="695"/>
                    </a:lnTo>
                    <a:lnTo>
                      <a:pt x="2500" y="694"/>
                    </a:lnTo>
                    <a:lnTo>
                      <a:pt x="2500" y="694"/>
                    </a:lnTo>
                    <a:lnTo>
                      <a:pt x="2500" y="695"/>
                    </a:lnTo>
                    <a:lnTo>
                      <a:pt x="2500" y="695"/>
                    </a:lnTo>
                    <a:lnTo>
                      <a:pt x="2500" y="695"/>
                    </a:lnTo>
                    <a:lnTo>
                      <a:pt x="2500" y="694"/>
                    </a:lnTo>
                    <a:lnTo>
                      <a:pt x="2500" y="694"/>
                    </a:lnTo>
                    <a:lnTo>
                      <a:pt x="2501" y="694"/>
                    </a:lnTo>
                    <a:lnTo>
                      <a:pt x="2501" y="693"/>
                    </a:lnTo>
                    <a:lnTo>
                      <a:pt x="2501" y="693"/>
                    </a:lnTo>
                    <a:lnTo>
                      <a:pt x="2501" y="692"/>
                    </a:lnTo>
                    <a:lnTo>
                      <a:pt x="2501" y="692"/>
                    </a:lnTo>
                    <a:lnTo>
                      <a:pt x="2502" y="691"/>
                    </a:lnTo>
                    <a:lnTo>
                      <a:pt x="2501" y="691"/>
                    </a:lnTo>
                    <a:lnTo>
                      <a:pt x="2501" y="691"/>
                    </a:lnTo>
                    <a:lnTo>
                      <a:pt x="2502" y="690"/>
                    </a:lnTo>
                    <a:lnTo>
                      <a:pt x="2501" y="690"/>
                    </a:lnTo>
                    <a:lnTo>
                      <a:pt x="2501" y="689"/>
                    </a:lnTo>
                    <a:lnTo>
                      <a:pt x="2500" y="688"/>
                    </a:lnTo>
                    <a:lnTo>
                      <a:pt x="2500" y="686"/>
                    </a:lnTo>
                    <a:lnTo>
                      <a:pt x="2499" y="686"/>
                    </a:lnTo>
                    <a:lnTo>
                      <a:pt x="2499" y="686"/>
                    </a:lnTo>
                    <a:lnTo>
                      <a:pt x="2500" y="685"/>
                    </a:lnTo>
                    <a:lnTo>
                      <a:pt x="2500" y="686"/>
                    </a:lnTo>
                    <a:lnTo>
                      <a:pt x="2501" y="686"/>
                    </a:lnTo>
                    <a:lnTo>
                      <a:pt x="2502" y="686"/>
                    </a:lnTo>
                    <a:lnTo>
                      <a:pt x="2502" y="686"/>
                    </a:lnTo>
                    <a:lnTo>
                      <a:pt x="2504" y="686"/>
                    </a:lnTo>
                    <a:lnTo>
                      <a:pt x="2504" y="688"/>
                    </a:lnTo>
                    <a:lnTo>
                      <a:pt x="2504" y="688"/>
                    </a:lnTo>
                    <a:lnTo>
                      <a:pt x="2504" y="689"/>
                    </a:lnTo>
                    <a:lnTo>
                      <a:pt x="2504" y="689"/>
                    </a:lnTo>
                    <a:lnTo>
                      <a:pt x="2504" y="690"/>
                    </a:lnTo>
                    <a:lnTo>
                      <a:pt x="2504" y="690"/>
                    </a:lnTo>
                    <a:lnTo>
                      <a:pt x="2504" y="690"/>
                    </a:lnTo>
                    <a:lnTo>
                      <a:pt x="2504" y="691"/>
                    </a:lnTo>
                    <a:lnTo>
                      <a:pt x="2504" y="691"/>
                    </a:lnTo>
                    <a:lnTo>
                      <a:pt x="2505" y="690"/>
                    </a:lnTo>
                    <a:lnTo>
                      <a:pt x="2505" y="690"/>
                    </a:lnTo>
                    <a:lnTo>
                      <a:pt x="2506" y="690"/>
                    </a:lnTo>
                    <a:lnTo>
                      <a:pt x="2506" y="690"/>
                    </a:lnTo>
                    <a:lnTo>
                      <a:pt x="2507" y="690"/>
                    </a:lnTo>
                    <a:lnTo>
                      <a:pt x="2507" y="689"/>
                    </a:lnTo>
                    <a:lnTo>
                      <a:pt x="2508" y="689"/>
                    </a:lnTo>
                    <a:lnTo>
                      <a:pt x="2509" y="690"/>
                    </a:lnTo>
                    <a:lnTo>
                      <a:pt x="2509" y="690"/>
                    </a:lnTo>
                    <a:lnTo>
                      <a:pt x="2510" y="690"/>
                    </a:lnTo>
                    <a:lnTo>
                      <a:pt x="2510" y="690"/>
                    </a:lnTo>
                    <a:lnTo>
                      <a:pt x="2510" y="690"/>
                    </a:lnTo>
                    <a:lnTo>
                      <a:pt x="2510" y="691"/>
                    </a:lnTo>
                    <a:lnTo>
                      <a:pt x="2510" y="691"/>
                    </a:lnTo>
                    <a:lnTo>
                      <a:pt x="2510" y="691"/>
                    </a:lnTo>
                    <a:lnTo>
                      <a:pt x="2510" y="691"/>
                    </a:lnTo>
                    <a:lnTo>
                      <a:pt x="2509" y="691"/>
                    </a:lnTo>
                    <a:lnTo>
                      <a:pt x="2509" y="691"/>
                    </a:lnTo>
                    <a:lnTo>
                      <a:pt x="2509" y="692"/>
                    </a:lnTo>
                    <a:lnTo>
                      <a:pt x="2507" y="692"/>
                    </a:lnTo>
                    <a:lnTo>
                      <a:pt x="2507" y="692"/>
                    </a:lnTo>
                    <a:lnTo>
                      <a:pt x="2507" y="692"/>
                    </a:lnTo>
                    <a:lnTo>
                      <a:pt x="2508" y="692"/>
                    </a:lnTo>
                    <a:lnTo>
                      <a:pt x="2508" y="692"/>
                    </a:lnTo>
                    <a:lnTo>
                      <a:pt x="2510" y="692"/>
                    </a:lnTo>
                    <a:lnTo>
                      <a:pt x="2510" y="693"/>
                    </a:lnTo>
                    <a:lnTo>
                      <a:pt x="2510" y="693"/>
                    </a:lnTo>
                    <a:lnTo>
                      <a:pt x="2511" y="693"/>
                    </a:lnTo>
                    <a:lnTo>
                      <a:pt x="2510" y="693"/>
                    </a:lnTo>
                    <a:lnTo>
                      <a:pt x="2509" y="693"/>
                    </a:lnTo>
                    <a:lnTo>
                      <a:pt x="2509" y="693"/>
                    </a:lnTo>
                    <a:lnTo>
                      <a:pt x="2509" y="693"/>
                    </a:lnTo>
                    <a:lnTo>
                      <a:pt x="2508" y="693"/>
                    </a:lnTo>
                    <a:lnTo>
                      <a:pt x="2508" y="693"/>
                    </a:lnTo>
                    <a:lnTo>
                      <a:pt x="2508" y="694"/>
                    </a:lnTo>
                    <a:lnTo>
                      <a:pt x="2509" y="694"/>
                    </a:lnTo>
                    <a:lnTo>
                      <a:pt x="2509" y="694"/>
                    </a:lnTo>
                    <a:lnTo>
                      <a:pt x="2509" y="694"/>
                    </a:lnTo>
                    <a:lnTo>
                      <a:pt x="2510" y="694"/>
                    </a:lnTo>
                    <a:lnTo>
                      <a:pt x="2510" y="695"/>
                    </a:lnTo>
                    <a:lnTo>
                      <a:pt x="2510" y="695"/>
                    </a:lnTo>
                    <a:lnTo>
                      <a:pt x="2510" y="695"/>
                    </a:lnTo>
                    <a:lnTo>
                      <a:pt x="2511" y="695"/>
                    </a:lnTo>
                    <a:lnTo>
                      <a:pt x="2511" y="697"/>
                    </a:lnTo>
                    <a:lnTo>
                      <a:pt x="2510" y="697"/>
                    </a:lnTo>
                    <a:lnTo>
                      <a:pt x="2510" y="697"/>
                    </a:lnTo>
                    <a:lnTo>
                      <a:pt x="2509" y="697"/>
                    </a:lnTo>
                    <a:lnTo>
                      <a:pt x="2509" y="697"/>
                    </a:lnTo>
                    <a:lnTo>
                      <a:pt x="2508" y="697"/>
                    </a:lnTo>
                    <a:lnTo>
                      <a:pt x="2508" y="695"/>
                    </a:lnTo>
                    <a:lnTo>
                      <a:pt x="2506" y="695"/>
                    </a:lnTo>
                    <a:lnTo>
                      <a:pt x="2505" y="697"/>
                    </a:lnTo>
                    <a:lnTo>
                      <a:pt x="2505" y="697"/>
                    </a:lnTo>
                    <a:lnTo>
                      <a:pt x="2502" y="697"/>
                    </a:lnTo>
                    <a:lnTo>
                      <a:pt x="2502" y="698"/>
                    </a:lnTo>
                    <a:lnTo>
                      <a:pt x="2504" y="698"/>
                    </a:lnTo>
                    <a:lnTo>
                      <a:pt x="2504" y="699"/>
                    </a:lnTo>
                    <a:lnTo>
                      <a:pt x="2505" y="699"/>
                    </a:lnTo>
                    <a:lnTo>
                      <a:pt x="2506" y="698"/>
                    </a:lnTo>
                    <a:lnTo>
                      <a:pt x="2507" y="698"/>
                    </a:lnTo>
                    <a:lnTo>
                      <a:pt x="2507" y="698"/>
                    </a:lnTo>
                    <a:lnTo>
                      <a:pt x="2508" y="698"/>
                    </a:lnTo>
                    <a:lnTo>
                      <a:pt x="2509" y="698"/>
                    </a:lnTo>
                    <a:lnTo>
                      <a:pt x="2509" y="698"/>
                    </a:lnTo>
                    <a:lnTo>
                      <a:pt x="2510" y="698"/>
                    </a:lnTo>
                    <a:lnTo>
                      <a:pt x="2511" y="698"/>
                    </a:lnTo>
                    <a:lnTo>
                      <a:pt x="2511" y="698"/>
                    </a:lnTo>
                    <a:lnTo>
                      <a:pt x="2511" y="699"/>
                    </a:lnTo>
                    <a:lnTo>
                      <a:pt x="2513" y="699"/>
                    </a:lnTo>
                    <a:lnTo>
                      <a:pt x="2513" y="699"/>
                    </a:lnTo>
                    <a:lnTo>
                      <a:pt x="2513" y="699"/>
                    </a:lnTo>
                    <a:lnTo>
                      <a:pt x="2511" y="700"/>
                    </a:lnTo>
                    <a:lnTo>
                      <a:pt x="2511" y="699"/>
                    </a:lnTo>
                    <a:lnTo>
                      <a:pt x="2511" y="700"/>
                    </a:lnTo>
                    <a:lnTo>
                      <a:pt x="2511" y="701"/>
                    </a:lnTo>
                    <a:lnTo>
                      <a:pt x="2513" y="701"/>
                    </a:lnTo>
                    <a:lnTo>
                      <a:pt x="2513" y="702"/>
                    </a:lnTo>
                    <a:lnTo>
                      <a:pt x="2513" y="702"/>
                    </a:lnTo>
                    <a:lnTo>
                      <a:pt x="2513" y="705"/>
                    </a:lnTo>
                    <a:lnTo>
                      <a:pt x="2513" y="705"/>
                    </a:lnTo>
                    <a:lnTo>
                      <a:pt x="2511" y="706"/>
                    </a:lnTo>
                    <a:lnTo>
                      <a:pt x="2511" y="707"/>
                    </a:lnTo>
                    <a:lnTo>
                      <a:pt x="2513" y="708"/>
                    </a:lnTo>
                    <a:lnTo>
                      <a:pt x="2514" y="709"/>
                    </a:lnTo>
                    <a:lnTo>
                      <a:pt x="2514" y="709"/>
                    </a:lnTo>
                    <a:lnTo>
                      <a:pt x="2514" y="709"/>
                    </a:lnTo>
                    <a:lnTo>
                      <a:pt x="2514" y="710"/>
                    </a:lnTo>
                    <a:lnTo>
                      <a:pt x="2515" y="711"/>
                    </a:lnTo>
                    <a:lnTo>
                      <a:pt x="2516" y="711"/>
                    </a:lnTo>
                    <a:lnTo>
                      <a:pt x="2516" y="712"/>
                    </a:lnTo>
                    <a:lnTo>
                      <a:pt x="2516" y="714"/>
                    </a:lnTo>
                    <a:close/>
                    <a:moveTo>
                      <a:pt x="2524" y="685"/>
                    </a:moveTo>
                    <a:lnTo>
                      <a:pt x="2524" y="686"/>
                    </a:lnTo>
                    <a:lnTo>
                      <a:pt x="2523" y="686"/>
                    </a:lnTo>
                    <a:lnTo>
                      <a:pt x="2523" y="688"/>
                    </a:lnTo>
                    <a:lnTo>
                      <a:pt x="2522" y="688"/>
                    </a:lnTo>
                    <a:lnTo>
                      <a:pt x="2522" y="688"/>
                    </a:lnTo>
                    <a:lnTo>
                      <a:pt x="2522" y="688"/>
                    </a:lnTo>
                    <a:lnTo>
                      <a:pt x="2521" y="688"/>
                    </a:lnTo>
                    <a:lnTo>
                      <a:pt x="2519" y="689"/>
                    </a:lnTo>
                    <a:lnTo>
                      <a:pt x="2519" y="689"/>
                    </a:lnTo>
                    <a:lnTo>
                      <a:pt x="2518" y="689"/>
                    </a:lnTo>
                    <a:lnTo>
                      <a:pt x="2518" y="689"/>
                    </a:lnTo>
                    <a:lnTo>
                      <a:pt x="2517" y="689"/>
                    </a:lnTo>
                    <a:lnTo>
                      <a:pt x="2517" y="689"/>
                    </a:lnTo>
                    <a:lnTo>
                      <a:pt x="2517" y="689"/>
                    </a:lnTo>
                    <a:lnTo>
                      <a:pt x="2517" y="689"/>
                    </a:lnTo>
                    <a:lnTo>
                      <a:pt x="2517" y="688"/>
                    </a:lnTo>
                    <a:lnTo>
                      <a:pt x="2517" y="686"/>
                    </a:lnTo>
                    <a:lnTo>
                      <a:pt x="2517" y="686"/>
                    </a:lnTo>
                    <a:lnTo>
                      <a:pt x="2517" y="685"/>
                    </a:lnTo>
                    <a:lnTo>
                      <a:pt x="2517" y="685"/>
                    </a:lnTo>
                    <a:lnTo>
                      <a:pt x="2516" y="684"/>
                    </a:lnTo>
                    <a:lnTo>
                      <a:pt x="2516" y="684"/>
                    </a:lnTo>
                    <a:lnTo>
                      <a:pt x="2516" y="685"/>
                    </a:lnTo>
                    <a:lnTo>
                      <a:pt x="2516" y="685"/>
                    </a:lnTo>
                    <a:lnTo>
                      <a:pt x="2515" y="685"/>
                    </a:lnTo>
                    <a:lnTo>
                      <a:pt x="2515" y="685"/>
                    </a:lnTo>
                    <a:lnTo>
                      <a:pt x="2514" y="685"/>
                    </a:lnTo>
                    <a:lnTo>
                      <a:pt x="2514" y="685"/>
                    </a:lnTo>
                    <a:lnTo>
                      <a:pt x="2513" y="685"/>
                    </a:lnTo>
                    <a:lnTo>
                      <a:pt x="2513" y="685"/>
                    </a:lnTo>
                    <a:lnTo>
                      <a:pt x="2511" y="684"/>
                    </a:lnTo>
                    <a:lnTo>
                      <a:pt x="2511" y="684"/>
                    </a:lnTo>
                    <a:lnTo>
                      <a:pt x="2510" y="684"/>
                    </a:lnTo>
                    <a:lnTo>
                      <a:pt x="2510" y="684"/>
                    </a:lnTo>
                    <a:lnTo>
                      <a:pt x="2510" y="684"/>
                    </a:lnTo>
                    <a:lnTo>
                      <a:pt x="2509" y="684"/>
                    </a:lnTo>
                    <a:lnTo>
                      <a:pt x="2508" y="684"/>
                    </a:lnTo>
                    <a:lnTo>
                      <a:pt x="2507" y="684"/>
                    </a:lnTo>
                    <a:lnTo>
                      <a:pt x="2507" y="684"/>
                    </a:lnTo>
                    <a:lnTo>
                      <a:pt x="2506" y="683"/>
                    </a:lnTo>
                    <a:lnTo>
                      <a:pt x="2506" y="683"/>
                    </a:lnTo>
                    <a:lnTo>
                      <a:pt x="2506" y="682"/>
                    </a:lnTo>
                    <a:lnTo>
                      <a:pt x="2506" y="681"/>
                    </a:lnTo>
                    <a:lnTo>
                      <a:pt x="2507" y="681"/>
                    </a:lnTo>
                    <a:lnTo>
                      <a:pt x="2507" y="681"/>
                    </a:lnTo>
                    <a:lnTo>
                      <a:pt x="2508" y="680"/>
                    </a:lnTo>
                    <a:lnTo>
                      <a:pt x="2509" y="680"/>
                    </a:lnTo>
                    <a:lnTo>
                      <a:pt x="2509" y="680"/>
                    </a:lnTo>
                    <a:lnTo>
                      <a:pt x="2510" y="680"/>
                    </a:lnTo>
                    <a:lnTo>
                      <a:pt x="2511" y="680"/>
                    </a:lnTo>
                    <a:lnTo>
                      <a:pt x="2511" y="680"/>
                    </a:lnTo>
                    <a:lnTo>
                      <a:pt x="2511" y="681"/>
                    </a:lnTo>
                    <a:lnTo>
                      <a:pt x="2511" y="682"/>
                    </a:lnTo>
                    <a:lnTo>
                      <a:pt x="2511" y="682"/>
                    </a:lnTo>
                    <a:lnTo>
                      <a:pt x="2511" y="683"/>
                    </a:lnTo>
                    <a:lnTo>
                      <a:pt x="2513" y="683"/>
                    </a:lnTo>
                    <a:lnTo>
                      <a:pt x="2513" y="682"/>
                    </a:lnTo>
                    <a:lnTo>
                      <a:pt x="2513" y="682"/>
                    </a:lnTo>
                    <a:lnTo>
                      <a:pt x="2513" y="681"/>
                    </a:lnTo>
                    <a:lnTo>
                      <a:pt x="2513" y="681"/>
                    </a:lnTo>
                    <a:lnTo>
                      <a:pt x="2514" y="681"/>
                    </a:lnTo>
                    <a:lnTo>
                      <a:pt x="2514" y="682"/>
                    </a:lnTo>
                    <a:lnTo>
                      <a:pt x="2515" y="681"/>
                    </a:lnTo>
                    <a:lnTo>
                      <a:pt x="2515" y="681"/>
                    </a:lnTo>
                    <a:lnTo>
                      <a:pt x="2516" y="681"/>
                    </a:lnTo>
                    <a:lnTo>
                      <a:pt x="2517" y="680"/>
                    </a:lnTo>
                    <a:lnTo>
                      <a:pt x="2517" y="680"/>
                    </a:lnTo>
                    <a:lnTo>
                      <a:pt x="2516" y="680"/>
                    </a:lnTo>
                    <a:lnTo>
                      <a:pt x="2515" y="678"/>
                    </a:lnTo>
                    <a:lnTo>
                      <a:pt x="2514" y="678"/>
                    </a:lnTo>
                    <a:lnTo>
                      <a:pt x="2514" y="677"/>
                    </a:lnTo>
                    <a:lnTo>
                      <a:pt x="2515" y="677"/>
                    </a:lnTo>
                    <a:lnTo>
                      <a:pt x="2516" y="678"/>
                    </a:lnTo>
                    <a:lnTo>
                      <a:pt x="2516" y="678"/>
                    </a:lnTo>
                    <a:lnTo>
                      <a:pt x="2517" y="678"/>
                    </a:lnTo>
                    <a:lnTo>
                      <a:pt x="2517" y="678"/>
                    </a:lnTo>
                    <a:lnTo>
                      <a:pt x="2517" y="680"/>
                    </a:lnTo>
                    <a:lnTo>
                      <a:pt x="2517" y="680"/>
                    </a:lnTo>
                    <a:lnTo>
                      <a:pt x="2517" y="682"/>
                    </a:lnTo>
                    <a:lnTo>
                      <a:pt x="2517" y="682"/>
                    </a:lnTo>
                    <a:lnTo>
                      <a:pt x="2518" y="683"/>
                    </a:lnTo>
                    <a:lnTo>
                      <a:pt x="2518" y="683"/>
                    </a:lnTo>
                    <a:lnTo>
                      <a:pt x="2518" y="683"/>
                    </a:lnTo>
                    <a:lnTo>
                      <a:pt x="2519" y="683"/>
                    </a:lnTo>
                    <a:lnTo>
                      <a:pt x="2521" y="683"/>
                    </a:lnTo>
                    <a:lnTo>
                      <a:pt x="2522" y="683"/>
                    </a:lnTo>
                    <a:lnTo>
                      <a:pt x="2522" y="683"/>
                    </a:lnTo>
                    <a:lnTo>
                      <a:pt x="2523" y="683"/>
                    </a:lnTo>
                    <a:lnTo>
                      <a:pt x="2523" y="683"/>
                    </a:lnTo>
                    <a:lnTo>
                      <a:pt x="2524" y="683"/>
                    </a:lnTo>
                    <a:lnTo>
                      <a:pt x="2524" y="683"/>
                    </a:lnTo>
                    <a:lnTo>
                      <a:pt x="2524" y="683"/>
                    </a:lnTo>
                    <a:lnTo>
                      <a:pt x="2524" y="685"/>
                    </a:lnTo>
                    <a:close/>
                    <a:moveTo>
                      <a:pt x="2767" y="680"/>
                    </a:moveTo>
                    <a:lnTo>
                      <a:pt x="2767" y="682"/>
                    </a:lnTo>
                    <a:lnTo>
                      <a:pt x="2765" y="684"/>
                    </a:lnTo>
                    <a:lnTo>
                      <a:pt x="2760" y="683"/>
                    </a:lnTo>
                    <a:lnTo>
                      <a:pt x="2754" y="685"/>
                    </a:lnTo>
                    <a:lnTo>
                      <a:pt x="2752" y="683"/>
                    </a:lnTo>
                    <a:lnTo>
                      <a:pt x="2749" y="683"/>
                    </a:lnTo>
                    <a:lnTo>
                      <a:pt x="2744" y="682"/>
                    </a:lnTo>
                    <a:lnTo>
                      <a:pt x="2739" y="683"/>
                    </a:lnTo>
                    <a:lnTo>
                      <a:pt x="2737" y="682"/>
                    </a:lnTo>
                    <a:lnTo>
                      <a:pt x="2731" y="681"/>
                    </a:lnTo>
                    <a:lnTo>
                      <a:pt x="2722" y="682"/>
                    </a:lnTo>
                    <a:lnTo>
                      <a:pt x="2719" y="683"/>
                    </a:lnTo>
                    <a:lnTo>
                      <a:pt x="2718" y="680"/>
                    </a:lnTo>
                    <a:lnTo>
                      <a:pt x="2717" y="683"/>
                    </a:lnTo>
                    <a:lnTo>
                      <a:pt x="2712" y="684"/>
                    </a:lnTo>
                    <a:lnTo>
                      <a:pt x="2710" y="684"/>
                    </a:lnTo>
                    <a:lnTo>
                      <a:pt x="2710" y="686"/>
                    </a:lnTo>
                    <a:lnTo>
                      <a:pt x="2706" y="690"/>
                    </a:lnTo>
                    <a:lnTo>
                      <a:pt x="2704" y="690"/>
                    </a:lnTo>
                    <a:lnTo>
                      <a:pt x="2702" y="692"/>
                    </a:lnTo>
                    <a:lnTo>
                      <a:pt x="2702" y="697"/>
                    </a:lnTo>
                    <a:lnTo>
                      <a:pt x="2698" y="699"/>
                    </a:lnTo>
                    <a:lnTo>
                      <a:pt x="2698" y="701"/>
                    </a:lnTo>
                    <a:lnTo>
                      <a:pt x="2701" y="702"/>
                    </a:lnTo>
                    <a:lnTo>
                      <a:pt x="2700" y="708"/>
                    </a:lnTo>
                    <a:lnTo>
                      <a:pt x="2698" y="708"/>
                    </a:lnTo>
                    <a:lnTo>
                      <a:pt x="2698" y="707"/>
                    </a:lnTo>
                    <a:lnTo>
                      <a:pt x="2697" y="703"/>
                    </a:lnTo>
                    <a:lnTo>
                      <a:pt x="2693" y="699"/>
                    </a:lnTo>
                    <a:lnTo>
                      <a:pt x="2692" y="695"/>
                    </a:lnTo>
                    <a:lnTo>
                      <a:pt x="2693" y="693"/>
                    </a:lnTo>
                    <a:lnTo>
                      <a:pt x="2694" y="691"/>
                    </a:lnTo>
                    <a:lnTo>
                      <a:pt x="2693" y="688"/>
                    </a:lnTo>
                    <a:lnTo>
                      <a:pt x="2695" y="686"/>
                    </a:lnTo>
                    <a:lnTo>
                      <a:pt x="2697" y="685"/>
                    </a:lnTo>
                    <a:lnTo>
                      <a:pt x="2700" y="683"/>
                    </a:lnTo>
                    <a:lnTo>
                      <a:pt x="2702" y="682"/>
                    </a:lnTo>
                    <a:lnTo>
                      <a:pt x="2705" y="681"/>
                    </a:lnTo>
                    <a:lnTo>
                      <a:pt x="2706" y="677"/>
                    </a:lnTo>
                    <a:lnTo>
                      <a:pt x="2711" y="676"/>
                    </a:lnTo>
                    <a:lnTo>
                      <a:pt x="2712" y="677"/>
                    </a:lnTo>
                    <a:lnTo>
                      <a:pt x="2717" y="678"/>
                    </a:lnTo>
                    <a:lnTo>
                      <a:pt x="2722" y="677"/>
                    </a:lnTo>
                    <a:lnTo>
                      <a:pt x="2726" y="677"/>
                    </a:lnTo>
                    <a:lnTo>
                      <a:pt x="2728" y="676"/>
                    </a:lnTo>
                    <a:lnTo>
                      <a:pt x="2730" y="680"/>
                    </a:lnTo>
                    <a:lnTo>
                      <a:pt x="2738" y="680"/>
                    </a:lnTo>
                    <a:lnTo>
                      <a:pt x="2741" y="681"/>
                    </a:lnTo>
                    <a:lnTo>
                      <a:pt x="2744" y="680"/>
                    </a:lnTo>
                    <a:lnTo>
                      <a:pt x="2750" y="678"/>
                    </a:lnTo>
                    <a:lnTo>
                      <a:pt x="2756" y="682"/>
                    </a:lnTo>
                    <a:lnTo>
                      <a:pt x="2762" y="677"/>
                    </a:lnTo>
                    <a:lnTo>
                      <a:pt x="2764" y="680"/>
                    </a:lnTo>
                    <a:lnTo>
                      <a:pt x="2765" y="677"/>
                    </a:lnTo>
                    <a:lnTo>
                      <a:pt x="2769" y="676"/>
                    </a:lnTo>
                    <a:lnTo>
                      <a:pt x="2770" y="680"/>
                    </a:lnTo>
                    <a:lnTo>
                      <a:pt x="2767" y="680"/>
                    </a:lnTo>
                    <a:close/>
                    <a:moveTo>
                      <a:pt x="3189" y="518"/>
                    </a:moveTo>
                    <a:lnTo>
                      <a:pt x="3189" y="520"/>
                    </a:lnTo>
                    <a:lnTo>
                      <a:pt x="3188" y="526"/>
                    </a:lnTo>
                    <a:lnTo>
                      <a:pt x="3188" y="528"/>
                    </a:lnTo>
                    <a:lnTo>
                      <a:pt x="3185" y="534"/>
                    </a:lnTo>
                    <a:lnTo>
                      <a:pt x="3184" y="537"/>
                    </a:lnTo>
                    <a:lnTo>
                      <a:pt x="3184" y="541"/>
                    </a:lnTo>
                    <a:lnTo>
                      <a:pt x="3185" y="545"/>
                    </a:lnTo>
                    <a:lnTo>
                      <a:pt x="3183" y="547"/>
                    </a:lnTo>
                    <a:lnTo>
                      <a:pt x="3181" y="549"/>
                    </a:lnTo>
                    <a:lnTo>
                      <a:pt x="3180" y="553"/>
                    </a:lnTo>
                    <a:lnTo>
                      <a:pt x="3178" y="554"/>
                    </a:lnTo>
                    <a:lnTo>
                      <a:pt x="3178" y="552"/>
                    </a:lnTo>
                    <a:lnTo>
                      <a:pt x="3175" y="551"/>
                    </a:lnTo>
                    <a:lnTo>
                      <a:pt x="3171" y="556"/>
                    </a:lnTo>
                    <a:lnTo>
                      <a:pt x="3174" y="555"/>
                    </a:lnTo>
                    <a:lnTo>
                      <a:pt x="3176" y="556"/>
                    </a:lnTo>
                    <a:lnTo>
                      <a:pt x="3178" y="558"/>
                    </a:lnTo>
                    <a:lnTo>
                      <a:pt x="3174" y="561"/>
                    </a:lnTo>
                    <a:lnTo>
                      <a:pt x="3172" y="561"/>
                    </a:lnTo>
                    <a:lnTo>
                      <a:pt x="3168" y="563"/>
                    </a:lnTo>
                    <a:lnTo>
                      <a:pt x="3167" y="566"/>
                    </a:lnTo>
                    <a:lnTo>
                      <a:pt x="3163" y="570"/>
                    </a:lnTo>
                    <a:lnTo>
                      <a:pt x="3159" y="571"/>
                    </a:lnTo>
                    <a:lnTo>
                      <a:pt x="3157" y="572"/>
                    </a:lnTo>
                    <a:lnTo>
                      <a:pt x="3151" y="574"/>
                    </a:lnTo>
                    <a:lnTo>
                      <a:pt x="3149" y="575"/>
                    </a:lnTo>
                    <a:lnTo>
                      <a:pt x="3147" y="579"/>
                    </a:lnTo>
                    <a:lnTo>
                      <a:pt x="3145" y="578"/>
                    </a:lnTo>
                    <a:lnTo>
                      <a:pt x="3141" y="578"/>
                    </a:lnTo>
                    <a:lnTo>
                      <a:pt x="3140" y="579"/>
                    </a:lnTo>
                    <a:lnTo>
                      <a:pt x="3140" y="580"/>
                    </a:lnTo>
                    <a:lnTo>
                      <a:pt x="3140" y="581"/>
                    </a:lnTo>
                    <a:lnTo>
                      <a:pt x="3137" y="587"/>
                    </a:lnTo>
                    <a:lnTo>
                      <a:pt x="3134" y="589"/>
                    </a:lnTo>
                    <a:lnTo>
                      <a:pt x="3122" y="592"/>
                    </a:lnTo>
                    <a:lnTo>
                      <a:pt x="3120" y="594"/>
                    </a:lnTo>
                    <a:lnTo>
                      <a:pt x="3115" y="594"/>
                    </a:lnTo>
                    <a:lnTo>
                      <a:pt x="3107" y="591"/>
                    </a:lnTo>
                    <a:lnTo>
                      <a:pt x="3110" y="589"/>
                    </a:lnTo>
                    <a:lnTo>
                      <a:pt x="3115" y="588"/>
                    </a:lnTo>
                    <a:lnTo>
                      <a:pt x="3117" y="588"/>
                    </a:lnTo>
                    <a:lnTo>
                      <a:pt x="3120" y="587"/>
                    </a:lnTo>
                    <a:lnTo>
                      <a:pt x="3122" y="587"/>
                    </a:lnTo>
                    <a:lnTo>
                      <a:pt x="3125" y="586"/>
                    </a:lnTo>
                    <a:lnTo>
                      <a:pt x="3131" y="582"/>
                    </a:lnTo>
                    <a:lnTo>
                      <a:pt x="3134" y="577"/>
                    </a:lnTo>
                    <a:lnTo>
                      <a:pt x="3137" y="574"/>
                    </a:lnTo>
                    <a:lnTo>
                      <a:pt x="3142" y="572"/>
                    </a:lnTo>
                    <a:lnTo>
                      <a:pt x="3145" y="570"/>
                    </a:lnTo>
                    <a:lnTo>
                      <a:pt x="3148" y="566"/>
                    </a:lnTo>
                    <a:lnTo>
                      <a:pt x="3148" y="564"/>
                    </a:lnTo>
                    <a:lnTo>
                      <a:pt x="3150" y="562"/>
                    </a:lnTo>
                    <a:lnTo>
                      <a:pt x="3156" y="558"/>
                    </a:lnTo>
                    <a:lnTo>
                      <a:pt x="3161" y="553"/>
                    </a:lnTo>
                    <a:lnTo>
                      <a:pt x="3165" y="549"/>
                    </a:lnTo>
                    <a:lnTo>
                      <a:pt x="3168" y="544"/>
                    </a:lnTo>
                    <a:lnTo>
                      <a:pt x="3171" y="541"/>
                    </a:lnTo>
                    <a:lnTo>
                      <a:pt x="3171" y="539"/>
                    </a:lnTo>
                    <a:lnTo>
                      <a:pt x="3173" y="537"/>
                    </a:lnTo>
                    <a:lnTo>
                      <a:pt x="3174" y="535"/>
                    </a:lnTo>
                    <a:lnTo>
                      <a:pt x="3176" y="529"/>
                    </a:lnTo>
                    <a:lnTo>
                      <a:pt x="3180" y="526"/>
                    </a:lnTo>
                    <a:lnTo>
                      <a:pt x="3180" y="523"/>
                    </a:lnTo>
                    <a:lnTo>
                      <a:pt x="3180" y="520"/>
                    </a:lnTo>
                    <a:lnTo>
                      <a:pt x="3181" y="518"/>
                    </a:lnTo>
                    <a:lnTo>
                      <a:pt x="3185" y="513"/>
                    </a:lnTo>
                    <a:lnTo>
                      <a:pt x="3189" y="514"/>
                    </a:lnTo>
                    <a:lnTo>
                      <a:pt x="3185" y="513"/>
                    </a:lnTo>
                    <a:lnTo>
                      <a:pt x="3189" y="513"/>
                    </a:lnTo>
                    <a:lnTo>
                      <a:pt x="3190" y="514"/>
                    </a:lnTo>
                    <a:lnTo>
                      <a:pt x="3189" y="5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a:lnSpc>
                    <a:spcPct val="90000"/>
                  </a:lnSpc>
                </a:pPr>
                <a:endParaRPr lang="en-US"/>
              </a:p>
            </p:txBody>
          </p:sp>
        </p:grpSp>
        <p:sp>
          <p:nvSpPr>
            <p:cNvPr id="244" name="TextBox 243">
              <a:extLst>
                <a:ext uri="{FF2B5EF4-FFF2-40B4-BE49-F238E27FC236}">
                  <a16:creationId xmlns:a16="http://schemas.microsoft.com/office/drawing/2014/main" id="{BE4F087B-2DFF-7624-E762-9271C001328D}"/>
                </a:ext>
              </a:extLst>
            </p:cNvPr>
            <p:cNvSpPr txBox="1"/>
            <p:nvPr/>
          </p:nvSpPr>
          <p:spPr>
            <a:xfrm flipH="1">
              <a:off x="3678619" y="3480517"/>
              <a:ext cx="885068" cy="153888"/>
            </a:xfrm>
            <a:prstGeom prst="rect">
              <a:avLst/>
            </a:prstGeom>
            <a:noFill/>
            <a:ln>
              <a:noFill/>
            </a:ln>
          </p:spPr>
          <p:txBody>
            <a:bodyPr wrap="square" lIns="0" tIns="0" rIns="0" bIns="0" rtlCol="0" anchor="t">
              <a:spAutoFit/>
            </a:bodyPr>
            <a:lstStyle/>
            <a:p>
              <a:pPr defTabSz="685800" fontAlgn="auto">
                <a:spcBef>
                  <a:spcPts val="0"/>
                </a:spcBef>
                <a:spcAft>
                  <a:spcPts val="225"/>
                </a:spcAft>
                <a:defRPr/>
              </a:pPr>
              <a:r>
                <a:rPr lang="en-US" sz="750">
                  <a:solidFill>
                    <a:srgbClr val="7500C0"/>
                  </a:solidFill>
                  <a:latin typeface="Graphik Semibold" panose="020B0703030202060203" pitchFamily="34" charset="0"/>
                  <a:cs typeface="Arial Black"/>
                </a:rPr>
                <a:t>ASG</a:t>
              </a:r>
            </a:p>
          </p:txBody>
        </p:sp>
        <p:grpSp>
          <p:nvGrpSpPr>
            <p:cNvPr id="245" name="Group 244">
              <a:extLst>
                <a:ext uri="{FF2B5EF4-FFF2-40B4-BE49-F238E27FC236}">
                  <a16:creationId xmlns:a16="http://schemas.microsoft.com/office/drawing/2014/main" id="{58C05C0F-7B4C-93A8-83A5-930C80E932E7}"/>
                </a:ext>
              </a:extLst>
            </p:cNvPr>
            <p:cNvGrpSpPr/>
            <p:nvPr/>
          </p:nvGrpSpPr>
          <p:grpSpPr>
            <a:xfrm flipH="1">
              <a:off x="3159671" y="3510314"/>
              <a:ext cx="475471" cy="102050"/>
              <a:chOff x="3456064" y="2952116"/>
              <a:chExt cx="670925" cy="144000"/>
            </a:xfrm>
          </p:grpSpPr>
          <p:sp>
            <p:nvSpPr>
              <p:cNvPr id="246" name="Oval 245">
                <a:extLst>
                  <a:ext uri="{FF2B5EF4-FFF2-40B4-BE49-F238E27FC236}">
                    <a16:creationId xmlns:a16="http://schemas.microsoft.com/office/drawing/2014/main" id="{BF5B8D83-519C-8B31-6329-A6C6165DEAC6}"/>
                  </a:ext>
                </a:extLst>
              </p:cNvPr>
              <p:cNvSpPr>
                <a:spLocks noChangeAspect="1"/>
              </p:cNvSpPr>
              <p:nvPr/>
            </p:nvSpPr>
            <p:spPr>
              <a:xfrm>
                <a:off x="3982989" y="2952116"/>
                <a:ext cx="144000" cy="144000"/>
              </a:xfrm>
              <a:prstGeom prst="ellipse">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Graphik"/>
                </a:endParaRPr>
              </a:p>
            </p:txBody>
          </p:sp>
          <p:cxnSp>
            <p:nvCxnSpPr>
              <p:cNvPr id="247" name="Straight Connector 246">
                <a:extLst>
                  <a:ext uri="{FF2B5EF4-FFF2-40B4-BE49-F238E27FC236}">
                    <a16:creationId xmlns:a16="http://schemas.microsoft.com/office/drawing/2014/main" id="{8A94E1FF-F57A-C676-9385-3B597C7768C3}"/>
                  </a:ext>
                </a:extLst>
              </p:cNvPr>
              <p:cNvCxnSpPr>
                <a:cxnSpLocks/>
              </p:cNvCxnSpPr>
              <p:nvPr/>
            </p:nvCxnSpPr>
            <p:spPr>
              <a:xfrm>
                <a:off x="3456064" y="3024116"/>
                <a:ext cx="52692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48" name="TextBox 247">
              <a:extLst>
                <a:ext uri="{FF2B5EF4-FFF2-40B4-BE49-F238E27FC236}">
                  <a16:creationId xmlns:a16="http://schemas.microsoft.com/office/drawing/2014/main" id="{41555B27-F4A6-E1A4-D3DE-58D2CA6B57E0}"/>
                </a:ext>
              </a:extLst>
            </p:cNvPr>
            <p:cNvSpPr txBox="1"/>
            <p:nvPr/>
          </p:nvSpPr>
          <p:spPr>
            <a:xfrm>
              <a:off x="621691" y="3697874"/>
              <a:ext cx="1607956" cy="153888"/>
            </a:xfrm>
            <a:prstGeom prst="rect">
              <a:avLst/>
            </a:prstGeom>
            <a:noFill/>
            <a:ln>
              <a:noFill/>
            </a:ln>
          </p:spPr>
          <p:txBody>
            <a:bodyPr wrap="square" lIns="0" tIns="0" rIns="0" bIns="0" rtlCol="0" anchor="t">
              <a:spAutoFit/>
            </a:bodyPr>
            <a:lstStyle/>
            <a:p>
              <a:pPr defTabSz="685800" fontAlgn="auto">
                <a:spcBef>
                  <a:spcPts val="0"/>
                </a:spcBef>
                <a:spcAft>
                  <a:spcPts val="225"/>
                </a:spcAft>
                <a:defRPr/>
              </a:pPr>
              <a:r>
                <a:rPr lang="en-US" sz="750">
                  <a:solidFill>
                    <a:srgbClr val="7500C0"/>
                  </a:solidFill>
                  <a:latin typeface="Graphik Semibold" panose="020B0703030202060203" pitchFamily="34" charset="0"/>
                  <a:cs typeface="Arial Black"/>
                </a:rPr>
                <a:t>North America</a:t>
              </a:r>
            </a:p>
          </p:txBody>
        </p:sp>
        <p:grpSp>
          <p:nvGrpSpPr>
            <p:cNvPr id="249" name="Group 248">
              <a:extLst>
                <a:ext uri="{FF2B5EF4-FFF2-40B4-BE49-F238E27FC236}">
                  <a16:creationId xmlns:a16="http://schemas.microsoft.com/office/drawing/2014/main" id="{97CE4261-4858-7BCB-B844-7CEA5EBC5F01}"/>
                </a:ext>
              </a:extLst>
            </p:cNvPr>
            <p:cNvGrpSpPr/>
            <p:nvPr/>
          </p:nvGrpSpPr>
          <p:grpSpPr>
            <a:xfrm>
              <a:off x="1596927" y="3729136"/>
              <a:ext cx="273946" cy="102050"/>
              <a:chOff x="1681489" y="2952116"/>
              <a:chExt cx="386558" cy="144000"/>
            </a:xfrm>
          </p:grpSpPr>
          <p:sp>
            <p:nvSpPr>
              <p:cNvPr id="250" name="Oval 249">
                <a:extLst>
                  <a:ext uri="{FF2B5EF4-FFF2-40B4-BE49-F238E27FC236}">
                    <a16:creationId xmlns:a16="http://schemas.microsoft.com/office/drawing/2014/main" id="{02F17B3B-C1AA-D502-D744-4A55D5866F92}"/>
                  </a:ext>
                </a:extLst>
              </p:cNvPr>
              <p:cNvSpPr>
                <a:spLocks noChangeAspect="1"/>
              </p:cNvSpPr>
              <p:nvPr/>
            </p:nvSpPr>
            <p:spPr>
              <a:xfrm>
                <a:off x="1924047" y="2952116"/>
                <a:ext cx="144000" cy="144000"/>
              </a:xfrm>
              <a:prstGeom prst="ellipse">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Graphik"/>
                </a:endParaRPr>
              </a:p>
            </p:txBody>
          </p:sp>
          <p:cxnSp>
            <p:nvCxnSpPr>
              <p:cNvPr id="251" name="Straight Connector 250">
                <a:extLst>
                  <a:ext uri="{FF2B5EF4-FFF2-40B4-BE49-F238E27FC236}">
                    <a16:creationId xmlns:a16="http://schemas.microsoft.com/office/drawing/2014/main" id="{D953F1BD-0AFB-385F-2FDF-23CBC8163404}"/>
                  </a:ext>
                </a:extLst>
              </p:cNvPr>
              <p:cNvCxnSpPr>
                <a:cxnSpLocks/>
              </p:cNvCxnSpPr>
              <p:nvPr/>
            </p:nvCxnSpPr>
            <p:spPr>
              <a:xfrm>
                <a:off x="1681489" y="3028840"/>
                <a:ext cx="252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2" name="TextBox 251">
              <a:extLst>
                <a:ext uri="{FF2B5EF4-FFF2-40B4-BE49-F238E27FC236}">
                  <a16:creationId xmlns:a16="http://schemas.microsoft.com/office/drawing/2014/main" id="{A8612238-8F04-4F8B-B6F5-C27A3F592B80}"/>
                </a:ext>
              </a:extLst>
            </p:cNvPr>
            <p:cNvSpPr txBox="1"/>
            <p:nvPr/>
          </p:nvSpPr>
          <p:spPr>
            <a:xfrm flipH="1">
              <a:off x="3250976" y="4036705"/>
              <a:ext cx="517235" cy="153888"/>
            </a:xfrm>
            <a:prstGeom prst="rect">
              <a:avLst/>
            </a:prstGeom>
            <a:noFill/>
            <a:ln>
              <a:noFill/>
            </a:ln>
          </p:spPr>
          <p:txBody>
            <a:bodyPr wrap="square" lIns="0" tIns="0" rIns="0" bIns="0" rtlCol="0" anchor="t">
              <a:spAutoFit/>
            </a:bodyPr>
            <a:lstStyle/>
            <a:p>
              <a:pPr defTabSz="685800" fontAlgn="auto">
                <a:spcBef>
                  <a:spcPts val="0"/>
                </a:spcBef>
                <a:spcAft>
                  <a:spcPts val="225"/>
                </a:spcAft>
                <a:defRPr/>
              </a:pPr>
              <a:r>
                <a:rPr lang="en-US" sz="750">
                  <a:solidFill>
                    <a:srgbClr val="7500C0"/>
                  </a:solidFill>
                  <a:latin typeface="Graphik Semibold" panose="020B0703030202060203" pitchFamily="34" charset="0"/>
                  <a:cs typeface="Arial Black"/>
                </a:rPr>
                <a:t>Iberia</a:t>
              </a:r>
            </a:p>
          </p:txBody>
        </p:sp>
        <p:sp>
          <p:nvSpPr>
            <p:cNvPr id="253" name="Oval 252">
              <a:extLst>
                <a:ext uri="{FF2B5EF4-FFF2-40B4-BE49-F238E27FC236}">
                  <a16:creationId xmlns:a16="http://schemas.microsoft.com/office/drawing/2014/main" id="{7FC9AD54-8363-0E6B-33D5-107AF6F30D10}"/>
                </a:ext>
              </a:extLst>
            </p:cNvPr>
            <p:cNvSpPr>
              <a:spLocks noChangeAspect="1"/>
            </p:cNvSpPr>
            <p:nvPr/>
          </p:nvSpPr>
          <p:spPr>
            <a:xfrm flipH="1">
              <a:off x="2939040" y="3724100"/>
              <a:ext cx="102050" cy="102051"/>
            </a:xfrm>
            <a:prstGeom prst="ellipse">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Graphik"/>
              </a:endParaRPr>
            </a:p>
          </p:txBody>
        </p:sp>
        <p:cxnSp>
          <p:nvCxnSpPr>
            <p:cNvPr id="254" name="Elbow Connector 232">
              <a:extLst>
                <a:ext uri="{FF2B5EF4-FFF2-40B4-BE49-F238E27FC236}">
                  <a16:creationId xmlns:a16="http://schemas.microsoft.com/office/drawing/2014/main" id="{1DBC0B89-ABB1-3D03-7C4C-4EE8BCCEA105}"/>
                </a:ext>
              </a:extLst>
            </p:cNvPr>
            <p:cNvCxnSpPr>
              <a:cxnSpLocks/>
            </p:cNvCxnSpPr>
            <p:nvPr/>
          </p:nvCxnSpPr>
          <p:spPr>
            <a:xfrm rot="16200000" flipH="1">
              <a:off x="2948015" y="3871177"/>
              <a:ext cx="292924" cy="207136"/>
            </a:xfrm>
            <a:prstGeom prst="bentConnector2">
              <a:avLst/>
            </a:prstGeom>
            <a:noFill/>
            <a:ln w="12700" cmpd="sng">
              <a:solidFill>
                <a:schemeClr val="accent2"/>
              </a:solidFill>
              <a:tailEnd type="none" w="med" len="med"/>
            </a:ln>
          </p:spPr>
          <p:style>
            <a:lnRef idx="1">
              <a:schemeClr val="accent1"/>
            </a:lnRef>
            <a:fillRef idx="0">
              <a:schemeClr val="accent1"/>
            </a:fillRef>
            <a:effectRef idx="0">
              <a:schemeClr val="accent1"/>
            </a:effectRef>
            <a:fontRef idx="minor">
              <a:schemeClr val="tx1"/>
            </a:fontRef>
          </p:style>
        </p:cxnSp>
        <p:grpSp>
          <p:nvGrpSpPr>
            <p:cNvPr id="255" name="Group 254">
              <a:extLst>
                <a:ext uri="{FF2B5EF4-FFF2-40B4-BE49-F238E27FC236}">
                  <a16:creationId xmlns:a16="http://schemas.microsoft.com/office/drawing/2014/main" id="{46F4BF06-8001-7AE5-403C-558C59F8354B}"/>
                </a:ext>
              </a:extLst>
            </p:cNvPr>
            <p:cNvGrpSpPr/>
            <p:nvPr/>
          </p:nvGrpSpPr>
          <p:grpSpPr>
            <a:xfrm rot="16200000" flipH="1">
              <a:off x="2818210" y="3302098"/>
              <a:ext cx="302886" cy="102050"/>
              <a:chOff x="3699595" y="2952116"/>
              <a:chExt cx="427394" cy="144000"/>
            </a:xfrm>
          </p:grpSpPr>
          <p:sp>
            <p:nvSpPr>
              <p:cNvPr id="256" name="Oval 255">
                <a:extLst>
                  <a:ext uri="{FF2B5EF4-FFF2-40B4-BE49-F238E27FC236}">
                    <a16:creationId xmlns:a16="http://schemas.microsoft.com/office/drawing/2014/main" id="{DF1019A6-662C-D1EE-E7AF-CBF5D685A037}"/>
                  </a:ext>
                </a:extLst>
              </p:cNvPr>
              <p:cNvSpPr>
                <a:spLocks noChangeAspect="1"/>
              </p:cNvSpPr>
              <p:nvPr/>
            </p:nvSpPr>
            <p:spPr>
              <a:xfrm>
                <a:off x="3982989" y="2952116"/>
                <a:ext cx="144000" cy="144000"/>
              </a:xfrm>
              <a:prstGeom prst="ellipse">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Graphik"/>
                </a:endParaRPr>
              </a:p>
            </p:txBody>
          </p:sp>
          <p:cxnSp>
            <p:nvCxnSpPr>
              <p:cNvPr id="257" name="Straight Connector 256">
                <a:extLst>
                  <a:ext uri="{FF2B5EF4-FFF2-40B4-BE49-F238E27FC236}">
                    <a16:creationId xmlns:a16="http://schemas.microsoft.com/office/drawing/2014/main" id="{D432C854-1344-609B-36E4-295DFEDA9AF6}"/>
                  </a:ext>
                </a:extLst>
              </p:cNvPr>
              <p:cNvCxnSpPr>
                <a:cxnSpLocks/>
              </p:cNvCxnSpPr>
              <p:nvPr/>
            </p:nvCxnSpPr>
            <p:spPr>
              <a:xfrm rot="16200000">
                <a:off x="3841291" y="2882420"/>
                <a:ext cx="1" cy="283393"/>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8" name="TextBox 257">
              <a:extLst>
                <a:ext uri="{FF2B5EF4-FFF2-40B4-BE49-F238E27FC236}">
                  <a16:creationId xmlns:a16="http://schemas.microsoft.com/office/drawing/2014/main" id="{CD3D7C2A-B34A-2E16-ED23-9DBADF138A42}"/>
                </a:ext>
              </a:extLst>
            </p:cNvPr>
            <p:cNvSpPr txBox="1"/>
            <p:nvPr/>
          </p:nvSpPr>
          <p:spPr>
            <a:xfrm flipH="1">
              <a:off x="2883822" y="3010007"/>
              <a:ext cx="317715" cy="153888"/>
            </a:xfrm>
            <a:prstGeom prst="rect">
              <a:avLst/>
            </a:prstGeom>
            <a:noFill/>
            <a:ln>
              <a:noFill/>
            </a:ln>
          </p:spPr>
          <p:txBody>
            <a:bodyPr wrap="square" lIns="0" tIns="0" rIns="0" bIns="0" rtlCol="0" anchor="t">
              <a:spAutoFit/>
            </a:bodyPr>
            <a:lstStyle/>
            <a:p>
              <a:pPr defTabSz="685800" fontAlgn="auto">
                <a:spcBef>
                  <a:spcPts val="0"/>
                </a:spcBef>
                <a:spcAft>
                  <a:spcPts val="225"/>
                </a:spcAft>
                <a:defRPr/>
              </a:pPr>
              <a:r>
                <a:rPr lang="en-US" sz="750">
                  <a:solidFill>
                    <a:srgbClr val="7500C0"/>
                  </a:solidFill>
                  <a:latin typeface="Graphik Semibold" panose="020B0703030202060203" pitchFamily="34" charset="0"/>
                  <a:cs typeface="Arial Black"/>
                </a:rPr>
                <a:t>UK</a:t>
              </a:r>
            </a:p>
          </p:txBody>
        </p:sp>
        <p:sp>
          <p:nvSpPr>
            <p:cNvPr id="259" name="TextBox 258">
              <a:extLst>
                <a:ext uri="{FF2B5EF4-FFF2-40B4-BE49-F238E27FC236}">
                  <a16:creationId xmlns:a16="http://schemas.microsoft.com/office/drawing/2014/main" id="{71FAF5F3-020A-4C69-F727-4F8ADF0832D4}"/>
                </a:ext>
              </a:extLst>
            </p:cNvPr>
            <p:cNvSpPr txBox="1"/>
            <p:nvPr/>
          </p:nvSpPr>
          <p:spPr>
            <a:xfrm flipH="1">
              <a:off x="4613225" y="4182288"/>
              <a:ext cx="517235" cy="153888"/>
            </a:xfrm>
            <a:prstGeom prst="rect">
              <a:avLst/>
            </a:prstGeom>
            <a:noFill/>
            <a:ln>
              <a:noFill/>
            </a:ln>
          </p:spPr>
          <p:txBody>
            <a:bodyPr wrap="square" lIns="0" tIns="0" rIns="0" bIns="0" rtlCol="0" anchor="t">
              <a:spAutoFit/>
            </a:bodyPr>
            <a:lstStyle/>
            <a:p>
              <a:pPr defTabSz="685800" fontAlgn="auto">
                <a:spcBef>
                  <a:spcPts val="0"/>
                </a:spcBef>
                <a:spcAft>
                  <a:spcPts val="225"/>
                </a:spcAft>
                <a:defRPr/>
              </a:pPr>
              <a:r>
                <a:rPr lang="en-US" sz="750">
                  <a:solidFill>
                    <a:srgbClr val="7500C0"/>
                  </a:solidFill>
                  <a:latin typeface="Graphik Semibold" panose="020B0703030202060203" pitchFamily="34" charset="0"/>
                  <a:cs typeface="Arial Black"/>
                </a:rPr>
                <a:t>India</a:t>
              </a:r>
            </a:p>
          </p:txBody>
        </p:sp>
        <p:sp>
          <p:nvSpPr>
            <p:cNvPr id="260" name="Oval 259">
              <a:extLst>
                <a:ext uri="{FF2B5EF4-FFF2-40B4-BE49-F238E27FC236}">
                  <a16:creationId xmlns:a16="http://schemas.microsoft.com/office/drawing/2014/main" id="{C46C0BA6-2230-06AC-1200-455133F7A0BE}"/>
                </a:ext>
              </a:extLst>
            </p:cNvPr>
            <p:cNvSpPr>
              <a:spLocks noChangeAspect="1"/>
            </p:cNvSpPr>
            <p:nvPr/>
          </p:nvSpPr>
          <p:spPr>
            <a:xfrm flipH="1">
              <a:off x="4054264" y="4054415"/>
              <a:ext cx="102050" cy="102051"/>
            </a:xfrm>
            <a:prstGeom prst="ellipse">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Graphik"/>
              </a:endParaRPr>
            </a:p>
          </p:txBody>
        </p:sp>
        <p:cxnSp>
          <p:nvCxnSpPr>
            <p:cNvPr id="261" name="Elbow Connector 232">
              <a:extLst>
                <a:ext uri="{FF2B5EF4-FFF2-40B4-BE49-F238E27FC236}">
                  <a16:creationId xmlns:a16="http://schemas.microsoft.com/office/drawing/2014/main" id="{5AA6C4E9-C2C6-5AA0-03FE-6026F99308DD}"/>
                </a:ext>
              </a:extLst>
            </p:cNvPr>
            <p:cNvCxnSpPr>
              <a:cxnSpLocks/>
            </p:cNvCxnSpPr>
            <p:nvPr/>
          </p:nvCxnSpPr>
          <p:spPr>
            <a:xfrm rot="16200000" flipH="1">
              <a:off x="4267671" y="3989056"/>
              <a:ext cx="127563" cy="453802"/>
            </a:xfrm>
            <a:prstGeom prst="bentConnector2">
              <a:avLst/>
            </a:prstGeom>
            <a:noFill/>
            <a:ln w="12700" cmpd="sng">
              <a:solidFill>
                <a:schemeClr val="accent2"/>
              </a:solidFill>
              <a:tailEnd type="none" w="med" len="med"/>
            </a:ln>
          </p:spPr>
          <p:style>
            <a:lnRef idx="1">
              <a:schemeClr val="accent1"/>
            </a:lnRef>
            <a:fillRef idx="0">
              <a:schemeClr val="accent1"/>
            </a:fillRef>
            <a:effectRef idx="0">
              <a:schemeClr val="accent1"/>
            </a:effectRef>
            <a:fontRef idx="minor">
              <a:schemeClr val="tx1"/>
            </a:fontRef>
          </p:style>
        </p:cxnSp>
        <p:sp>
          <p:nvSpPr>
            <p:cNvPr id="262" name="TextBox 261">
              <a:extLst>
                <a:ext uri="{FF2B5EF4-FFF2-40B4-BE49-F238E27FC236}">
                  <a16:creationId xmlns:a16="http://schemas.microsoft.com/office/drawing/2014/main" id="{AB59AA58-896D-13C4-A826-3F3D7AEEC6BF}"/>
                </a:ext>
              </a:extLst>
            </p:cNvPr>
            <p:cNvSpPr txBox="1"/>
            <p:nvPr/>
          </p:nvSpPr>
          <p:spPr>
            <a:xfrm flipH="1">
              <a:off x="4803468" y="3804242"/>
              <a:ext cx="885068" cy="153888"/>
            </a:xfrm>
            <a:prstGeom prst="rect">
              <a:avLst/>
            </a:prstGeom>
            <a:noFill/>
            <a:ln>
              <a:noFill/>
            </a:ln>
          </p:spPr>
          <p:txBody>
            <a:bodyPr wrap="square" lIns="0" tIns="0" rIns="0" bIns="0" rtlCol="0" anchor="t">
              <a:spAutoFit/>
            </a:bodyPr>
            <a:lstStyle/>
            <a:p>
              <a:pPr defTabSz="685800" fontAlgn="auto">
                <a:spcBef>
                  <a:spcPts val="0"/>
                </a:spcBef>
                <a:spcAft>
                  <a:spcPts val="225"/>
                </a:spcAft>
                <a:defRPr/>
              </a:pPr>
              <a:r>
                <a:rPr lang="en-US" sz="750">
                  <a:solidFill>
                    <a:srgbClr val="7500C0"/>
                  </a:solidFill>
                  <a:latin typeface="Graphik Semibold" panose="020B0703030202060203" pitchFamily="34" charset="0"/>
                  <a:cs typeface="Arial Black"/>
                </a:rPr>
                <a:t>China</a:t>
              </a:r>
            </a:p>
          </p:txBody>
        </p:sp>
        <p:grpSp>
          <p:nvGrpSpPr>
            <p:cNvPr id="263" name="Group 262">
              <a:extLst>
                <a:ext uri="{FF2B5EF4-FFF2-40B4-BE49-F238E27FC236}">
                  <a16:creationId xmlns:a16="http://schemas.microsoft.com/office/drawing/2014/main" id="{FA9FAF09-8531-606E-7C63-BDC2E05A2D53}"/>
                </a:ext>
              </a:extLst>
            </p:cNvPr>
            <p:cNvGrpSpPr/>
            <p:nvPr/>
          </p:nvGrpSpPr>
          <p:grpSpPr>
            <a:xfrm flipH="1">
              <a:off x="4395176" y="3834039"/>
              <a:ext cx="349301" cy="102050"/>
              <a:chOff x="3634100" y="2952116"/>
              <a:chExt cx="492889" cy="144000"/>
            </a:xfrm>
          </p:grpSpPr>
          <p:sp>
            <p:nvSpPr>
              <p:cNvPr id="264" name="Oval 263">
                <a:extLst>
                  <a:ext uri="{FF2B5EF4-FFF2-40B4-BE49-F238E27FC236}">
                    <a16:creationId xmlns:a16="http://schemas.microsoft.com/office/drawing/2014/main" id="{E08C37EA-1572-7AAA-016F-8E125A140432}"/>
                  </a:ext>
                </a:extLst>
              </p:cNvPr>
              <p:cNvSpPr>
                <a:spLocks noChangeAspect="1"/>
              </p:cNvSpPr>
              <p:nvPr/>
            </p:nvSpPr>
            <p:spPr>
              <a:xfrm>
                <a:off x="3982989" y="2952116"/>
                <a:ext cx="144000" cy="144000"/>
              </a:xfrm>
              <a:prstGeom prst="ellipse">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Graphik"/>
                </a:endParaRPr>
              </a:p>
            </p:txBody>
          </p:sp>
          <p:cxnSp>
            <p:nvCxnSpPr>
              <p:cNvPr id="265" name="Straight Connector 264">
                <a:extLst>
                  <a:ext uri="{FF2B5EF4-FFF2-40B4-BE49-F238E27FC236}">
                    <a16:creationId xmlns:a16="http://schemas.microsoft.com/office/drawing/2014/main" id="{689C273E-DC60-58C8-DCC7-D3E6ED35BB47}"/>
                  </a:ext>
                </a:extLst>
              </p:cNvPr>
              <p:cNvCxnSpPr>
                <a:cxnSpLocks/>
              </p:cNvCxnSpPr>
              <p:nvPr/>
            </p:nvCxnSpPr>
            <p:spPr>
              <a:xfrm>
                <a:off x="3634100" y="3024116"/>
                <a:ext cx="34888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66" name="TextBox 265">
              <a:extLst>
                <a:ext uri="{FF2B5EF4-FFF2-40B4-BE49-F238E27FC236}">
                  <a16:creationId xmlns:a16="http://schemas.microsoft.com/office/drawing/2014/main" id="{3672D7B9-045D-42B4-0CB6-3231067DCF51}"/>
                </a:ext>
              </a:extLst>
            </p:cNvPr>
            <p:cNvSpPr txBox="1"/>
            <p:nvPr/>
          </p:nvSpPr>
          <p:spPr>
            <a:xfrm flipH="1">
              <a:off x="3753552" y="3632914"/>
              <a:ext cx="448443" cy="153888"/>
            </a:xfrm>
            <a:prstGeom prst="rect">
              <a:avLst/>
            </a:prstGeom>
            <a:noFill/>
            <a:ln>
              <a:noFill/>
            </a:ln>
          </p:spPr>
          <p:txBody>
            <a:bodyPr wrap="square" lIns="0" tIns="0" rIns="0" bIns="0" rtlCol="0" anchor="t">
              <a:spAutoFit/>
            </a:bodyPr>
            <a:lstStyle/>
            <a:p>
              <a:pPr defTabSz="685800" fontAlgn="auto">
                <a:spcBef>
                  <a:spcPts val="0"/>
                </a:spcBef>
                <a:spcAft>
                  <a:spcPts val="225"/>
                </a:spcAft>
                <a:defRPr/>
              </a:pPr>
              <a:r>
                <a:rPr lang="en-US" sz="750">
                  <a:solidFill>
                    <a:srgbClr val="7500C0"/>
                  </a:solidFill>
                  <a:latin typeface="Graphik Semibold" panose="020B0703030202060203" pitchFamily="34" charset="0"/>
                  <a:cs typeface="Arial Black"/>
                </a:rPr>
                <a:t>ICEG</a:t>
              </a:r>
            </a:p>
          </p:txBody>
        </p:sp>
        <p:grpSp>
          <p:nvGrpSpPr>
            <p:cNvPr id="267" name="Group 266">
              <a:extLst>
                <a:ext uri="{FF2B5EF4-FFF2-40B4-BE49-F238E27FC236}">
                  <a16:creationId xmlns:a16="http://schemas.microsoft.com/office/drawing/2014/main" id="{F36FEE42-7CEC-4B95-C4DB-22671F57CEDE}"/>
                </a:ext>
              </a:extLst>
            </p:cNvPr>
            <p:cNvGrpSpPr/>
            <p:nvPr/>
          </p:nvGrpSpPr>
          <p:grpSpPr>
            <a:xfrm flipH="1">
              <a:off x="3234604" y="3662712"/>
              <a:ext cx="475471" cy="102050"/>
              <a:chOff x="3456064" y="2952116"/>
              <a:chExt cx="670925" cy="144000"/>
            </a:xfrm>
          </p:grpSpPr>
          <p:sp>
            <p:nvSpPr>
              <p:cNvPr id="268" name="Oval 267">
                <a:extLst>
                  <a:ext uri="{FF2B5EF4-FFF2-40B4-BE49-F238E27FC236}">
                    <a16:creationId xmlns:a16="http://schemas.microsoft.com/office/drawing/2014/main" id="{71924F0F-0F0B-F2DD-488A-349DF0133415}"/>
                  </a:ext>
                </a:extLst>
              </p:cNvPr>
              <p:cNvSpPr>
                <a:spLocks noChangeAspect="1"/>
              </p:cNvSpPr>
              <p:nvPr/>
            </p:nvSpPr>
            <p:spPr>
              <a:xfrm>
                <a:off x="3982989" y="2952116"/>
                <a:ext cx="144000" cy="144000"/>
              </a:xfrm>
              <a:prstGeom prst="ellipse">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Graphik"/>
                </a:endParaRPr>
              </a:p>
            </p:txBody>
          </p:sp>
          <p:cxnSp>
            <p:nvCxnSpPr>
              <p:cNvPr id="269" name="Straight Connector 268">
                <a:extLst>
                  <a:ext uri="{FF2B5EF4-FFF2-40B4-BE49-F238E27FC236}">
                    <a16:creationId xmlns:a16="http://schemas.microsoft.com/office/drawing/2014/main" id="{B5D9AE03-EADC-6513-5C74-47FFFB2F43EF}"/>
                  </a:ext>
                </a:extLst>
              </p:cNvPr>
              <p:cNvCxnSpPr>
                <a:cxnSpLocks/>
              </p:cNvCxnSpPr>
              <p:nvPr/>
            </p:nvCxnSpPr>
            <p:spPr>
              <a:xfrm>
                <a:off x="3456064" y="3024116"/>
                <a:ext cx="52692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70" name="Group 269">
              <a:extLst>
                <a:ext uri="{FF2B5EF4-FFF2-40B4-BE49-F238E27FC236}">
                  <a16:creationId xmlns:a16="http://schemas.microsoft.com/office/drawing/2014/main" id="{CEB04670-81EF-766F-4279-31C7D64C4F65}"/>
                </a:ext>
              </a:extLst>
            </p:cNvPr>
            <p:cNvGrpSpPr/>
            <p:nvPr/>
          </p:nvGrpSpPr>
          <p:grpSpPr>
            <a:xfrm>
              <a:off x="2612758" y="3548302"/>
              <a:ext cx="475471" cy="102050"/>
              <a:chOff x="3456064" y="2952116"/>
              <a:chExt cx="670925" cy="144000"/>
            </a:xfrm>
          </p:grpSpPr>
          <p:sp>
            <p:nvSpPr>
              <p:cNvPr id="271" name="Oval 270">
                <a:extLst>
                  <a:ext uri="{FF2B5EF4-FFF2-40B4-BE49-F238E27FC236}">
                    <a16:creationId xmlns:a16="http://schemas.microsoft.com/office/drawing/2014/main" id="{D65924EA-A0F3-990D-FC8C-B5E259A04C43}"/>
                  </a:ext>
                </a:extLst>
              </p:cNvPr>
              <p:cNvSpPr>
                <a:spLocks noChangeAspect="1"/>
              </p:cNvSpPr>
              <p:nvPr/>
            </p:nvSpPr>
            <p:spPr>
              <a:xfrm>
                <a:off x="3982989" y="2952116"/>
                <a:ext cx="144000" cy="144000"/>
              </a:xfrm>
              <a:prstGeom prst="ellipse">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Graphik"/>
                </a:endParaRPr>
              </a:p>
            </p:txBody>
          </p:sp>
          <p:cxnSp>
            <p:nvCxnSpPr>
              <p:cNvPr id="272" name="Straight Connector 271">
                <a:extLst>
                  <a:ext uri="{FF2B5EF4-FFF2-40B4-BE49-F238E27FC236}">
                    <a16:creationId xmlns:a16="http://schemas.microsoft.com/office/drawing/2014/main" id="{0E724318-D86A-5279-AB45-AA58D8FC03B6}"/>
                  </a:ext>
                </a:extLst>
              </p:cNvPr>
              <p:cNvCxnSpPr>
                <a:cxnSpLocks/>
              </p:cNvCxnSpPr>
              <p:nvPr/>
            </p:nvCxnSpPr>
            <p:spPr>
              <a:xfrm>
                <a:off x="3456064" y="3024116"/>
                <a:ext cx="52692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73" name="TextBox 272">
              <a:extLst>
                <a:ext uri="{FF2B5EF4-FFF2-40B4-BE49-F238E27FC236}">
                  <a16:creationId xmlns:a16="http://schemas.microsoft.com/office/drawing/2014/main" id="{7E526F69-006E-F9AE-1916-655147F90707}"/>
                </a:ext>
              </a:extLst>
            </p:cNvPr>
            <p:cNvSpPr txBox="1"/>
            <p:nvPr/>
          </p:nvSpPr>
          <p:spPr>
            <a:xfrm flipH="1">
              <a:off x="2224090" y="3514014"/>
              <a:ext cx="412795" cy="153888"/>
            </a:xfrm>
            <a:prstGeom prst="rect">
              <a:avLst/>
            </a:prstGeom>
            <a:noFill/>
            <a:ln>
              <a:noFill/>
            </a:ln>
          </p:spPr>
          <p:txBody>
            <a:bodyPr wrap="square" lIns="0" tIns="0" rIns="0" bIns="0" rtlCol="0" anchor="t">
              <a:spAutoFit/>
            </a:bodyPr>
            <a:lstStyle/>
            <a:p>
              <a:pPr defTabSz="685800" fontAlgn="auto">
                <a:spcBef>
                  <a:spcPts val="0"/>
                </a:spcBef>
                <a:spcAft>
                  <a:spcPts val="225"/>
                </a:spcAft>
                <a:defRPr/>
              </a:pPr>
              <a:r>
                <a:rPr lang="en-US" sz="750">
                  <a:solidFill>
                    <a:srgbClr val="7500C0"/>
                  </a:solidFill>
                  <a:latin typeface="Graphik Semibold" panose="020B0703030202060203" pitchFamily="34" charset="0"/>
                  <a:cs typeface="Arial Black"/>
                </a:rPr>
                <a:t>Gallia</a:t>
              </a:r>
            </a:p>
          </p:txBody>
        </p:sp>
        <p:grpSp>
          <p:nvGrpSpPr>
            <p:cNvPr id="274" name="Group 273">
              <a:extLst>
                <a:ext uri="{FF2B5EF4-FFF2-40B4-BE49-F238E27FC236}">
                  <a16:creationId xmlns:a16="http://schemas.microsoft.com/office/drawing/2014/main" id="{6DC82833-317B-EB4C-93AE-E45AAAB8865A}"/>
                </a:ext>
              </a:extLst>
            </p:cNvPr>
            <p:cNvGrpSpPr/>
            <p:nvPr/>
          </p:nvGrpSpPr>
          <p:grpSpPr>
            <a:xfrm rot="16200000" flipH="1">
              <a:off x="3294380" y="3250500"/>
              <a:ext cx="302886" cy="102050"/>
              <a:chOff x="3699595" y="2952116"/>
              <a:chExt cx="427394" cy="144000"/>
            </a:xfrm>
          </p:grpSpPr>
          <p:sp>
            <p:nvSpPr>
              <p:cNvPr id="275" name="Oval 274">
                <a:extLst>
                  <a:ext uri="{FF2B5EF4-FFF2-40B4-BE49-F238E27FC236}">
                    <a16:creationId xmlns:a16="http://schemas.microsoft.com/office/drawing/2014/main" id="{FB50F7C4-3FD6-554C-5C5F-B8B7D4E53924}"/>
                  </a:ext>
                </a:extLst>
              </p:cNvPr>
              <p:cNvSpPr>
                <a:spLocks noChangeAspect="1"/>
              </p:cNvSpPr>
              <p:nvPr/>
            </p:nvSpPr>
            <p:spPr>
              <a:xfrm>
                <a:off x="3982989" y="2952116"/>
                <a:ext cx="144000" cy="144000"/>
              </a:xfrm>
              <a:prstGeom prst="ellipse">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Graphik"/>
                </a:endParaRPr>
              </a:p>
            </p:txBody>
          </p:sp>
          <p:cxnSp>
            <p:nvCxnSpPr>
              <p:cNvPr id="276" name="Straight Connector 275">
                <a:extLst>
                  <a:ext uri="{FF2B5EF4-FFF2-40B4-BE49-F238E27FC236}">
                    <a16:creationId xmlns:a16="http://schemas.microsoft.com/office/drawing/2014/main" id="{5367F338-A2F8-292C-EB51-C48ED62E579A}"/>
                  </a:ext>
                </a:extLst>
              </p:cNvPr>
              <p:cNvCxnSpPr>
                <a:cxnSpLocks/>
              </p:cNvCxnSpPr>
              <p:nvPr/>
            </p:nvCxnSpPr>
            <p:spPr>
              <a:xfrm rot="16200000">
                <a:off x="3841291" y="2882420"/>
                <a:ext cx="1" cy="283393"/>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77" name="TextBox 276">
              <a:extLst>
                <a:ext uri="{FF2B5EF4-FFF2-40B4-BE49-F238E27FC236}">
                  <a16:creationId xmlns:a16="http://schemas.microsoft.com/office/drawing/2014/main" id="{22E52090-9436-ECA8-1C78-C3164A7A869B}"/>
                </a:ext>
              </a:extLst>
            </p:cNvPr>
            <p:cNvSpPr txBox="1"/>
            <p:nvPr/>
          </p:nvSpPr>
          <p:spPr>
            <a:xfrm flipH="1">
              <a:off x="3249409" y="2958409"/>
              <a:ext cx="494877" cy="153888"/>
            </a:xfrm>
            <a:prstGeom prst="rect">
              <a:avLst/>
            </a:prstGeom>
            <a:noFill/>
            <a:ln>
              <a:noFill/>
            </a:ln>
          </p:spPr>
          <p:txBody>
            <a:bodyPr wrap="square" lIns="0" tIns="0" rIns="0" bIns="0" rtlCol="0" anchor="t">
              <a:spAutoFit/>
            </a:bodyPr>
            <a:lstStyle/>
            <a:p>
              <a:pPr defTabSz="685800" fontAlgn="auto">
                <a:spcBef>
                  <a:spcPts val="0"/>
                </a:spcBef>
                <a:spcAft>
                  <a:spcPts val="225"/>
                </a:spcAft>
                <a:defRPr/>
              </a:pPr>
              <a:r>
                <a:rPr lang="en-US" sz="750">
                  <a:solidFill>
                    <a:srgbClr val="7500C0"/>
                  </a:solidFill>
                  <a:latin typeface="Graphik Semibold" panose="020B0703030202060203" pitchFamily="34" charset="0"/>
                  <a:cs typeface="Arial Black"/>
                </a:rPr>
                <a:t>Baltics</a:t>
              </a:r>
            </a:p>
          </p:txBody>
        </p:sp>
      </p:grpSp>
      <p:grpSp>
        <p:nvGrpSpPr>
          <p:cNvPr id="285" name="Group 284">
            <a:extLst>
              <a:ext uri="{FF2B5EF4-FFF2-40B4-BE49-F238E27FC236}">
                <a16:creationId xmlns:a16="http://schemas.microsoft.com/office/drawing/2014/main" id="{BA7618D5-7560-1EAA-D929-E6788381AEE3}"/>
              </a:ext>
            </a:extLst>
          </p:cNvPr>
          <p:cNvGrpSpPr/>
          <p:nvPr/>
        </p:nvGrpSpPr>
        <p:grpSpPr>
          <a:xfrm>
            <a:off x="4293703" y="2247344"/>
            <a:ext cx="4621343" cy="1852104"/>
            <a:chOff x="2941427" y="1831879"/>
            <a:chExt cx="7970227" cy="3194242"/>
          </a:xfrm>
        </p:grpSpPr>
        <p:pic>
          <p:nvPicPr>
            <p:cNvPr id="281" name="Picture 280">
              <a:extLst>
                <a:ext uri="{FF2B5EF4-FFF2-40B4-BE49-F238E27FC236}">
                  <a16:creationId xmlns:a16="http://schemas.microsoft.com/office/drawing/2014/main" id="{F9A28E85-E881-BCAF-05BF-313C925B85C3}"/>
                </a:ext>
              </a:extLst>
            </p:cNvPr>
            <p:cNvPicPr>
              <a:picLocks noChangeAspect="1"/>
            </p:cNvPicPr>
            <p:nvPr/>
          </p:nvPicPr>
          <p:blipFill rotWithShape="1">
            <a:blip r:embed="rId5"/>
            <a:srcRect l="34491" r="41108"/>
            <a:stretch/>
          </p:blipFill>
          <p:spPr>
            <a:xfrm>
              <a:off x="5909237" y="1831879"/>
              <a:ext cx="2974990" cy="3194242"/>
            </a:xfrm>
            <a:prstGeom prst="rect">
              <a:avLst/>
            </a:prstGeom>
          </p:spPr>
        </p:pic>
        <p:pic>
          <p:nvPicPr>
            <p:cNvPr id="282" name="Picture 281">
              <a:extLst>
                <a:ext uri="{FF2B5EF4-FFF2-40B4-BE49-F238E27FC236}">
                  <a16:creationId xmlns:a16="http://schemas.microsoft.com/office/drawing/2014/main" id="{168F5280-4161-8453-E602-5484144B1240}"/>
                </a:ext>
              </a:extLst>
            </p:cNvPr>
            <p:cNvPicPr>
              <a:picLocks noChangeAspect="1"/>
            </p:cNvPicPr>
            <p:nvPr/>
          </p:nvPicPr>
          <p:blipFill rotWithShape="1">
            <a:blip r:embed="rId5"/>
            <a:srcRect l="64281" r="19090"/>
            <a:stretch/>
          </p:blipFill>
          <p:spPr>
            <a:xfrm>
              <a:off x="8884227" y="1831879"/>
              <a:ext cx="2027427" cy="3194242"/>
            </a:xfrm>
            <a:prstGeom prst="rect">
              <a:avLst/>
            </a:prstGeom>
          </p:spPr>
        </p:pic>
        <p:pic>
          <p:nvPicPr>
            <p:cNvPr id="283" name="Picture 282">
              <a:extLst>
                <a:ext uri="{FF2B5EF4-FFF2-40B4-BE49-F238E27FC236}">
                  <a16:creationId xmlns:a16="http://schemas.microsoft.com/office/drawing/2014/main" id="{02A9DFA4-03E1-586C-393B-10AD4DF3F34F}"/>
                </a:ext>
              </a:extLst>
            </p:cNvPr>
            <p:cNvPicPr>
              <a:picLocks noChangeAspect="1"/>
            </p:cNvPicPr>
            <p:nvPr/>
          </p:nvPicPr>
          <p:blipFill rotWithShape="1">
            <a:blip r:embed="rId5"/>
            <a:srcRect l="13998" r="71525"/>
            <a:stretch/>
          </p:blipFill>
          <p:spPr>
            <a:xfrm>
              <a:off x="4149461" y="1831879"/>
              <a:ext cx="1764940" cy="3194242"/>
            </a:xfrm>
            <a:prstGeom prst="rect">
              <a:avLst/>
            </a:prstGeom>
          </p:spPr>
        </p:pic>
        <p:pic>
          <p:nvPicPr>
            <p:cNvPr id="284" name="Picture 283">
              <a:extLst>
                <a:ext uri="{FF2B5EF4-FFF2-40B4-BE49-F238E27FC236}">
                  <a16:creationId xmlns:a16="http://schemas.microsoft.com/office/drawing/2014/main" id="{3B8799FD-940D-530C-DDB7-49F62B0FFB32}"/>
                </a:ext>
              </a:extLst>
            </p:cNvPr>
            <p:cNvPicPr>
              <a:picLocks noChangeAspect="1"/>
            </p:cNvPicPr>
            <p:nvPr/>
          </p:nvPicPr>
          <p:blipFill rotWithShape="1">
            <a:blip r:embed="rId5"/>
            <a:srcRect r="90216"/>
            <a:stretch/>
          </p:blipFill>
          <p:spPr>
            <a:xfrm>
              <a:off x="2941427" y="1831879"/>
              <a:ext cx="1192872" cy="3194242"/>
            </a:xfrm>
            <a:prstGeom prst="rect">
              <a:avLst/>
            </a:prstGeom>
          </p:spPr>
        </p:pic>
      </p:grpSp>
      <p:sp>
        <p:nvSpPr>
          <p:cNvPr id="287" name="Text Placeholder 6">
            <a:extLst>
              <a:ext uri="{FF2B5EF4-FFF2-40B4-BE49-F238E27FC236}">
                <a16:creationId xmlns:a16="http://schemas.microsoft.com/office/drawing/2014/main" id="{5C971F2C-80DF-4EE0-BA73-0DE7D1209BA2}"/>
              </a:ext>
            </a:extLst>
          </p:cNvPr>
          <p:cNvSpPr txBox="1">
            <a:spLocks/>
          </p:cNvSpPr>
          <p:nvPr/>
        </p:nvSpPr>
        <p:spPr>
          <a:xfrm>
            <a:off x="350463" y="1569097"/>
            <a:ext cx="3758057" cy="402440"/>
          </a:xfrm>
          <a:prstGeom prst="rect">
            <a:avLst/>
          </a:prstGeom>
        </p:spPr>
        <p:txBody>
          <a:bodyPr/>
          <a:lstStyle>
            <a:lvl1pPr marL="0" indent="0" algn="l" defTabSz="914400" rtl="0" eaLnBrk="1" latinLnBrk="0" hangingPunct="1">
              <a:lnSpc>
                <a:spcPct val="90000"/>
              </a:lnSpc>
              <a:spcBef>
                <a:spcPts val="800"/>
              </a:spcBef>
              <a:buFont typeface="Arial" panose="020B0604020202020204" pitchFamily="34" charset="0"/>
              <a:buNone/>
              <a:defRPr sz="1800" b="1" i="0" kern="120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90000"/>
              </a:lnSpc>
              <a:spcBef>
                <a:spcPts val="800"/>
              </a:spcBef>
              <a:buFont typeface="Arial" panose="020B0604020202020204" pitchFamily="34" charset="0"/>
              <a:buNone/>
              <a:defRPr sz="1800" b="0" i="0" kern="1200">
                <a:solidFill>
                  <a:schemeClr val="tx1"/>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90000"/>
              </a:lnSpc>
              <a:spcBef>
                <a:spcPts val="8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90000"/>
              </a:lnSpc>
              <a:spcBef>
                <a:spcPts val="8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543600" indent="-180000" algn="l" defTabSz="914400" rtl="0" eaLnBrk="1" latinLnBrk="0" hangingPunct="1">
              <a:lnSpc>
                <a:spcPct val="90000"/>
              </a:lnSpc>
              <a:spcBef>
                <a:spcPts val="8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900"/>
              </a:spcBef>
            </a:pPr>
            <a:r>
              <a:rPr lang="en-US" sz="1350">
                <a:solidFill>
                  <a:schemeClr val="accent2"/>
                </a:solidFill>
              </a:rPr>
              <a:t>Representatives from &gt;10 teams</a:t>
            </a:r>
          </a:p>
        </p:txBody>
      </p:sp>
      <p:sp>
        <p:nvSpPr>
          <p:cNvPr id="288" name="Text Placeholder 6">
            <a:extLst>
              <a:ext uri="{FF2B5EF4-FFF2-40B4-BE49-F238E27FC236}">
                <a16:creationId xmlns:a16="http://schemas.microsoft.com/office/drawing/2014/main" id="{D13D9ACF-E2F4-6647-2A6B-8308548D57F6}"/>
              </a:ext>
            </a:extLst>
          </p:cNvPr>
          <p:cNvSpPr txBox="1">
            <a:spLocks/>
          </p:cNvSpPr>
          <p:nvPr/>
        </p:nvSpPr>
        <p:spPr>
          <a:xfrm>
            <a:off x="4293703" y="1569097"/>
            <a:ext cx="3758057" cy="402440"/>
          </a:xfrm>
          <a:prstGeom prst="rect">
            <a:avLst/>
          </a:prstGeom>
        </p:spPr>
        <p:txBody>
          <a:bodyPr/>
          <a:lstStyle>
            <a:lvl1pPr marL="0" indent="0" algn="l" defTabSz="914400" rtl="0" eaLnBrk="1" latinLnBrk="0" hangingPunct="1">
              <a:lnSpc>
                <a:spcPct val="90000"/>
              </a:lnSpc>
              <a:spcBef>
                <a:spcPts val="800"/>
              </a:spcBef>
              <a:buFont typeface="Arial" panose="020B0604020202020204" pitchFamily="34" charset="0"/>
              <a:buNone/>
              <a:defRPr sz="1800" b="1" i="0" kern="120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90000"/>
              </a:lnSpc>
              <a:spcBef>
                <a:spcPts val="800"/>
              </a:spcBef>
              <a:buFont typeface="Arial" panose="020B0604020202020204" pitchFamily="34" charset="0"/>
              <a:buNone/>
              <a:defRPr sz="1800" b="0" i="0" kern="1200">
                <a:solidFill>
                  <a:schemeClr val="tx1"/>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90000"/>
              </a:lnSpc>
              <a:spcBef>
                <a:spcPts val="8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90000"/>
              </a:lnSpc>
              <a:spcBef>
                <a:spcPts val="8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543600" indent="-180000" algn="l" defTabSz="914400" rtl="0" eaLnBrk="1" latinLnBrk="0" hangingPunct="1">
              <a:lnSpc>
                <a:spcPct val="90000"/>
              </a:lnSpc>
              <a:spcBef>
                <a:spcPts val="8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900"/>
              </a:spcBef>
            </a:pPr>
            <a:r>
              <a:rPr lang="en-US" sz="1350">
                <a:solidFill>
                  <a:schemeClr val="accent2"/>
                </a:solidFill>
              </a:rPr>
              <a:t>Global Computer Vision Workshop</a:t>
            </a:r>
          </a:p>
        </p:txBody>
      </p:sp>
    </p:spTree>
    <p:extLst>
      <p:ext uri="{BB962C8B-B14F-4D97-AF65-F5344CB8AC3E}">
        <p14:creationId xmlns:p14="http://schemas.microsoft.com/office/powerpoint/2010/main" val="3492765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8E747-AA4B-9685-BF46-35A495687E3F}"/>
              </a:ext>
            </a:extLst>
          </p:cNvPr>
          <p:cNvSpPr>
            <a:spLocks noGrp="1"/>
          </p:cNvSpPr>
          <p:nvPr>
            <p:ph type="title"/>
          </p:nvPr>
        </p:nvSpPr>
        <p:spPr/>
        <p:txBody>
          <a:bodyPr/>
          <a:lstStyle/>
          <a:p>
            <a:r>
              <a:rPr lang="de-DE" dirty="0"/>
              <a:t>Problem/</a:t>
            </a:r>
            <a:r>
              <a:rPr lang="zh-CN" altLang="en-US" dirty="0"/>
              <a:t> </a:t>
            </a:r>
            <a:r>
              <a:rPr lang="de-DE" dirty="0"/>
              <a:t>Biological System</a:t>
            </a:r>
          </a:p>
        </p:txBody>
      </p:sp>
    </p:spTree>
    <p:extLst>
      <p:ext uri="{BB962C8B-B14F-4D97-AF65-F5344CB8AC3E}">
        <p14:creationId xmlns:p14="http://schemas.microsoft.com/office/powerpoint/2010/main" val="19271377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C653092-8C84-4D95-8555-AA87ABC0E031}"/>
              </a:ext>
            </a:extLst>
          </p:cNvPr>
          <p:cNvSpPr>
            <a:spLocks noGrp="1"/>
          </p:cNvSpPr>
          <p:nvPr>
            <p:ph idx="1"/>
          </p:nvPr>
        </p:nvSpPr>
        <p:spPr/>
        <p:txBody>
          <a:bodyPr/>
          <a:lstStyle/>
          <a:p>
            <a:r>
              <a:rPr lang="en-US" dirty="0"/>
              <a:t>What is your problem about?</a:t>
            </a:r>
          </a:p>
          <a:p>
            <a:pPr marL="171450" indent="-171450">
              <a:buFont typeface="Wingdings" panose="05000000000000000000" pitchFamily="2" charset="2"/>
              <a:buChar char="§"/>
            </a:pPr>
            <a:r>
              <a:rPr lang="en-US" dirty="0"/>
              <a:t>Problem formulation</a:t>
            </a:r>
          </a:p>
          <a:p>
            <a:pPr marL="171450" indent="-171450">
              <a:buFont typeface="Wingdings" panose="05000000000000000000" pitchFamily="2" charset="2"/>
              <a:buChar char="§"/>
            </a:pPr>
            <a:r>
              <a:rPr lang="en-US" dirty="0"/>
              <a:t>Objectives</a:t>
            </a:r>
          </a:p>
          <a:p>
            <a:pPr marL="171450" indent="-171450">
              <a:buFont typeface="Wingdings" panose="05000000000000000000" pitchFamily="2" charset="2"/>
              <a:buChar char="§"/>
            </a:pPr>
            <a:r>
              <a:rPr lang="en-US" dirty="0"/>
              <a:t>Requirements</a:t>
            </a:r>
          </a:p>
          <a:p>
            <a:pPr marL="171450" indent="-171450">
              <a:buFont typeface="Wingdings" panose="05000000000000000000" pitchFamily="2" charset="2"/>
              <a:buChar char="§"/>
            </a:pPr>
            <a:r>
              <a:rPr lang="en-US" dirty="0"/>
              <a:t>Use the next slide for the description</a:t>
            </a:r>
          </a:p>
          <a:p>
            <a:endParaRPr lang="en-US" dirty="0"/>
          </a:p>
          <a:p>
            <a:r>
              <a:rPr lang="en-US" dirty="0"/>
              <a:t>Describe your biological system</a:t>
            </a:r>
          </a:p>
          <a:p>
            <a:pPr marL="171450" indent="-171450">
              <a:buFont typeface="Wingdings" panose="05000000000000000000" pitchFamily="2" charset="2"/>
              <a:buChar char="§"/>
            </a:pPr>
            <a:r>
              <a:rPr lang="en-US" dirty="0"/>
              <a:t>Special features</a:t>
            </a:r>
          </a:p>
          <a:p>
            <a:pPr marL="171450" indent="-171450">
              <a:buFont typeface="Wingdings" panose="05000000000000000000" pitchFamily="2" charset="2"/>
              <a:buChar char="§"/>
            </a:pPr>
            <a:r>
              <a:rPr lang="en-US" dirty="0"/>
              <a:t>Working principles</a:t>
            </a:r>
          </a:p>
          <a:p>
            <a:pPr marL="171450" indent="-171450">
              <a:buFont typeface="Wingdings" panose="05000000000000000000" pitchFamily="2" charset="2"/>
              <a:buChar char="§"/>
            </a:pPr>
            <a:r>
              <a:rPr lang="en-US" dirty="0"/>
              <a:t>Group into different functions</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endParaRPr lang="en-US" dirty="0"/>
          </a:p>
        </p:txBody>
      </p:sp>
      <p:sp>
        <p:nvSpPr>
          <p:cNvPr id="3" name="Titel 2">
            <a:extLst>
              <a:ext uri="{FF2B5EF4-FFF2-40B4-BE49-F238E27FC236}">
                <a16:creationId xmlns:a16="http://schemas.microsoft.com/office/drawing/2014/main" id="{38FBC131-AA06-452D-8619-2020EFFDF0FD}"/>
              </a:ext>
            </a:extLst>
          </p:cNvPr>
          <p:cNvSpPr>
            <a:spLocks noGrp="1"/>
          </p:cNvSpPr>
          <p:nvPr>
            <p:ph type="title"/>
          </p:nvPr>
        </p:nvSpPr>
        <p:spPr/>
        <p:txBody>
          <a:bodyPr/>
          <a:lstStyle/>
          <a:p>
            <a:endParaRPr lang="en-US" dirty="0"/>
          </a:p>
        </p:txBody>
      </p:sp>
      <p:sp>
        <p:nvSpPr>
          <p:cNvPr id="4" name="Foliennummernplatzhalter 3">
            <a:extLst>
              <a:ext uri="{FF2B5EF4-FFF2-40B4-BE49-F238E27FC236}">
                <a16:creationId xmlns:a16="http://schemas.microsoft.com/office/drawing/2014/main" id="{71CF8AD3-BD36-475F-838A-6F5394E8D186}"/>
              </a:ext>
            </a:extLst>
          </p:cNvPr>
          <p:cNvSpPr>
            <a:spLocks noGrp="1"/>
          </p:cNvSpPr>
          <p:nvPr>
            <p:ph type="sldNum" sz="quarter" idx="11"/>
          </p:nvPr>
        </p:nvSpPr>
        <p:spPr/>
        <p:txBody>
          <a:bodyPr/>
          <a:lstStyle/>
          <a:p>
            <a:fld id="{CE58CB1E-F828-4F11-99E0-327109AF9DA4}" type="slidenum">
              <a:rPr lang="de-DE" smtClean="0"/>
              <a:pPr/>
              <a:t>7</a:t>
            </a:fld>
            <a:endParaRPr lang="de-DE" dirty="0"/>
          </a:p>
        </p:txBody>
      </p:sp>
      <p:sp>
        <p:nvSpPr>
          <p:cNvPr id="5" name="Fußzeilenplatzhalter 4">
            <a:extLst>
              <a:ext uri="{FF2B5EF4-FFF2-40B4-BE49-F238E27FC236}">
                <a16:creationId xmlns:a16="http://schemas.microsoft.com/office/drawing/2014/main" id="{3785E311-1760-4692-9E08-4EC24B2DFA3F}"/>
              </a:ext>
            </a:extLst>
          </p:cNvPr>
          <p:cNvSpPr>
            <a:spLocks noGrp="1"/>
          </p:cNvSpPr>
          <p:nvPr>
            <p:ph type="ftr" sz="quarter" idx="12"/>
          </p:nvPr>
        </p:nvSpPr>
        <p:spPr/>
        <p:txBody>
          <a:bodyPr/>
          <a:lstStyle/>
          <a:p>
            <a:r>
              <a:rPr lang="de-DE" dirty="0"/>
              <a:t>LPL I Bio-</a:t>
            </a:r>
            <a:r>
              <a:rPr lang="de-DE" dirty="0" err="1"/>
              <a:t>inspired</a:t>
            </a:r>
            <a:r>
              <a:rPr lang="de-DE" dirty="0"/>
              <a:t> Design Seminar | Team xx </a:t>
            </a:r>
            <a:endParaRPr lang="en-US" dirty="0"/>
          </a:p>
        </p:txBody>
      </p:sp>
    </p:spTree>
    <p:extLst>
      <p:ext uri="{BB962C8B-B14F-4D97-AF65-F5344CB8AC3E}">
        <p14:creationId xmlns:p14="http://schemas.microsoft.com/office/powerpoint/2010/main" val="9816919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1D800FC-16CD-411A-9A56-6080060E0C69}"/>
              </a:ext>
            </a:extLst>
          </p:cNvPr>
          <p:cNvSpPr>
            <a:spLocks noGrp="1"/>
          </p:cNvSpPr>
          <p:nvPr>
            <p:ph type="body" sz="quarter" idx="13"/>
          </p:nvPr>
        </p:nvSpPr>
        <p:spPr/>
        <p:txBody>
          <a:bodyPr/>
          <a:lstStyle/>
          <a:p>
            <a:endParaRPr lang="de-DE" dirty="0"/>
          </a:p>
        </p:txBody>
      </p:sp>
      <p:sp>
        <p:nvSpPr>
          <p:cNvPr id="2" name="Title 1">
            <a:extLst>
              <a:ext uri="{FF2B5EF4-FFF2-40B4-BE49-F238E27FC236}">
                <a16:creationId xmlns:a16="http://schemas.microsoft.com/office/drawing/2014/main" id="{36E32B43-5768-456E-8CB9-7480E7BBCB27}"/>
              </a:ext>
            </a:extLst>
          </p:cNvPr>
          <p:cNvSpPr>
            <a:spLocks noGrp="1"/>
          </p:cNvSpPr>
          <p:nvPr>
            <p:ph type="title"/>
          </p:nvPr>
        </p:nvSpPr>
        <p:spPr>
          <a:xfrm>
            <a:off x="319090" y="791999"/>
            <a:ext cx="8508999" cy="377796"/>
          </a:xfrm>
        </p:spPr>
        <p:txBody>
          <a:bodyPr/>
          <a:lstStyle/>
          <a:p>
            <a:r>
              <a:rPr lang="de-DE" dirty="0"/>
              <a:t>Problem xx: Title</a:t>
            </a:r>
          </a:p>
        </p:txBody>
      </p:sp>
      <p:sp>
        <p:nvSpPr>
          <p:cNvPr id="4" name="Slide Number Placeholder 3">
            <a:extLst>
              <a:ext uri="{FF2B5EF4-FFF2-40B4-BE49-F238E27FC236}">
                <a16:creationId xmlns:a16="http://schemas.microsoft.com/office/drawing/2014/main" id="{6CE23A45-F832-4F19-B44B-39330733C0CB}"/>
              </a:ext>
            </a:extLst>
          </p:cNvPr>
          <p:cNvSpPr>
            <a:spLocks noGrp="1"/>
          </p:cNvSpPr>
          <p:nvPr>
            <p:ph type="sldNum" sz="quarter" idx="15"/>
          </p:nvPr>
        </p:nvSpPr>
        <p:spPr/>
        <p:txBody>
          <a:bodyPr/>
          <a:lstStyle/>
          <a:p>
            <a:fld id="{CE58CB1E-F828-4F11-99E0-327109AF9DA4}" type="slidenum">
              <a:rPr lang="de-DE" smtClean="0"/>
              <a:pPr/>
              <a:t>8</a:t>
            </a:fld>
            <a:endParaRPr lang="de-DE" dirty="0"/>
          </a:p>
        </p:txBody>
      </p:sp>
      <p:sp>
        <p:nvSpPr>
          <p:cNvPr id="5" name="Footer Placeholder 4">
            <a:extLst>
              <a:ext uri="{FF2B5EF4-FFF2-40B4-BE49-F238E27FC236}">
                <a16:creationId xmlns:a16="http://schemas.microsoft.com/office/drawing/2014/main" id="{FD18836D-034F-41DD-9D03-F00FE97111E8}"/>
              </a:ext>
            </a:extLst>
          </p:cNvPr>
          <p:cNvSpPr>
            <a:spLocks noGrp="1"/>
          </p:cNvSpPr>
          <p:nvPr>
            <p:ph type="ftr" sz="quarter" idx="16"/>
          </p:nvPr>
        </p:nvSpPr>
        <p:spPr/>
        <p:txBody>
          <a:bodyPr/>
          <a:lstStyle/>
          <a:p>
            <a:r>
              <a:rPr lang="de-DE" dirty="0"/>
              <a:t>LPL I Bio-</a:t>
            </a:r>
            <a:r>
              <a:rPr lang="de-DE" dirty="0" err="1"/>
              <a:t>inspired</a:t>
            </a:r>
            <a:r>
              <a:rPr lang="de-DE" dirty="0"/>
              <a:t> Design Seminar | Team xx </a:t>
            </a:r>
            <a:endParaRPr lang="en-US" dirty="0"/>
          </a:p>
        </p:txBody>
      </p:sp>
      <p:sp>
        <p:nvSpPr>
          <p:cNvPr id="13" name="Content Placeholder 12">
            <a:extLst>
              <a:ext uri="{FF2B5EF4-FFF2-40B4-BE49-F238E27FC236}">
                <a16:creationId xmlns:a16="http://schemas.microsoft.com/office/drawing/2014/main" id="{B76A0FCF-28D7-46B7-8C00-8BF3E702E3BD}"/>
              </a:ext>
            </a:extLst>
          </p:cNvPr>
          <p:cNvSpPr>
            <a:spLocks noGrp="1"/>
          </p:cNvSpPr>
          <p:nvPr>
            <p:ph sz="quarter" idx="18"/>
          </p:nvPr>
        </p:nvSpPr>
        <p:spPr>
          <a:xfrm>
            <a:off x="3137643" y="1929780"/>
            <a:ext cx="2960096" cy="1228993"/>
          </a:xfrm>
        </p:spPr>
        <p:txBody>
          <a:bodyPr/>
          <a:lstStyle/>
          <a:p>
            <a:endParaRPr lang="de-DE" dirty="0"/>
          </a:p>
        </p:txBody>
      </p:sp>
      <p:sp>
        <p:nvSpPr>
          <p:cNvPr id="14" name="Content Placeholder 13">
            <a:extLst>
              <a:ext uri="{FF2B5EF4-FFF2-40B4-BE49-F238E27FC236}">
                <a16:creationId xmlns:a16="http://schemas.microsoft.com/office/drawing/2014/main" id="{546A827E-5BBF-4394-BD1E-A06598CD0FAE}"/>
              </a:ext>
            </a:extLst>
          </p:cNvPr>
          <p:cNvSpPr>
            <a:spLocks noGrp="1"/>
          </p:cNvSpPr>
          <p:nvPr>
            <p:ph sz="quarter" idx="20"/>
          </p:nvPr>
        </p:nvSpPr>
        <p:spPr>
          <a:xfrm>
            <a:off x="319090" y="1929780"/>
            <a:ext cx="2769899" cy="2888045"/>
          </a:xfrm>
        </p:spPr>
        <p:txBody>
          <a:bodyPr/>
          <a:lstStyle/>
          <a:p>
            <a:endParaRPr lang="de-DE" dirty="0"/>
          </a:p>
        </p:txBody>
      </p:sp>
      <p:sp>
        <p:nvSpPr>
          <p:cNvPr id="15" name="Content Placeholder 14">
            <a:extLst>
              <a:ext uri="{FF2B5EF4-FFF2-40B4-BE49-F238E27FC236}">
                <a16:creationId xmlns:a16="http://schemas.microsoft.com/office/drawing/2014/main" id="{665CADDB-3B11-415A-966A-4A3A60E5F32C}"/>
              </a:ext>
            </a:extLst>
          </p:cNvPr>
          <p:cNvSpPr>
            <a:spLocks noGrp="1"/>
          </p:cNvSpPr>
          <p:nvPr>
            <p:ph sz="quarter" idx="21"/>
          </p:nvPr>
        </p:nvSpPr>
        <p:spPr>
          <a:xfrm>
            <a:off x="6132708" y="1923481"/>
            <a:ext cx="2680615" cy="1228993"/>
          </a:xfrm>
        </p:spPr>
        <p:txBody>
          <a:bodyPr/>
          <a:lstStyle/>
          <a:p>
            <a:endParaRPr lang="de-DE" dirty="0"/>
          </a:p>
        </p:txBody>
      </p:sp>
      <p:sp>
        <p:nvSpPr>
          <p:cNvPr id="16" name="Content Placeholder 15">
            <a:extLst>
              <a:ext uri="{FF2B5EF4-FFF2-40B4-BE49-F238E27FC236}">
                <a16:creationId xmlns:a16="http://schemas.microsoft.com/office/drawing/2014/main" id="{AF254F0A-3202-48E1-8AF0-EADA1BB4D47B}"/>
              </a:ext>
            </a:extLst>
          </p:cNvPr>
          <p:cNvSpPr>
            <a:spLocks noGrp="1"/>
          </p:cNvSpPr>
          <p:nvPr>
            <p:ph sz="quarter" idx="22"/>
          </p:nvPr>
        </p:nvSpPr>
        <p:spPr>
          <a:xfrm>
            <a:off x="3137643" y="3196366"/>
            <a:ext cx="2960096" cy="1228993"/>
          </a:xfrm>
        </p:spPr>
        <p:txBody>
          <a:bodyPr/>
          <a:lstStyle/>
          <a:p>
            <a:endParaRPr lang="de-DE" dirty="0"/>
          </a:p>
        </p:txBody>
      </p:sp>
      <p:sp>
        <p:nvSpPr>
          <p:cNvPr id="17" name="Content Placeholder 16">
            <a:extLst>
              <a:ext uri="{FF2B5EF4-FFF2-40B4-BE49-F238E27FC236}">
                <a16:creationId xmlns:a16="http://schemas.microsoft.com/office/drawing/2014/main" id="{47559862-62C4-41DF-BB4E-16C347BC0874}"/>
              </a:ext>
            </a:extLst>
          </p:cNvPr>
          <p:cNvSpPr>
            <a:spLocks noGrp="1"/>
          </p:cNvSpPr>
          <p:nvPr>
            <p:ph sz="quarter" idx="23"/>
          </p:nvPr>
        </p:nvSpPr>
        <p:spPr>
          <a:xfrm>
            <a:off x="6132708" y="3196366"/>
            <a:ext cx="2694300" cy="1228993"/>
          </a:xfrm>
        </p:spPr>
        <p:txBody>
          <a:bodyPr/>
          <a:lstStyle/>
          <a:p>
            <a:endParaRPr lang="de-DE" dirty="0"/>
          </a:p>
        </p:txBody>
      </p:sp>
      <p:sp>
        <p:nvSpPr>
          <p:cNvPr id="18" name="Text Placeholder 17">
            <a:extLst>
              <a:ext uri="{FF2B5EF4-FFF2-40B4-BE49-F238E27FC236}">
                <a16:creationId xmlns:a16="http://schemas.microsoft.com/office/drawing/2014/main" id="{E68DF982-0F99-400B-A646-0A3749376AC7}"/>
              </a:ext>
            </a:extLst>
          </p:cNvPr>
          <p:cNvSpPr>
            <a:spLocks noGrp="1"/>
          </p:cNvSpPr>
          <p:nvPr>
            <p:ph type="body" sz="quarter" idx="24"/>
          </p:nvPr>
        </p:nvSpPr>
        <p:spPr>
          <a:xfrm>
            <a:off x="3137643" y="4457592"/>
            <a:ext cx="5687267" cy="360233"/>
          </a:xfrm>
        </p:spPr>
        <p:txBody>
          <a:bodyPr/>
          <a:lstStyle/>
          <a:p>
            <a:endParaRPr lang="de-DE" dirty="0"/>
          </a:p>
        </p:txBody>
      </p:sp>
    </p:spTree>
    <p:extLst>
      <p:ext uri="{BB962C8B-B14F-4D97-AF65-F5344CB8AC3E}">
        <p14:creationId xmlns:p14="http://schemas.microsoft.com/office/powerpoint/2010/main" val="40648147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8E747-AA4B-9685-BF46-35A495687E3F}"/>
              </a:ext>
            </a:extLst>
          </p:cNvPr>
          <p:cNvSpPr>
            <a:spLocks noGrp="1"/>
          </p:cNvSpPr>
          <p:nvPr>
            <p:ph type="title"/>
          </p:nvPr>
        </p:nvSpPr>
        <p:spPr/>
        <p:txBody>
          <a:bodyPr/>
          <a:lstStyle/>
          <a:p>
            <a:r>
              <a:rPr lang="en-US" altLang="zh-CN" sz="4400" b="1" dirty="0">
                <a:solidFill>
                  <a:schemeClr val="tx1"/>
                </a:solidFill>
              </a:rPr>
              <a:t>Abstraction</a:t>
            </a:r>
            <a:endParaRPr lang="de-DE" dirty="0"/>
          </a:p>
        </p:txBody>
      </p:sp>
    </p:spTree>
    <p:extLst>
      <p:ext uri="{BB962C8B-B14F-4D97-AF65-F5344CB8AC3E}">
        <p14:creationId xmlns:p14="http://schemas.microsoft.com/office/powerpoint/2010/main" val="7417495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420890c2-cbe3-4440-a6ae-7567abac1638"/>
  <p:tag name="EE4P_AGENDAWIZARD" val="&lt;ee4p&gt;&lt;layouts&gt;&lt;layout name=&quot;Line Circle&quot; id=&quot;1_6&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quot; customLayoutIndex=&quot;3&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8&quot; topMaxSpacing=&quot;15&quot; bottomMinSpacing=&quot;0&quot; bottomMaxSpacing=&quot;0&quot;&gt;&lt;element field=&quot;itemno&quot; type=&quot;autoshape&quot; autoShapeType=&quot;9&quot; indent=&quot;(level-1)*36.50472*scale*fontScale&quot; indentType=&quot;1&quot;&gt;&lt;position height=&quot;itemSingleHeight&quot; top=&quot;(itemHeight-itemSingleHeight)/2&quot; /&gt;&lt;textframe marginLeft=&quot;6&quot; marginRight=&quot;6&quot; verticalAnchor=&quot;3&quot; /&gt;&lt;paragraphformat alignment=&quot;2&quot; /&gt;&lt;fill foreColor=&quot;#D9D9D9&quot; visible=&quot;1&quot; /&gt;&lt;font bold=&quot;1&quot; color=&quot;13&quot; /&gt;&lt;/element&gt;&lt;element field=&quot;topic&quot; type=&quot;autoshape&quot; autoShapeType=&quot;1&quot; indent=&quot;(level-1)*36.50472*scale*fontScale&quot; indentType=&quot;2&quot;&gt;&lt;paragraphformat alignment=&quot;1&quot; /&gt;&lt;textframe marginLeft=&quot;6&quot; /&gt;&lt;/element&gt;&lt;element field=&quot;responsible&quot; type=&quot;autoshape&quot; autoShapeType=&quot;1&quot; indent=&quot;(level-1)*36.50472*scale*fontScale&quot; indentType=&quot;1&quot;&gt;&lt;paragraphformat alignment=&quot;1&quot; /&gt;&lt;/element&gt;&lt;element field=&quot;freecolumn&quot; type=&quot;autoshape&quot; autoShapeType=&quot;1&quot; indent=&quot;(level-1)*36.50472*scale*fontScale&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8&quot; topMaxSpacing=&quot;15&quot; bottomMinSpacing=&quot;0&quot; bottomMaxSpacing=&quot;0&quot;&gt;&lt;element type=&quot;line&quot; value=&quot;&quot;&gt;&lt;position left=&quot;level*(itemSingleHeight+topicLeftSpacing)&quot; top=&quot;itemHeight&quot; width=&quot;agendaWidth-topicLeftSpacing-itemNoWidth-(level-1)*36.50472*scale*fontScale&quot; height=&quot;0&quot; /&gt;&lt;line style=&quot;1&quot; dashStyle=&quot;3&quot; foreColor=&quot;5&quot; transparency=&quot;0&quot; visible=&quot;1&quot; weight=&quot;1.5&quot; /&gt;&lt;/element&gt;&lt;element type=&quot;line&quot; value=&quot;&quot;&gt;&lt;position left=&quot;level*(itemSingleHeight+topicLeftSpacing)&quot; top=&quot;0&quot; width=&quot;agendaWidth-topicLeftSpacing-itemNoWidth-(level-1)*36.50472*scale*fontScale&quot; height=&quot;0&quot; /&gt;&lt;line style=&quot;1&quot; dashStyle=&quot;3&quot; foreColor=&quot;5&quot; transparency=&quot;0&quot; visible=&quot;1&quot; weight=&quot;1.5&quot; /&gt;&lt;/element&gt;&lt;element field=&quot;itemno&quot; type=&quot;autoshape&quot; autoShapeType=&quot;9&quot; indent=&quot;(level-1)*36.50472*scale*fontScale&quot; indentType=&quot;1&quot;&gt;&lt;position height=&quot;itemSingleHeight&quot; top=&quot;(itemHeight-itemSingleHeight)/2&quot; /&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36.50472*scale*fontScale&quot; indentType=&quot;2&quot;&gt;&lt;paragraphformat alignment=&quot;1&quot; /&gt;&lt;font bold=&quot;1&quot; /&gt;&lt;textframe marginLeft=&quot;6&quot; /&gt;&lt;/element&gt;&lt;element field=&quot;responsible&quot; type=&quot;autoshape&quot; autoShapeType=&quot;1&quot; indent=&quot;(level-1)*36.50472*scale*fontScale&quot; indentType=&quot;1&quot;&gt;&lt;paragraphformat alignment=&quot;1&quot; /&gt;&lt;font bold=&quot;1&quot; /&gt;&lt;/element&gt;&lt;element field=&quot;freecolumn&quot; type=&quot;autoshape&quot; autoShapeType=&quot;1&quot; indent=&quot;(level-1)*36.50472*scale*fontScale&quot; indentType=&quot;1&quot;&gt;&lt;paragraphformat alignment=&quot;1&quot; /&gt;&lt;font bold=&quot;1&quot; /&gt;&lt;/element&gt;&lt;element field=&quot;timeslot&quot; type=&quot;autoshape&quot; autoShapeType=&quot;1&quot;&gt;&lt;paragraphformat alignment=&quot;1&quot; /&gt;&lt;font bold=&quot;1&quot; /&gt;&lt;/element&gt;&lt;element field=&quot;pageno&quot; type=&quot;autoshape&quot; autoShapeType=&quot;1&quot;&gt;&lt;paragraphformat alignment=&quot;3&quot; /&gt;&lt;font bold=&quot;1&quot; /&gt;&lt;/element&gt;&lt;/case&gt;&lt;case level=&quot;1&quot; selected=&quot;0&quot; break=&quot;1&quot; topMinSpacing=&quot;8&quot; topMaxSpacing=&quot;15&quot; bottomMinSpacing=&quot;0&quot; bottomMaxSpacing=&quot;0&quot;&gt;&lt;element field=&quot;topic&quot; type=&quot;autoshape&quot; autoShapeType=&quot;1&quot; indent=&quot;(level-1)*36.50472*scale*fontScale&quot; indentType=&quot;2&quot;&gt;&lt;paragraphformat alignment=&quot;1&quot; /&gt;&lt;textframe marginLeft=&quot;6&quot; /&gt;&lt;font italic=&quot;1&quot; /&gt;&lt;/element&gt;&lt;element field=&quot;responsible&quot; type=&quot;autoshape&quot; autoShapeType=&quot;1&quot; indent=&quot;(level-1)*36.50472*scale*fontScale&quot; indentType=&quot;1&quot;&gt;&lt;paragraphformat alignment=&quot;1&quot; /&gt;&lt;font italic=&quot;1&quot; /&gt;&lt;/element&gt;&lt;element field=&quot;freecolumn&quot; type=&quot;autoshape&quot; autoShapeType=&quot;1&quot; indent=&quot;(level-1)*36.50472*scale*fontScale&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8&quot; topMaxSpacing=&quot;15&quot; bottomMinSpacing=&quot;0&quot; bottomMaxSpacing=&quot;0&quot;&gt;&lt;element type=&quot;line&quot; value=&quot;&quot;&gt;&lt;position left=&quot;level*(itemSingleHeight+topicLeftSpacing)&quot; top=&quot;itemHeight&quot; width=&quot;agendaWidth-topicLeftSpacing-itemNoWidth-(level-1)*36.50472*scale*fontScale&quot; height=&quot;0&quot; /&gt;&lt;line style=&quot;1&quot; dashStyle=&quot;3&quot; foreColor=&quot;5&quot; transparency=&quot;0&quot; visible=&quot;1&quot; weight=&quot;1.5&quot; /&gt;&lt;/element&gt;&lt;element type=&quot;line&quot; value=&quot;&quot;&gt;&lt;position left=&quot;level*(itemSingleHeight+topicLeftSpacing)&quot; top=&quot;0&quot; width=&quot;agendaWidth-topicLeftSpacing-itemNoWidth-(level-1)*36.50472*scale*fontScale&quot; height=&quot;0&quot; /&gt;&lt;line style=&quot;1&quot; dashStyle=&quot;3&quot; foreColor=&quot;5&quot; transparency=&quot;0&quot; visible=&quot;1&quot; weight=&quot;1.5&quot; /&gt;&lt;/element&gt;&lt;element field=&quot;topic&quot; type=&quot;autoshape&quot; autoShapeType=&quot;1&quot; indent=&quot;(level-1)*36.50472*scale*fontScale&quot; indentType=&quot;2&quot;&gt;&lt;paragraphformat alignment=&quot;1&quot; /&gt;&lt;font bold=&quot;1&quot; italic=&quot;1&quot; /&gt;&lt;textframe marginLeft=&quot;6&quot; /&gt;&lt;/element&gt;&lt;element field=&quot;responsible&quot; type=&quot;autoshape&quot; autoShapeType=&quot;1&quot; indent=&quot;(level-1)*36.50472*scale*fontScale&quot; indentType=&quot;1&quot;&gt;&lt;paragraphformat alignment=&quot;1&quot; /&gt;&lt;font bold=&quot;1&quot; italic=&quot;1&quot; /&gt;&lt;/element&gt;&lt;element field=&quot;freecolumn&quot; type=&quot;autoshape&quot; autoShapeType=&quot;1&quot; indent=&quot;(level-1)*36.50472*scale*fontScale&quot; indentType=&quot;1&quot;&gt;&lt;paragraphformat alignment=&quot;1&quot; /&gt;&lt;font bold=&quot;1&quot; italic=&quot;1&quot; /&gt;&lt;/element&gt;&lt;element field=&quot;timeslot&quot; type=&quot;autoshape&quot; autoShapeType=&quot;1&quot;&gt;&lt;paragraphformat alignment=&quot;1&quot; /&gt;&lt;font bold=&quot;1&quot; italic=&quot;1&quot; /&gt;&lt;/element&gt;&lt;element field=&quot;pageno&quot; type=&quot;autoshape&quot; autoShapeType=&quot;1&quot;&gt;&lt;paragraphformat alignment=&quot;3&quot; /&gt;&lt;font bold=&quot;1&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quot; subtitle=&quot;&quot; sizingModeId=&quot;2&quot; fontSize=&quot;16&quot; fontSizeAuto=&quot;1&quot; startTime=&quot;540&quot; timeFormatId=&quot;1&quot; startItemNo=&quot;1&quot; createSingleAgendaSlide=&quot;1&quot; createSeparatingSlides=&quot;1&quot; createBackupSlide=&quot;0&quot; layoutId=&quot;1_6&quot; hideSeparatingSlides=&quot;0&quot; createSections=&quot;1&quot; singleSlideId=&quot;a5e5764f-ca26-473d-9be7-13123cecea03&quot; backupSlideId=&quot;&quot; backupSection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419.0462&quot; /&gt;&lt;column field=&quot;responsible&quot; label=&quot;Responsible&quot; visible=&quot;1&quot; checked=&quot;0&quot; leftSpacing=&quot;10&quot; rightDistribute=&quot;1&quot; dock=&quot;1&quot; rightSpacing=&quot;146.2216&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25&quot; id=&quot;b48ec5b8-7055-4186-b8ba-2a2412e50d18&quot; parentId=&quot;&quot; level=&quot;1&quot; generateAgendaSlide=&quot;1&quot; showAgendaItem=&quot;1&quot; isBreak=&quot;0&quot; topic=&quot;Problem/Biological System&quot; agendaSlideId=&quot;eb8c4b1f-0fb1-4782-ba31-5bd89b55dd18&quot; sectionId=&quot;{A1B793C3-1A59-496C-96A6-C046D360EAB3}&quot; /&gt;&lt;item duration=&quot;30&quot; id=&quot;75ca246d-44aa-41d4-946a-052b9a090341&quot; parentId=&quot;&quot; level=&quot;1&quot; generateAgendaSlide=&quot;1&quot; showAgendaItem=&quot;1&quot; isBreak=&quot;0&quot; topic=&quot;Abstraction&quot; agendaSlideId=&quot;704bd55d-af23-4115-bd24-fb22b916b6ac&quot; sectionId=&quot;{DB28E4A8-E811-4CE3-8C22-CADAB2B79298}&quot; /&gt;&lt;item duration=&quot;30&quot; id=&quot;fefd500a-7d01-4076-a412-e56fc8e1d73c&quot; parentId=&quot;&quot; level=&quot;1&quot; generateAgendaSlide=&quot;1&quot; showAgendaItem=&quot;1&quot; isBreak=&quot;0&quot; topic=&quot;Solution&quot; agendaSlideId=&quot;9a0ae6d7-9118-472b-b058-88532487e041&quot; sectionId=&quot;{1ABE3124-5DCC-4621-82A9-8A5269AD8B1B}&quot; /&gt;&lt;item duration=&quot;30&quot; id=&quot;2908ef39-b0eb-4fc2-ad72-848eb819c982&quot; parentId=&quot;&quot; level=&quot;1&quot; generateAgendaSlide=&quot;1&quot; showAgendaItem=&quot;1&quot; isBreak=&quot;0&quot; topic=&quot;Prototyping&quot; agendaSlideId=&quot;034a62a6-c33e-46e9-802f-aedc7917068d&quot; sectionId=&quot;{593DBD81-D60A-4415-97C8-0B36F254B04C}&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9a0ae6d7-9118-472b-b058-88532487e041_Element"/>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9a0ae6d7-9118-472b-b058-88532487e041_Element"/>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9a0ae6d7-9118-472b-b058-88532487e041_Topic"/>
  <p:tag name="EE4P_AGENDAWIZARD_CONTENT" val="/Solution"/>
  <p:tag name="EE4P_AGENDAWIZARD_PROPERTIES" val="61.62992/200.726/214.449/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9a0ae6d7-9118-472b-b058-88532487e041_ItemNo"/>
  <p:tag name="EE4P_AGENDAWIZARD_CONTENT" val="/3"/>
  <p:tag name="EE4P_AGENDAWIZARD_PROPERTIES" val="25.1252/200.726/31.50472/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704bd55d-af23-4115-bd24-fb22b916b6ac_Topic"/>
  <p:tag name="EE4P_AGENDAWIZARD_CONTENT" val="/Abstraction"/>
  <p:tag name="EE4P_AGENDAWIZARD_PROPERTIES" val="61.62992/154.2213/214.449/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704bd55d-af23-4115-bd24-fb22b916b6ac_ItemNo"/>
  <p:tag name="EE4P_AGENDAWIZARD_CONTENT" val="/2"/>
  <p:tag name="EE4P_AGENDAWIZARD_PROPERTIES" val="25.1252/154.2213/31.50472/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eb8c4b1f-0fb1-4782-ba31-5bd89b55dd18_Topic"/>
  <p:tag name="EE4P_AGENDAWIZARD_CONTENT" val="/Problem/Biological System"/>
  <p:tag name="EE4P_AGENDAWIZARD_PROPERTIES" val="61.62992/107.7165/214.449/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eb8c4b1f-0fb1-4782-ba31-5bd89b55dd18_ItemNo"/>
  <p:tag name="EE4P_AGENDAWIZARD_CONTENT" val="/1"/>
  <p:tag name="EE4P_AGENDAWIZARD_PROPERTIES" val="25.1252/107.7165/31.50472/31.50472"/>
</p:tagLst>
</file>

<file path=ppt/tags/tag18.xml><?xml version="1.0" encoding="utf-8"?>
<p:tagLst xmlns:a="http://schemas.openxmlformats.org/drawingml/2006/main" xmlns:r="http://schemas.openxmlformats.org/officeDocument/2006/relationships" xmlns:p="http://schemas.openxmlformats.org/presentationml/2006/main">
  <p:tag name="EE4P_SLIDEID" val="034a62a6-c33e-46e9-802f-aedc7917068d"/>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034a62a6-c33e-46e9-802f-aedc7917068d_Elemen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034a62a6-c33e-46e9-802f-aedc7917068d_Element"/>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034a62a6-c33e-46e9-802f-aedc7917068d_Topic"/>
  <p:tag name="EE4P_AGENDAWIZARD_CONTENT" val="/Prototyping"/>
  <p:tag name="EE4P_AGENDAWIZARD_PROPERTIES" val="61.62992/247.2307/214.449/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034a62a6-c33e-46e9-802f-aedc7917068d_ItemNo"/>
  <p:tag name="EE4P_AGENDAWIZARD_CONTENT" val="/4"/>
  <p:tag name="EE4P_AGENDAWIZARD_PROPERTIES" val="25.1252/247.2307/31.50472/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9a0ae6d7-9118-472b-b058-88532487e041_Topic"/>
  <p:tag name="EE4P_AGENDAWIZARD_CONTENT" val="/Solution"/>
  <p:tag name="EE4P_AGENDAWIZARD_PROPERTIES" val="61.62992/200.726/214.449/31.50472"/>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9a0ae6d7-9118-472b-b058-88532487e041_ItemNo"/>
  <p:tag name="EE4P_AGENDAWIZARD_CONTENT" val="/3"/>
  <p:tag name="EE4P_AGENDAWIZARD_PROPERTIES" val="25.1252/200.726/31.50472/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704bd55d-af23-4115-bd24-fb22b916b6ac_Topic"/>
  <p:tag name="EE4P_AGENDAWIZARD_CONTENT" val="/Abstraction"/>
  <p:tag name="EE4P_AGENDAWIZARD_PROPERTIES" val="61.62992/154.2213/214.449/31.50472"/>
</p:tagLst>
</file>

<file path=ppt/tags/tag26.xml><?xml version="1.0" encoding="utf-8"?>
<p:tagLst xmlns:a="http://schemas.openxmlformats.org/drawingml/2006/main" xmlns:r="http://schemas.openxmlformats.org/officeDocument/2006/relationships" xmlns:p="http://schemas.openxmlformats.org/presentationml/2006/main">
  <p:tag name="EE4P_AGENDAWIZARD" val="item_704bd55d-af23-4115-bd24-fb22b916b6ac_ItemNo"/>
  <p:tag name="EE4P_AGENDAWIZARD_CONTENT" val="/2"/>
  <p:tag name="EE4P_AGENDAWIZARD_PROPERTIES" val="25.1252/154.2213/31.50472/31.50472"/>
</p:tagLst>
</file>

<file path=ppt/tags/tag27.xml><?xml version="1.0" encoding="utf-8"?>
<p:tagLst xmlns:a="http://schemas.openxmlformats.org/drawingml/2006/main" xmlns:r="http://schemas.openxmlformats.org/officeDocument/2006/relationships" xmlns:p="http://schemas.openxmlformats.org/presentationml/2006/main">
  <p:tag name="EE4P_AGENDAWIZARD" val="item_eb8c4b1f-0fb1-4782-ba31-5bd89b55dd18_Topic"/>
  <p:tag name="EE4P_AGENDAWIZARD_CONTENT" val="/Problem/Biological System"/>
  <p:tag name="EE4P_AGENDAWIZARD_PROPERTIES" val="61.62992/107.7165/214.449/31.50472"/>
</p:tagLst>
</file>

<file path=ppt/tags/tag28.xml><?xml version="1.0" encoding="utf-8"?>
<p:tagLst xmlns:a="http://schemas.openxmlformats.org/drawingml/2006/main" xmlns:r="http://schemas.openxmlformats.org/officeDocument/2006/relationships" xmlns:p="http://schemas.openxmlformats.org/presentationml/2006/main">
  <p:tag name="EE4P_AGENDAWIZARD" val="item_eb8c4b1f-0fb1-4782-ba31-5bd89b55dd18_ItemNo"/>
  <p:tag name="EE4P_AGENDAWIZARD_CONTENT" val="/1"/>
  <p:tag name="EE4P_AGENDAWIZARD_PROPERTIES" val="25.1252/107.7165/31.50472/31.5047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VjnPhkwuM.nQDMUF38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SLIDEID" val="9a0ae6d7-9118-472b-b058-88532487e041"/>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034a62a6-c33e-46e9-802f-aedc7917068d_Topic"/>
  <p:tag name="EE4P_AGENDAWIZARD_CONTENT" val="/Prototyping"/>
  <p:tag name="EE4P_AGENDAWIZARD_PROPERTIES" val="61.62992/247.2307/214.449/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034a62a6-c33e-46e9-802f-aedc7917068d_ItemNo"/>
  <p:tag name="EE4P_AGENDAWIZARD_CONTENT" val="/4"/>
  <p:tag name="EE4P_AGENDAWIZARD_PROPERTIES" val="25.1252/247.2307/31.50472/31.50472"/>
</p:tagLst>
</file>

<file path=ppt/theme/theme1.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1" id="{BEF264A7-2F0D-419E-AD6A-EFB1530B0A59}" vid="{093AB9E9-9F48-4D2E-ACF4-C80103CEF0F9}"/>
    </a:ext>
  </a:extLst>
</a:theme>
</file>

<file path=ppt/theme/theme2.xml><?xml version="1.0" encoding="utf-8"?>
<a:theme xmlns:a="http://schemas.openxmlformats.org/drawingml/2006/main" name="Titel deutsch">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1" id="{BEF264A7-2F0D-419E-AD6A-EFB1530B0A59}" vid="{3880DB70-4D0F-4476-A7AC-DA94AE604E24}"/>
    </a:ext>
  </a:extLst>
</a:theme>
</file>

<file path=ppt/theme/theme3.xml><?xml version="1.0" encoding="utf-8"?>
<a:theme xmlns:a="http://schemas.openxmlformats.org/drawingml/2006/main" name="Titel englisch">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BEF264A7-2F0D-419E-AD6A-EFB1530B0A59}" vid="{488C6959-24E0-48EB-90F8-A38985E5D426}"/>
    </a:ext>
  </a:extLst>
</a:theme>
</file>

<file path=ppt/theme/theme4.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1" id="{BEF264A7-2F0D-419E-AD6A-EFB1530B0A59}" vid="{60FC62FD-4452-46EB-B795-E0C64BE18A51}"/>
    </a:ext>
  </a:extLst>
</a:theme>
</file>

<file path=ppt/theme/theme5.xml><?xml version="1.0" encoding="utf-8"?>
<a:theme xmlns:a="http://schemas.openxmlformats.org/drawingml/2006/main" name="1_Offic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blank" id="{C412C610-B5A6-4261-A80B-46C1B9345969}" vid="{3122DC9A-668B-4562-8BAD-868F449DEA2E}"/>
    </a:ext>
  </a:extLst>
</a:theme>
</file>

<file path=ppt/theme/theme6.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PL_BID_Template</Template>
  <TotalTime>3</TotalTime>
  <Words>753</Words>
  <Application>Microsoft Macintosh PowerPoint</Application>
  <PresentationFormat>全屏显示(16:9)</PresentationFormat>
  <Paragraphs>160</Paragraphs>
  <Slides>16</Slides>
  <Notes>3</Notes>
  <HiddenSlides>0</HiddenSlides>
  <MMClips>0</MMClips>
  <ScaleCrop>false</ScaleCrop>
  <HeadingPairs>
    <vt:vector size="8" baseType="variant">
      <vt:variant>
        <vt:lpstr>已用的字体</vt:lpstr>
      </vt:variant>
      <vt:variant>
        <vt:i4>11</vt:i4>
      </vt:variant>
      <vt:variant>
        <vt:lpstr>主题</vt:lpstr>
      </vt:variant>
      <vt:variant>
        <vt:i4>5</vt:i4>
      </vt:variant>
      <vt:variant>
        <vt:lpstr>嵌入 OLE 服务器</vt:lpstr>
      </vt:variant>
      <vt:variant>
        <vt:i4>1</vt:i4>
      </vt:variant>
      <vt:variant>
        <vt:lpstr>幻灯片标题</vt:lpstr>
      </vt:variant>
      <vt:variant>
        <vt:i4>16</vt:i4>
      </vt:variant>
    </vt:vector>
  </HeadingPairs>
  <TitlesOfParts>
    <vt:vector size="33" baseType="lpstr">
      <vt:lpstr>Graphik</vt:lpstr>
      <vt:lpstr>Graphik Semibold</vt:lpstr>
      <vt:lpstr>GT Sectra Fine Rg</vt:lpstr>
      <vt:lpstr>System Font</vt:lpstr>
      <vt:lpstr>Arial</vt:lpstr>
      <vt:lpstr>Arial Black</vt:lpstr>
      <vt:lpstr>Calibri</vt:lpstr>
      <vt:lpstr>Calibri Light</vt:lpstr>
      <vt:lpstr>Courier New</vt:lpstr>
      <vt:lpstr>Symbol</vt:lpstr>
      <vt:lpstr>Wingdings</vt:lpstr>
      <vt:lpstr>Inhalt</vt:lpstr>
      <vt:lpstr>Titel deutsch</vt:lpstr>
      <vt:lpstr>Titel englisch</vt:lpstr>
      <vt:lpstr>Kapiteltrenner blau</vt:lpstr>
      <vt:lpstr>1_Office</vt:lpstr>
      <vt:lpstr>think-cell Slide</vt:lpstr>
      <vt:lpstr>PowerPoint 演示文稿</vt:lpstr>
      <vt:lpstr>APPENDIX</vt:lpstr>
      <vt:lpstr>We have a strong global network connecting cutting-edge Applied Intelligence capabilities</vt:lpstr>
      <vt:lpstr>IT/OT Engineering</vt:lpstr>
      <vt:lpstr>Global Computer Vision Expert Group Collaborated with teams worldwide</vt:lpstr>
      <vt:lpstr>Problem/ Biological System</vt:lpstr>
      <vt:lpstr>PowerPoint 演示文稿</vt:lpstr>
      <vt:lpstr>Problem xx: Title</vt:lpstr>
      <vt:lpstr>Abstraction</vt:lpstr>
      <vt:lpstr>PowerPoint 演示文稿</vt:lpstr>
      <vt:lpstr>PowerPoint 演示文稿</vt:lpstr>
      <vt:lpstr>PowerPoint 演示文稿</vt:lpstr>
      <vt:lpstr>PowerPoint 演示文稿</vt:lpstr>
      <vt:lpstr>PowerPoint 演示文稿</vt:lpstr>
      <vt:lpstr>Summary</vt:lpstr>
      <vt:lpstr>PowerPoint 演示文稿</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rank</dc:creator>
  <cp:lastModifiedBy>Chongyu Zhang</cp:lastModifiedBy>
  <cp:revision>5</cp:revision>
  <cp:lastPrinted>2015-07-30T14:04:45Z</cp:lastPrinted>
  <dcterms:created xsi:type="dcterms:W3CDTF">2022-01-09T21:42:01Z</dcterms:created>
  <dcterms:modified xsi:type="dcterms:W3CDTF">2023-05-09T08:33:37Z</dcterms:modified>
</cp:coreProperties>
</file>